
<file path=[Content_Types].xml><?xml version="1.0" encoding="utf-8"?>
<Types xmlns="http://schemas.openxmlformats.org/package/2006/content-types">
  <Default Extension="bin" ContentType="application/vnd.openxmlformats-officedocument.oleObject"/>
  <Default Extension="docx" ContentType="application/vnd.openxmlformats-officedocument.wordprocessingml.documen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webextensions/taskpanes.xml" ContentType="application/vnd.ms-office.webextensiontaskpanes+xml"/>
  <Override PartName="/ppt/webextensions/webextension1.xml" ContentType="application/vnd.ms-office.webextens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customXml/itemProps7.xml" ContentType="application/vnd.openxmlformats-officedocument.customXmlProperties+xml"/>
  <Override PartName="/customXml/itemProps8.xml" ContentType="application/vnd.openxmlformats-officedocument.customXmlProperties+xml"/>
  <Override PartName="/customXml/itemProps9.xml" ContentType="application/vnd.openxmlformats-officedocument.customXmlProperties+xml"/>
  <Override PartName="/customXml/itemProps10.xml" ContentType="application/vnd.openxmlformats-officedocument.customXmlProperties+xml"/>
  <Override PartName="/customXml/itemProps11.xml" ContentType="application/vnd.openxmlformats-officedocument.customXmlProperties+xml"/>
  <Override PartName="/customXml/itemProps12.xml" ContentType="application/vnd.openxmlformats-officedocument.customXmlProperties+xml"/>
  <Override PartName="/customXml/itemProps13.xml" ContentType="application/vnd.openxmlformats-officedocument.customXmlProperties+xml"/>
  <Override PartName="/customXml/itemProps14.xml" ContentType="application/vnd.openxmlformats-officedocument.customXmlProperties+xml"/>
  <Override PartName="/customXml/itemProps15.xml" ContentType="application/vnd.openxmlformats-officedocument.customXmlProperties+xml"/>
  <Override PartName="/customXml/itemProps16.xml" ContentType="application/vnd.openxmlformats-officedocument.customXmlProperties+xml"/>
  <Override PartName="/customXml/itemProps17.xml" ContentType="application/vnd.openxmlformats-officedocument.customXmlProperties+xml"/>
  <Override PartName="/customXml/itemProps18.xml" ContentType="application/vnd.openxmlformats-officedocument.customXmlProperties+xml"/>
  <Override PartName="/customXml/itemProps19.xml" ContentType="application/vnd.openxmlformats-officedocument.customXmlProperties+xml"/>
  <Override PartName="/customXml/itemProps20.xml" ContentType="application/vnd.openxmlformats-officedocument.customXmlProperties+xml"/>
  <Override PartName="/customXml/itemProps21.xml" ContentType="application/vnd.openxmlformats-officedocument.customXmlProperties+xml"/>
  <Override PartName="/customXml/itemProps22.xml" ContentType="application/vnd.openxmlformats-officedocument.customXmlProperties+xml"/>
  <Override PartName="/customXml/itemProps2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heme/theme2.xml" ContentType="application/vnd.openxmlformats-officedocument.theme+xml"/>
  <Override PartName="/ppt/tags/tag12.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thumbnail" Target="docProps/thumbnail.jpeg"/><Relationship Id="rId2" Type="http://schemas.openxmlformats.org/officeDocument/2006/relationships/officeDocument" Target="ppt/presentation.xml"/><Relationship Id="rId1" Type="http://schemas.microsoft.com/office/2011/relationships/webextensiontaskpanes" Target="ppt/webextensions/taskpanes.xml"/><Relationship Id="rId6" Type="http://schemas.openxmlformats.org/officeDocument/2006/relationships/custom-properties" Target="docProps/custom.xml"/><Relationship Id="rId5" Type="http://schemas.openxmlformats.org/officeDocument/2006/relationships/extended-properties" Target="docProps/app.xml"/><Relationship Id="rId4" Type="http://schemas.openxmlformats.org/package/2006/relationships/metadata/core-properties" Target="docProps/core.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3" r:id="rId24"/>
  </p:sldMasterIdLst>
  <p:notesMasterIdLst>
    <p:notesMasterId r:id="rId44"/>
  </p:notesMasterIdLst>
  <p:sldIdLst>
    <p:sldId id="257" r:id="rId25"/>
    <p:sldId id="2147482681" r:id="rId26"/>
    <p:sldId id="334" r:id="rId27"/>
    <p:sldId id="360" r:id="rId28"/>
    <p:sldId id="357" r:id="rId29"/>
    <p:sldId id="356" r:id="rId30"/>
    <p:sldId id="2147482697" r:id="rId31"/>
    <p:sldId id="2147482683" r:id="rId32"/>
    <p:sldId id="2147482682" r:id="rId33"/>
    <p:sldId id="2147482685" r:id="rId34"/>
    <p:sldId id="2147482694" r:id="rId35"/>
    <p:sldId id="2147482695" r:id="rId36"/>
    <p:sldId id="365" r:id="rId37"/>
    <p:sldId id="2147482698" r:id="rId38"/>
    <p:sldId id="2147482688" r:id="rId39"/>
    <p:sldId id="2147482690" r:id="rId40"/>
    <p:sldId id="2147482692" r:id="rId41"/>
    <p:sldId id="2147482696" r:id="rId42"/>
    <p:sldId id="2147482699" r:id="rId43"/>
  </p:sldIdLst>
  <p:sldSz cx="12192000" cy="6858000"/>
  <p:notesSz cx="6858000" cy="9144000"/>
  <p:custDataLst>
    <p:custData r:id="rId23"/>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86919B91-52CB-4D7B-BE18-06E8F6AFE05E}">
          <p14:sldIdLst>
            <p14:sldId id="257"/>
            <p14:sldId id="2147482681"/>
            <p14:sldId id="334"/>
            <p14:sldId id="360"/>
            <p14:sldId id="357"/>
            <p14:sldId id="356"/>
            <p14:sldId id="2147482697"/>
            <p14:sldId id="2147482683"/>
            <p14:sldId id="2147482682"/>
            <p14:sldId id="2147482685"/>
            <p14:sldId id="2147482694"/>
            <p14:sldId id="2147482695"/>
            <p14:sldId id="365"/>
            <p14:sldId id="2147482698"/>
            <p14:sldId id="2147482688"/>
            <p14:sldId id="2147482690"/>
            <p14:sldId id="2147482692"/>
            <p14:sldId id="2147482696"/>
            <p14:sldId id="2147482699"/>
          </p14:sldIdLst>
        </p14:section>
      </p14:sectionLst>
    </p:ex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C7C8207-FEEE-3282-CB95-18CF1F9FCBEF}" name="Mohammed Aamir Shuaib" initials="MAS" userId="S::mshuaib@trinitypartners.com::44d4b1f3-cae1-4ad9-8a9f-787ea96ce1d8" providerId="AD"/>
  <p188:author id="{A680270F-2653-6B75-7264-EBABB8D3B15B}" name="Gaurav Kesari" initials="GK" userId="S::gkesari@trinitypartners.com::5ab21388-baf7-4ff4-bc08-f69762d4b20e" providerId="AD"/>
  <p188:author id="{F7D01A10-243B-1939-ED85-803854CFA053}" name="Deepti Yadav" initials="DY" userId="S::dyadav@trinitypartners.com::b600194b-c568-4684-b899-1525a3e1db24" providerId="AD"/>
  <p188:author id="{D4A93F70-FA68-DE8F-2389-E78BFAA9840C}" name="Arvind R R" initials="AR" userId="S::arr@trinitypartners.com::1bb3a597-3736-4a79-aeb8-d713163fb634" providerId="AD"/>
  <p188:author id="{44E4D9C7-7002-522F-6880-5768D730315D}" name="S Vignesh" initials="SV" userId="S::svignesh@trinitypartners.com::4cdfbe3e-ecf0-4e37-8a2e-2e2c44064d45" providerId="AD"/>
  <p188:author id="{4A22EFCE-90EF-63F6-E01F-012D4BE4B005}" name="Pranav A Sogi" initials="PS" userId="S::pranav.sogi@trinitypartners.com::26041da9-58db-4268-87d2-8f3ed54afd3b" providerId="AD"/>
</p188:authorLst>
</file>

<file path=ppt/presProps.xml><?xml version="1.0" encoding="utf-8"?>
<p:presentationPr xmlns:a="http://schemas.openxmlformats.org/drawingml/2006/main" xmlns:r="http://schemas.openxmlformats.org/officeDocument/2006/relationships" xmlns:p="http://schemas.openxmlformats.org/presentationml/2006/main">
  <p:clrMru>
    <a:srgbClr val="170A0B"/>
    <a:srgbClr val="DAEABF"/>
    <a:srgbClr val="D1E0EF"/>
    <a:srgbClr val="EEF8E4"/>
    <a:srgbClr val="82C836"/>
    <a:srgbClr val="CC0000"/>
    <a:srgbClr val="DE0000"/>
    <a:srgbClr val="F60000"/>
    <a:srgbClr val="F7DAD5"/>
    <a:srgbClr val="D3EEF2"/>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B0B15CAA-C9EB-438B-9041-E40403328E81}" v="9" dt="2024-08-01T10:23:34.776"/>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108" d="100"/>
          <a:sy n="108" d="100"/>
        </p:scale>
        <p:origin x="678" y="10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customXml" Target="../customXml/item13.xml"/><Relationship Id="rId18" Type="http://schemas.openxmlformats.org/officeDocument/2006/relationships/customXml" Target="../customXml/item18.xml"/><Relationship Id="rId26" Type="http://schemas.openxmlformats.org/officeDocument/2006/relationships/slide" Target="slides/slide2.xml"/><Relationship Id="rId39" Type="http://schemas.openxmlformats.org/officeDocument/2006/relationships/slide" Target="slides/slide15.xml"/><Relationship Id="rId21" Type="http://schemas.openxmlformats.org/officeDocument/2006/relationships/customXml" Target="../customXml/item21.xml"/><Relationship Id="rId34" Type="http://schemas.openxmlformats.org/officeDocument/2006/relationships/slide" Target="slides/slide10.xml"/><Relationship Id="rId42" Type="http://schemas.openxmlformats.org/officeDocument/2006/relationships/slide" Target="slides/slide18.xml"/><Relationship Id="rId47" Type="http://schemas.openxmlformats.org/officeDocument/2006/relationships/theme" Target="theme/theme1.xml"/><Relationship Id="rId50" Type="http://schemas.microsoft.com/office/2015/10/relationships/revisionInfo" Target="revisionInfo.xml"/><Relationship Id="rId7" Type="http://schemas.openxmlformats.org/officeDocument/2006/relationships/customXml" Target="../customXml/item7.xml"/><Relationship Id="rId2" Type="http://schemas.openxmlformats.org/officeDocument/2006/relationships/customXml" Target="../customXml/item2.xml"/><Relationship Id="rId16" Type="http://schemas.openxmlformats.org/officeDocument/2006/relationships/customXml" Target="../customXml/item16.xml"/><Relationship Id="rId29" Type="http://schemas.openxmlformats.org/officeDocument/2006/relationships/slide" Target="slides/slide5.xml"/><Relationship Id="rId11" Type="http://schemas.openxmlformats.org/officeDocument/2006/relationships/customXml" Target="../customXml/item11.xml"/><Relationship Id="rId24" Type="http://schemas.openxmlformats.org/officeDocument/2006/relationships/slideMaster" Target="slideMasters/slideMaster1.xml"/><Relationship Id="rId32" Type="http://schemas.openxmlformats.org/officeDocument/2006/relationships/slide" Target="slides/slide8.xml"/><Relationship Id="rId37" Type="http://schemas.openxmlformats.org/officeDocument/2006/relationships/slide" Target="slides/slide13.xml"/><Relationship Id="rId40" Type="http://schemas.openxmlformats.org/officeDocument/2006/relationships/slide" Target="slides/slide16.xml"/><Relationship Id="rId45" Type="http://schemas.openxmlformats.org/officeDocument/2006/relationships/presProps" Target="presProps.xml"/><Relationship Id="rId5" Type="http://schemas.openxmlformats.org/officeDocument/2006/relationships/customXml" Target="../customXml/item5.xml"/><Relationship Id="rId15" Type="http://schemas.openxmlformats.org/officeDocument/2006/relationships/customXml" Target="../customXml/item15.xml"/><Relationship Id="rId23" Type="http://schemas.openxmlformats.org/officeDocument/2006/relationships/customXml" Target="../customXml/item23.xml"/><Relationship Id="rId28" Type="http://schemas.openxmlformats.org/officeDocument/2006/relationships/slide" Target="slides/slide4.xml"/><Relationship Id="rId36" Type="http://schemas.openxmlformats.org/officeDocument/2006/relationships/slide" Target="slides/slide12.xml"/><Relationship Id="rId49" Type="http://schemas.microsoft.com/office/2016/11/relationships/changesInfo" Target="changesInfos/changesInfo1.xml"/><Relationship Id="rId10" Type="http://schemas.openxmlformats.org/officeDocument/2006/relationships/customXml" Target="../customXml/item10.xml"/><Relationship Id="rId19" Type="http://schemas.openxmlformats.org/officeDocument/2006/relationships/customXml" Target="../customXml/item19.xml"/><Relationship Id="rId31" Type="http://schemas.openxmlformats.org/officeDocument/2006/relationships/slide" Target="slides/slide7.xml"/><Relationship Id="rId44" Type="http://schemas.openxmlformats.org/officeDocument/2006/relationships/notesMaster" Target="notesMasters/notesMaster1.xml"/><Relationship Id="rId4" Type="http://schemas.openxmlformats.org/officeDocument/2006/relationships/customXml" Target="../customXml/item4.xml"/><Relationship Id="rId9" Type="http://schemas.openxmlformats.org/officeDocument/2006/relationships/customXml" Target="../customXml/item9.xml"/><Relationship Id="rId14" Type="http://schemas.openxmlformats.org/officeDocument/2006/relationships/customXml" Target="../customXml/item14.xml"/><Relationship Id="rId22" Type="http://schemas.openxmlformats.org/officeDocument/2006/relationships/customXml" Target="../customXml/item22.xml"/><Relationship Id="rId27" Type="http://schemas.openxmlformats.org/officeDocument/2006/relationships/slide" Target="slides/slide3.xml"/><Relationship Id="rId30" Type="http://schemas.openxmlformats.org/officeDocument/2006/relationships/slide" Target="slides/slide6.xml"/><Relationship Id="rId35" Type="http://schemas.openxmlformats.org/officeDocument/2006/relationships/slide" Target="slides/slide11.xml"/><Relationship Id="rId43" Type="http://schemas.openxmlformats.org/officeDocument/2006/relationships/slide" Target="slides/slide19.xml"/><Relationship Id="rId48" Type="http://schemas.openxmlformats.org/officeDocument/2006/relationships/tableStyles" Target="tableStyles.xml"/><Relationship Id="rId8" Type="http://schemas.openxmlformats.org/officeDocument/2006/relationships/customXml" Target="../customXml/item8.xml"/><Relationship Id="rId51" Type="http://schemas.microsoft.com/office/2018/10/relationships/authors" Target="authors.xml"/><Relationship Id="rId3" Type="http://schemas.openxmlformats.org/officeDocument/2006/relationships/customXml" Target="../customXml/item3.xml"/><Relationship Id="rId12" Type="http://schemas.openxmlformats.org/officeDocument/2006/relationships/customXml" Target="../customXml/item12.xml"/><Relationship Id="rId17" Type="http://schemas.openxmlformats.org/officeDocument/2006/relationships/customXml" Target="../customXml/item17.xml"/><Relationship Id="rId25" Type="http://schemas.openxmlformats.org/officeDocument/2006/relationships/slide" Target="slides/slide1.xml"/><Relationship Id="rId33" Type="http://schemas.openxmlformats.org/officeDocument/2006/relationships/slide" Target="slides/slide9.xml"/><Relationship Id="rId38" Type="http://schemas.openxmlformats.org/officeDocument/2006/relationships/slide" Target="slides/slide14.xml"/><Relationship Id="rId46" Type="http://schemas.openxmlformats.org/officeDocument/2006/relationships/viewProps" Target="viewProps.xml"/><Relationship Id="rId20" Type="http://schemas.openxmlformats.org/officeDocument/2006/relationships/customXml" Target="../customXml/item20.xml"/><Relationship Id="rId41" Type="http://schemas.openxmlformats.org/officeDocument/2006/relationships/slide" Target="slides/slide17.xml"/><Relationship Id="rId1" Type="http://schemas.openxmlformats.org/officeDocument/2006/relationships/customXml" Target="../customXml/item1.xml"/><Relationship Id="rId6" Type="http://schemas.openxmlformats.org/officeDocument/2006/relationships/customXml" Target="../customXml/item6.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Pranav A Sogi" userId="S::pranav.sogi@trinitypartners.com::26041da9-58db-4268-87d2-8f3ed54afd3b" providerId="AD" clId="Web-{2BC2182C-0D91-0098-E950-8E464A3E0D4F}"/>
    <pc:docChg chg="modSld">
      <pc:chgData name="Pranav A Sogi" userId="S::pranav.sogi@trinitypartners.com::26041da9-58db-4268-87d2-8f3ed54afd3b" providerId="AD" clId="Web-{2BC2182C-0D91-0098-E950-8E464A3E0D4F}" dt="2024-06-11T11:29:30.864" v="492" actId="1076"/>
      <pc:docMkLst>
        <pc:docMk/>
      </pc:docMkLst>
      <pc:sldChg chg="modSp">
        <pc:chgData name="Pranav A Sogi" userId="S::pranav.sogi@trinitypartners.com::26041da9-58db-4268-87d2-8f3ed54afd3b" providerId="AD" clId="Web-{2BC2182C-0D91-0098-E950-8E464A3E0D4F}" dt="2024-06-11T11:07:27.009" v="352" actId="20577"/>
        <pc:sldMkLst>
          <pc:docMk/>
          <pc:sldMk cId="2737486546" sldId="353"/>
        </pc:sldMkLst>
        <pc:spChg chg="mod">
          <ac:chgData name="Pranav A Sogi" userId="S::pranav.sogi@trinitypartners.com::26041da9-58db-4268-87d2-8f3ed54afd3b" providerId="AD" clId="Web-{2BC2182C-0D91-0098-E950-8E464A3E0D4F}" dt="2024-06-11T11:07:01.961" v="348" actId="20577"/>
          <ac:spMkLst>
            <pc:docMk/>
            <pc:sldMk cId="2737486546" sldId="353"/>
            <ac:spMk id="20" creationId="{32F24BB3-6462-FD41-DA52-90806E7FD672}"/>
          </ac:spMkLst>
        </pc:spChg>
        <pc:spChg chg="mod">
          <ac:chgData name="Pranav A Sogi" userId="S::pranav.sogi@trinitypartners.com::26041da9-58db-4268-87d2-8f3ed54afd3b" providerId="AD" clId="Web-{2BC2182C-0D91-0098-E950-8E464A3E0D4F}" dt="2024-06-11T11:00:02.932" v="301" actId="20577"/>
          <ac:spMkLst>
            <pc:docMk/>
            <pc:sldMk cId="2737486546" sldId="353"/>
            <ac:spMk id="21" creationId="{82E6B9F2-4FEB-7890-3AF6-79D81498DDCB}"/>
          </ac:spMkLst>
        </pc:spChg>
        <pc:spChg chg="mod">
          <ac:chgData name="Pranav A Sogi" userId="S::pranav.sogi@trinitypartners.com::26041da9-58db-4268-87d2-8f3ed54afd3b" providerId="AD" clId="Web-{2BC2182C-0D91-0098-E950-8E464A3E0D4F}" dt="2024-06-11T11:07:27.009" v="352" actId="20577"/>
          <ac:spMkLst>
            <pc:docMk/>
            <pc:sldMk cId="2737486546" sldId="353"/>
            <ac:spMk id="26" creationId="{B58CD89B-AA3C-C1A1-79BF-F8CA9CB6AF90}"/>
          </ac:spMkLst>
        </pc:spChg>
      </pc:sldChg>
      <pc:sldChg chg="addSp modSp">
        <pc:chgData name="Pranav A Sogi" userId="S::pranav.sogi@trinitypartners.com::26041da9-58db-4268-87d2-8f3ed54afd3b" providerId="AD" clId="Web-{2BC2182C-0D91-0098-E950-8E464A3E0D4F}" dt="2024-06-11T11:11:39.783" v="459" actId="20577"/>
        <pc:sldMkLst>
          <pc:docMk/>
          <pc:sldMk cId="3954524133" sldId="354"/>
        </pc:sldMkLst>
        <pc:spChg chg="add mod">
          <ac:chgData name="Pranav A Sogi" userId="S::pranav.sogi@trinitypartners.com::26041da9-58db-4268-87d2-8f3ed54afd3b" providerId="AD" clId="Web-{2BC2182C-0D91-0098-E950-8E464A3E0D4F}" dt="2024-06-11T11:11:39.783" v="459" actId="20577"/>
          <ac:spMkLst>
            <pc:docMk/>
            <pc:sldMk cId="3954524133" sldId="354"/>
            <ac:spMk id="3" creationId="{2A90B303-4826-B369-6BCA-9F541524CDA5}"/>
          </ac:spMkLst>
        </pc:spChg>
        <pc:spChg chg="mod">
          <ac:chgData name="Pranav A Sogi" userId="S::pranav.sogi@trinitypartners.com::26041da9-58db-4268-87d2-8f3ed54afd3b" providerId="AD" clId="Web-{2BC2182C-0D91-0098-E950-8E464A3E0D4F}" dt="2024-06-11T11:11:19.845" v="454" actId="20577"/>
          <ac:spMkLst>
            <pc:docMk/>
            <pc:sldMk cId="3954524133" sldId="354"/>
            <ac:spMk id="20" creationId="{32F24BB3-6462-FD41-DA52-90806E7FD672}"/>
          </ac:spMkLst>
        </pc:spChg>
        <pc:spChg chg="mod">
          <ac:chgData name="Pranav A Sogi" userId="S::pranav.sogi@trinitypartners.com::26041da9-58db-4268-87d2-8f3ed54afd3b" providerId="AD" clId="Web-{2BC2182C-0D91-0098-E950-8E464A3E0D4F}" dt="2024-06-11T11:11:25.579" v="456" actId="20577"/>
          <ac:spMkLst>
            <pc:docMk/>
            <pc:sldMk cId="3954524133" sldId="354"/>
            <ac:spMk id="21" creationId="{82E6B9F2-4FEB-7890-3AF6-79D81498DDCB}"/>
          </ac:spMkLst>
        </pc:spChg>
      </pc:sldChg>
      <pc:sldChg chg="modSp">
        <pc:chgData name="Pranav A Sogi" userId="S::pranav.sogi@trinitypartners.com::26041da9-58db-4268-87d2-8f3ed54afd3b" providerId="AD" clId="Web-{2BC2182C-0D91-0098-E950-8E464A3E0D4F}" dt="2024-06-11T11:29:30.864" v="492" actId="1076"/>
        <pc:sldMkLst>
          <pc:docMk/>
          <pc:sldMk cId="2035529764" sldId="356"/>
        </pc:sldMkLst>
        <pc:graphicFrameChg chg="mod modGraphic">
          <ac:chgData name="Pranav A Sogi" userId="S::pranav.sogi@trinitypartners.com::26041da9-58db-4268-87d2-8f3ed54afd3b" providerId="AD" clId="Web-{2BC2182C-0D91-0098-E950-8E464A3E0D4F}" dt="2024-06-11T11:29:26.692" v="491"/>
          <ac:graphicFrameMkLst>
            <pc:docMk/>
            <pc:sldMk cId="2035529764" sldId="356"/>
            <ac:graphicFrameMk id="6" creationId="{048177B2-DFFD-E7B2-5589-78EFCFC1397F}"/>
          </ac:graphicFrameMkLst>
        </pc:graphicFrameChg>
        <pc:graphicFrameChg chg="mod">
          <ac:chgData name="Pranav A Sogi" userId="S::pranav.sogi@trinitypartners.com::26041da9-58db-4268-87d2-8f3ed54afd3b" providerId="AD" clId="Web-{2BC2182C-0D91-0098-E950-8E464A3E0D4F}" dt="2024-06-11T11:29:30.864" v="492" actId="1076"/>
          <ac:graphicFrameMkLst>
            <pc:docMk/>
            <pc:sldMk cId="2035529764" sldId="356"/>
            <ac:graphicFrameMk id="11" creationId="{5FDC3B3C-5D5D-DDEA-55CC-D81FA527A4D6}"/>
          </ac:graphicFrameMkLst>
        </pc:graphicFrameChg>
      </pc:sldChg>
      <pc:sldChg chg="modSp">
        <pc:chgData name="Pranav A Sogi" userId="S::pranav.sogi@trinitypartners.com::26041da9-58db-4268-87d2-8f3ed54afd3b" providerId="AD" clId="Web-{2BC2182C-0D91-0098-E950-8E464A3E0D4F}" dt="2024-06-11T11:12:19.643" v="461" actId="1076"/>
        <pc:sldMkLst>
          <pc:docMk/>
          <pc:sldMk cId="812848875" sldId="360"/>
        </pc:sldMkLst>
        <pc:picChg chg="mod">
          <ac:chgData name="Pranav A Sogi" userId="S::pranav.sogi@trinitypartners.com::26041da9-58db-4268-87d2-8f3ed54afd3b" providerId="AD" clId="Web-{2BC2182C-0D91-0098-E950-8E464A3E0D4F}" dt="2024-06-11T11:12:17.549" v="460" actId="1076"/>
          <ac:picMkLst>
            <pc:docMk/>
            <pc:sldMk cId="812848875" sldId="360"/>
            <ac:picMk id="6" creationId="{6363C9B0-5E39-46E8-4048-A6E668FC4202}"/>
          </ac:picMkLst>
        </pc:picChg>
        <pc:picChg chg="mod">
          <ac:chgData name="Pranav A Sogi" userId="S::pranav.sogi@trinitypartners.com::26041da9-58db-4268-87d2-8f3ed54afd3b" providerId="AD" clId="Web-{2BC2182C-0D91-0098-E950-8E464A3E0D4F}" dt="2024-06-11T11:12:19.643" v="461" actId="1076"/>
          <ac:picMkLst>
            <pc:docMk/>
            <pc:sldMk cId="812848875" sldId="360"/>
            <ac:picMk id="8" creationId="{9BBE8C4E-8FF2-7CCA-3E40-B11D887D98EF}"/>
          </ac:picMkLst>
        </pc:picChg>
      </pc:sldChg>
      <pc:sldChg chg="addCm">
        <pc:chgData name="Pranav A Sogi" userId="S::pranav.sogi@trinitypartners.com::26041da9-58db-4268-87d2-8f3ed54afd3b" providerId="AD" clId="Web-{2BC2182C-0D91-0098-E950-8E464A3E0D4F}" dt="2024-06-11T11:13:10.161" v="462"/>
        <pc:sldMkLst>
          <pc:docMk/>
          <pc:sldMk cId="1857768212" sldId="361"/>
        </pc:sldMkLst>
        <pc:extLst>
          <p:ext xmlns:p="http://schemas.openxmlformats.org/presentationml/2006/main" uri="{D6D511B9-2390-475A-947B-AFAB55BFBCF1}">
            <pc226:cmChg xmlns:pc226="http://schemas.microsoft.com/office/powerpoint/2022/06/main/command" chg="add">
              <pc226:chgData name="Pranav A Sogi" userId="S::pranav.sogi@trinitypartners.com::26041da9-58db-4268-87d2-8f3ed54afd3b" providerId="AD" clId="Web-{2BC2182C-0D91-0098-E950-8E464A3E0D4F}" dt="2024-06-11T11:13:10.161" v="462"/>
              <pc2:cmMkLst xmlns:pc2="http://schemas.microsoft.com/office/powerpoint/2019/9/main/command">
                <pc:docMk/>
                <pc:sldMk cId="1857768212" sldId="361"/>
                <pc2:cmMk id="{D8C12991-0CAA-47F6-B152-D47A9868C2C8}"/>
              </pc2:cmMkLst>
            </pc226:cmChg>
          </p:ext>
        </pc:extLst>
      </pc:sldChg>
      <pc:sldChg chg="addSp modSp">
        <pc:chgData name="Pranav A Sogi" userId="S::pranav.sogi@trinitypartners.com::26041da9-58db-4268-87d2-8f3ed54afd3b" providerId="AD" clId="Web-{2BC2182C-0D91-0098-E950-8E464A3E0D4F}" dt="2024-06-11T10:18:47.160" v="92" actId="14100"/>
        <pc:sldMkLst>
          <pc:docMk/>
          <pc:sldMk cId="1977557411" sldId="362"/>
        </pc:sldMkLst>
        <pc:spChg chg="mod">
          <ac:chgData name="Pranav A Sogi" userId="S::pranav.sogi@trinitypartners.com::26041da9-58db-4268-87d2-8f3ed54afd3b" providerId="AD" clId="Web-{2BC2182C-0D91-0098-E950-8E464A3E0D4F}" dt="2024-06-11T10:18:31.034" v="87" actId="20577"/>
          <ac:spMkLst>
            <pc:docMk/>
            <pc:sldMk cId="1977557411" sldId="362"/>
            <ac:spMk id="4" creationId="{909D4EEA-F2EE-4C5D-8169-E43D2BA59814}"/>
          </ac:spMkLst>
        </pc:spChg>
        <pc:picChg chg="add mod">
          <ac:chgData name="Pranav A Sogi" userId="S::pranav.sogi@trinitypartners.com::26041da9-58db-4268-87d2-8f3ed54afd3b" providerId="AD" clId="Web-{2BC2182C-0D91-0098-E950-8E464A3E0D4F}" dt="2024-06-11T10:16:18.061" v="38" actId="14100"/>
          <ac:picMkLst>
            <pc:docMk/>
            <pc:sldMk cId="1977557411" sldId="362"/>
            <ac:picMk id="5" creationId="{C87CF77C-FDF8-E910-79A4-45ABE95F858D}"/>
          </ac:picMkLst>
        </pc:picChg>
        <pc:picChg chg="add mod">
          <ac:chgData name="Pranav A Sogi" userId="S::pranav.sogi@trinitypartners.com::26041da9-58db-4268-87d2-8f3ed54afd3b" providerId="AD" clId="Web-{2BC2182C-0D91-0098-E950-8E464A3E0D4F}" dt="2024-06-11T10:18:33.331" v="88" actId="1076"/>
          <ac:picMkLst>
            <pc:docMk/>
            <pc:sldMk cId="1977557411" sldId="362"/>
            <ac:picMk id="6" creationId="{ACC0B658-618B-A57E-E934-F3122CC3D0F2}"/>
          </ac:picMkLst>
        </pc:picChg>
        <pc:picChg chg="add mod">
          <ac:chgData name="Pranav A Sogi" userId="S::pranav.sogi@trinitypartners.com::26041da9-58db-4268-87d2-8f3ed54afd3b" providerId="AD" clId="Web-{2BC2182C-0D91-0098-E950-8E464A3E0D4F}" dt="2024-06-11T10:18:37.034" v="89" actId="1076"/>
          <ac:picMkLst>
            <pc:docMk/>
            <pc:sldMk cId="1977557411" sldId="362"/>
            <ac:picMk id="9" creationId="{F905D0DB-3964-8479-0C26-D9F61A598165}"/>
          </ac:picMkLst>
        </pc:picChg>
        <pc:cxnChg chg="add mod">
          <ac:chgData name="Pranav A Sogi" userId="S::pranav.sogi@trinitypartners.com::26041da9-58db-4268-87d2-8f3ed54afd3b" providerId="AD" clId="Web-{2BC2182C-0D91-0098-E950-8E464A3E0D4F}" dt="2024-06-11T10:16:46.140" v="43" actId="1076"/>
          <ac:cxnSpMkLst>
            <pc:docMk/>
            <pc:sldMk cId="1977557411" sldId="362"/>
            <ac:cxnSpMk id="7" creationId="{150183EB-4E83-1392-2E6D-C5D839129D92}"/>
          </ac:cxnSpMkLst>
        </pc:cxnChg>
        <pc:cxnChg chg="add mod">
          <ac:chgData name="Pranav A Sogi" userId="S::pranav.sogi@trinitypartners.com::26041da9-58db-4268-87d2-8f3ed54afd3b" providerId="AD" clId="Web-{2BC2182C-0D91-0098-E950-8E464A3E0D4F}" dt="2024-06-11T10:16:53.374" v="46" actId="14100"/>
          <ac:cxnSpMkLst>
            <pc:docMk/>
            <pc:sldMk cId="1977557411" sldId="362"/>
            <ac:cxnSpMk id="8" creationId="{3C78BE51-5B69-6236-9BA4-32C88D5C7909}"/>
          </ac:cxnSpMkLst>
        </pc:cxnChg>
        <pc:cxnChg chg="add mod">
          <ac:chgData name="Pranav A Sogi" userId="S::pranav.sogi@trinitypartners.com::26041da9-58db-4268-87d2-8f3ed54afd3b" providerId="AD" clId="Web-{2BC2182C-0D91-0098-E950-8E464A3E0D4F}" dt="2024-06-11T10:18:47.160" v="92" actId="14100"/>
          <ac:cxnSpMkLst>
            <pc:docMk/>
            <pc:sldMk cId="1977557411" sldId="362"/>
            <ac:cxnSpMk id="10" creationId="{A57314F0-D919-6189-6D14-182A4B4A9A2A}"/>
          </ac:cxnSpMkLst>
        </pc:cxnChg>
      </pc:sldChg>
    </pc:docChg>
  </pc:docChgLst>
  <pc:docChgLst>
    <pc:chgData name="Aggarwal, Nikunj" userId="a6d2ffb2-ce8e-4f2d-a1f9-137a5305f4c5" providerId="ADAL" clId="{B0B15CAA-C9EB-438B-9041-E40403328E81}"/>
    <pc:docChg chg="modSld sldOrd">
      <pc:chgData name="Aggarwal, Nikunj" userId="a6d2ffb2-ce8e-4f2d-a1f9-137a5305f4c5" providerId="ADAL" clId="{B0B15CAA-C9EB-438B-9041-E40403328E81}" dt="2024-08-01T10:23:34.776" v="67"/>
      <pc:docMkLst>
        <pc:docMk/>
      </pc:docMkLst>
      <pc:sldChg chg="modSp ord">
        <pc:chgData name="Aggarwal, Nikunj" userId="a6d2ffb2-ce8e-4f2d-a1f9-137a5305f4c5" providerId="ADAL" clId="{B0B15CAA-C9EB-438B-9041-E40403328E81}" dt="2024-08-01T10:23:34.776" v="67"/>
        <pc:sldMkLst>
          <pc:docMk/>
          <pc:sldMk cId="2035529764" sldId="356"/>
        </pc:sldMkLst>
        <pc:graphicFrameChg chg="mod">
          <ac:chgData name="Aggarwal, Nikunj" userId="a6d2ffb2-ce8e-4f2d-a1f9-137a5305f4c5" providerId="ADAL" clId="{B0B15CAA-C9EB-438B-9041-E40403328E81}" dt="2024-08-01T10:23:34.776" v="67"/>
          <ac:graphicFrameMkLst>
            <pc:docMk/>
            <pc:sldMk cId="2035529764" sldId="356"/>
            <ac:graphicFrameMk id="13" creationId="{4734AB12-8FF2-3439-EA3D-1A034375A02E}"/>
          </ac:graphicFrameMkLst>
        </pc:graphicFrameChg>
      </pc:sldChg>
      <pc:sldChg chg="addSp modSp mod ord">
        <pc:chgData name="Aggarwal, Nikunj" userId="a6d2ffb2-ce8e-4f2d-a1f9-137a5305f4c5" providerId="ADAL" clId="{B0B15CAA-C9EB-438B-9041-E40403328E81}" dt="2024-06-26T10:55:48.665" v="53" actId="1582"/>
        <pc:sldMkLst>
          <pc:docMk/>
          <pc:sldMk cId="3328825580" sldId="357"/>
        </pc:sldMkLst>
        <pc:spChg chg="add mod">
          <ac:chgData name="Aggarwal, Nikunj" userId="a6d2ffb2-ce8e-4f2d-a1f9-137a5305f4c5" providerId="ADAL" clId="{B0B15CAA-C9EB-438B-9041-E40403328E81}" dt="2024-06-26T10:54:25.138" v="36" actId="14100"/>
          <ac:spMkLst>
            <pc:docMk/>
            <pc:sldMk cId="3328825580" sldId="357"/>
            <ac:spMk id="3" creationId="{E474E1A6-1301-19DD-B8A5-03159CADADC9}"/>
          </ac:spMkLst>
        </pc:spChg>
        <pc:spChg chg="add mod">
          <ac:chgData name="Aggarwal, Nikunj" userId="a6d2ffb2-ce8e-4f2d-a1f9-137a5305f4c5" providerId="ADAL" clId="{B0B15CAA-C9EB-438B-9041-E40403328E81}" dt="2024-06-26T10:55:48.665" v="53" actId="1582"/>
          <ac:spMkLst>
            <pc:docMk/>
            <pc:sldMk cId="3328825580" sldId="357"/>
            <ac:spMk id="6" creationId="{32C4C76D-F8AC-B12A-BC05-8D323DFAAF29}"/>
          </ac:spMkLst>
        </pc:spChg>
      </pc:sldChg>
      <pc:sldChg chg="addSp modSp mod ord">
        <pc:chgData name="Aggarwal, Nikunj" userId="a6d2ffb2-ce8e-4f2d-a1f9-137a5305f4c5" providerId="ADAL" clId="{B0B15CAA-C9EB-438B-9041-E40403328E81}" dt="2024-06-26T15:25:45.006" v="57" actId="13926"/>
        <pc:sldMkLst>
          <pc:docMk/>
          <pc:sldMk cId="812848875" sldId="360"/>
        </pc:sldMkLst>
        <pc:spChg chg="add mod">
          <ac:chgData name="Aggarwal, Nikunj" userId="a6d2ffb2-ce8e-4f2d-a1f9-137a5305f4c5" providerId="ADAL" clId="{B0B15CAA-C9EB-438B-9041-E40403328E81}" dt="2024-06-26T10:51:48.384" v="17" actId="1038"/>
          <ac:spMkLst>
            <pc:docMk/>
            <pc:sldMk cId="812848875" sldId="360"/>
            <ac:spMk id="6" creationId="{A5C6C70C-930F-D93B-A376-7383C89E81E5}"/>
          </ac:spMkLst>
        </pc:spChg>
        <pc:spChg chg="add mod">
          <ac:chgData name="Aggarwal, Nikunj" userId="a6d2ffb2-ce8e-4f2d-a1f9-137a5305f4c5" providerId="ADAL" clId="{B0B15CAA-C9EB-438B-9041-E40403328E81}" dt="2024-06-26T10:53:53.905" v="30" actId="1036"/>
          <ac:spMkLst>
            <pc:docMk/>
            <pc:sldMk cId="812848875" sldId="360"/>
            <ac:spMk id="9" creationId="{B7C55140-1FBF-0299-776F-0EDFBFC83806}"/>
          </ac:spMkLst>
        </pc:spChg>
        <pc:spChg chg="mod">
          <ac:chgData name="Aggarwal, Nikunj" userId="a6d2ffb2-ce8e-4f2d-a1f9-137a5305f4c5" providerId="ADAL" clId="{B0B15CAA-C9EB-438B-9041-E40403328E81}" dt="2024-06-26T15:25:45.006" v="57" actId="13926"/>
          <ac:spMkLst>
            <pc:docMk/>
            <pc:sldMk cId="812848875" sldId="360"/>
            <ac:spMk id="16" creationId="{486D42F5-D0C2-F935-47D5-DFEC4DBBFC96}"/>
          </ac:spMkLst>
        </pc:spChg>
      </pc:sldChg>
    </pc:docChg>
  </pc:docChgLst>
  <pc:docChgLst>
    <pc:chgData name="Deepti Yadav" userId="b600194b-c568-4684-b899-1525a3e1db24" providerId="ADAL" clId="{81F5C8A8-0DFC-4DEC-A808-F7F48C3FF0C8}"/>
    <pc:docChg chg="undo custSel addSld modSld sldOrd modSection">
      <pc:chgData name="Deepti Yadav" userId="b600194b-c568-4684-b899-1525a3e1db24" providerId="ADAL" clId="{81F5C8A8-0DFC-4DEC-A808-F7F48C3FF0C8}" dt="2024-06-18T12:48:47.014" v="326" actId="767"/>
      <pc:docMkLst>
        <pc:docMk/>
      </pc:docMkLst>
      <pc:sldChg chg="addSp modSp mod">
        <pc:chgData name="Deepti Yadav" userId="b600194b-c568-4684-b899-1525a3e1db24" providerId="ADAL" clId="{81F5C8A8-0DFC-4DEC-A808-F7F48C3FF0C8}" dt="2024-06-18T12:48:47.014" v="326" actId="767"/>
        <pc:sldMkLst>
          <pc:docMk/>
          <pc:sldMk cId="455564406" sldId="2147482685"/>
        </pc:sldMkLst>
        <pc:spChg chg="add mod">
          <ac:chgData name="Deepti Yadav" userId="b600194b-c568-4684-b899-1525a3e1db24" providerId="ADAL" clId="{81F5C8A8-0DFC-4DEC-A808-F7F48C3FF0C8}" dt="2024-06-18T12:48:36.830" v="324" actId="208"/>
          <ac:spMkLst>
            <pc:docMk/>
            <pc:sldMk cId="455564406" sldId="2147482685"/>
            <ac:spMk id="39" creationId="{3412961E-F4DB-5ED5-1A36-0442869BFFE1}"/>
          </ac:spMkLst>
        </pc:spChg>
        <pc:spChg chg="add mod">
          <ac:chgData name="Deepti Yadav" userId="b600194b-c568-4684-b899-1525a3e1db24" providerId="ADAL" clId="{81F5C8A8-0DFC-4DEC-A808-F7F48C3FF0C8}" dt="2024-06-18T12:48:43.055" v="325" actId="208"/>
          <ac:spMkLst>
            <pc:docMk/>
            <pc:sldMk cId="455564406" sldId="2147482685"/>
            <ac:spMk id="40" creationId="{5B7C67C2-412E-BB5D-D425-2A59E6C95F18}"/>
          </ac:spMkLst>
        </pc:spChg>
        <pc:spChg chg="add mod">
          <ac:chgData name="Deepti Yadav" userId="b600194b-c568-4684-b899-1525a3e1db24" providerId="ADAL" clId="{81F5C8A8-0DFC-4DEC-A808-F7F48C3FF0C8}" dt="2024-06-18T12:48:47.014" v="326" actId="767"/>
          <ac:spMkLst>
            <pc:docMk/>
            <pc:sldMk cId="455564406" sldId="2147482685"/>
            <ac:spMk id="41" creationId="{DA29F914-D0E6-2951-CE95-E462653458C8}"/>
          </ac:spMkLst>
        </pc:spChg>
      </pc:sldChg>
      <pc:sldChg chg="addSp delSp modSp add mod ord">
        <pc:chgData name="Deepti Yadav" userId="b600194b-c568-4684-b899-1525a3e1db24" providerId="ADAL" clId="{81F5C8A8-0DFC-4DEC-A808-F7F48C3FF0C8}" dt="2024-06-14T12:22:03.241" v="313" actId="207"/>
        <pc:sldMkLst>
          <pc:docMk/>
          <pc:sldMk cId="2757249485" sldId="2147482696"/>
        </pc:sldMkLst>
        <pc:spChg chg="mod">
          <ac:chgData name="Deepti Yadav" userId="b600194b-c568-4684-b899-1525a3e1db24" providerId="ADAL" clId="{81F5C8A8-0DFC-4DEC-A808-F7F48C3FF0C8}" dt="2024-06-14T12:09:26.332" v="19" actId="20577"/>
          <ac:spMkLst>
            <pc:docMk/>
            <pc:sldMk cId="2757249485" sldId="2147482696"/>
            <ac:spMk id="2" creationId="{6AC12E71-8344-700C-2D85-D021B891B0B4}"/>
          </ac:spMkLst>
        </pc:spChg>
        <pc:spChg chg="del">
          <ac:chgData name="Deepti Yadav" userId="b600194b-c568-4684-b899-1525a3e1db24" providerId="ADAL" clId="{81F5C8A8-0DFC-4DEC-A808-F7F48C3FF0C8}" dt="2024-06-14T12:09:36.971" v="22" actId="478"/>
          <ac:spMkLst>
            <pc:docMk/>
            <pc:sldMk cId="2757249485" sldId="2147482696"/>
            <ac:spMk id="3" creationId="{2A90B303-4826-B369-6BCA-9F541524CDA5}"/>
          </ac:spMkLst>
        </pc:spChg>
        <pc:spChg chg="add del mod">
          <ac:chgData name="Deepti Yadav" userId="b600194b-c568-4684-b899-1525a3e1db24" providerId="ADAL" clId="{81F5C8A8-0DFC-4DEC-A808-F7F48C3FF0C8}" dt="2024-06-14T12:22:03.241" v="313" actId="207"/>
          <ac:spMkLst>
            <pc:docMk/>
            <pc:sldMk cId="2757249485" sldId="2147482696"/>
            <ac:spMk id="4" creationId="{6F35135D-537E-44C5-821D-DB9B72A9C25E}"/>
          </ac:spMkLst>
        </pc:spChg>
        <pc:spChg chg="add mod">
          <ac:chgData name="Deepti Yadav" userId="b600194b-c568-4684-b899-1525a3e1db24" providerId="ADAL" clId="{81F5C8A8-0DFC-4DEC-A808-F7F48C3FF0C8}" dt="2024-06-14T12:19:07.643" v="294" actId="207"/>
          <ac:spMkLst>
            <pc:docMk/>
            <pc:sldMk cId="2757249485" sldId="2147482696"/>
            <ac:spMk id="5" creationId="{D1DE037F-5CD1-E11A-C36C-D9CE8A2C5CBB}"/>
          </ac:spMkLst>
        </pc:spChg>
        <pc:spChg chg="add mod">
          <ac:chgData name="Deepti Yadav" userId="b600194b-c568-4684-b899-1525a3e1db24" providerId="ADAL" clId="{81F5C8A8-0DFC-4DEC-A808-F7F48C3FF0C8}" dt="2024-06-14T12:21:40.740" v="310" actId="207"/>
          <ac:spMkLst>
            <pc:docMk/>
            <pc:sldMk cId="2757249485" sldId="2147482696"/>
            <ac:spMk id="6" creationId="{28D38A64-277A-620F-5B3F-08A85C17FDD9}"/>
          </ac:spMkLst>
        </pc:spChg>
        <pc:spChg chg="add mod">
          <ac:chgData name="Deepti Yadav" userId="b600194b-c568-4684-b899-1525a3e1db24" providerId="ADAL" clId="{81F5C8A8-0DFC-4DEC-A808-F7F48C3FF0C8}" dt="2024-06-14T12:21:56.364" v="312" actId="207"/>
          <ac:spMkLst>
            <pc:docMk/>
            <pc:sldMk cId="2757249485" sldId="2147482696"/>
            <ac:spMk id="7" creationId="{6E3F18E9-447D-837E-2A60-DB79B223FDAE}"/>
          </ac:spMkLst>
        </pc:spChg>
        <pc:spChg chg="add mod">
          <ac:chgData name="Deepti Yadav" userId="b600194b-c568-4684-b899-1525a3e1db24" providerId="ADAL" clId="{81F5C8A8-0DFC-4DEC-A808-F7F48C3FF0C8}" dt="2024-06-14T12:12:26.629" v="214" actId="1076"/>
          <ac:spMkLst>
            <pc:docMk/>
            <pc:sldMk cId="2757249485" sldId="2147482696"/>
            <ac:spMk id="8" creationId="{BB5A874E-5D61-F2D9-A31D-34299D780CEF}"/>
          </ac:spMkLst>
        </pc:spChg>
        <pc:spChg chg="add del">
          <ac:chgData name="Deepti Yadav" userId="b600194b-c568-4684-b899-1525a3e1db24" providerId="ADAL" clId="{81F5C8A8-0DFC-4DEC-A808-F7F48C3FF0C8}" dt="2024-06-14T12:13:33.156" v="216" actId="478"/>
          <ac:spMkLst>
            <pc:docMk/>
            <pc:sldMk cId="2757249485" sldId="2147482696"/>
            <ac:spMk id="9" creationId="{AE7827A9-75F8-58E8-C693-9792D91E050A}"/>
          </ac:spMkLst>
        </pc:spChg>
        <pc:spChg chg="mod">
          <ac:chgData name="Deepti Yadav" userId="b600194b-c568-4684-b899-1525a3e1db24" providerId="ADAL" clId="{81F5C8A8-0DFC-4DEC-A808-F7F48C3FF0C8}" dt="2024-06-14T12:09:46.197" v="23" actId="6549"/>
          <ac:spMkLst>
            <pc:docMk/>
            <pc:sldMk cId="2757249485" sldId="2147482696"/>
            <ac:spMk id="10" creationId="{432C3809-B1CE-BB95-D370-750C002FA7C0}"/>
          </ac:spMkLst>
        </pc:spChg>
        <pc:spChg chg="add mod">
          <ac:chgData name="Deepti Yadav" userId="b600194b-c568-4684-b899-1525a3e1db24" providerId="ADAL" clId="{81F5C8A8-0DFC-4DEC-A808-F7F48C3FF0C8}" dt="2024-06-14T12:15:54.575" v="227" actId="17032"/>
          <ac:spMkLst>
            <pc:docMk/>
            <pc:sldMk cId="2757249485" sldId="2147482696"/>
            <ac:spMk id="12" creationId="{589D6113-933C-6FE9-CEF1-4AAD598CA776}"/>
          </ac:spMkLst>
        </pc:spChg>
        <pc:spChg chg="add mod">
          <ac:chgData name="Deepti Yadav" userId="b600194b-c568-4684-b899-1525a3e1db24" providerId="ADAL" clId="{81F5C8A8-0DFC-4DEC-A808-F7F48C3FF0C8}" dt="2024-06-14T12:16:47.432" v="234" actId="207"/>
          <ac:spMkLst>
            <pc:docMk/>
            <pc:sldMk cId="2757249485" sldId="2147482696"/>
            <ac:spMk id="14" creationId="{EB65436E-FD2D-3AD4-1387-643D436FEB6B}"/>
          </ac:spMkLst>
        </pc:spChg>
        <pc:spChg chg="del mod">
          <ac:chgData name="Deepti Yadav" userId="b600194b-c568-4684-b899-1525a3e1db24" providerId="ADAL" clId="{81F5C8A8-0DFC-4DEC-A808-F7F48C3FF0C8}" dt="2024-06-14T12:10:33.937" v="25" actId="478"/>
          <ac:spMkLst>
            <pc:docMk/>
            <pc:sldMk cId="2757249485" sldId="2147482696"/>
            <ac:spMk id="15" creationId="{8D63703C-994B-80E0-C535-1BA7E8C724BF}"/>
          </ac:spMkLst>
        </pc:spChg>
        <pc:spChg chg="add mod">
          <ac:chgData name="Deepti Yadav" userId="b600194b-c568-4684-b899-1525a3e1db24" providerId="ADAL" clId="{81F5C8A8-0DFC-4DEC-A808-F7F48C3FF0C8}" dt="2024-06-14T12:15:47.933" v="225" actId="1076"/>
          <ac:spMkLst>
            <pc:docMk/>
            <pc:sldMk cId="2757249485" sldId="2147482696"/>
            <ac:spMk id="16" creationId="{D2E243DE-A19C-C8EA-D7F8-E2A7A6FD5B27}"/>
          </ac:spMkLst>
        </pc:spChg>
        <pc:spChg chg="del mod">
          <ac:chgData name="Deepti Yadav" userId="b600194b-c568-4684-b899-1525a3e1db24" providerId="ADAL" clId="{81F5C8A8-0DFC-4DEC-A808-F7F48C3FF0C8}" dt="2024-06-14T12:10:33.937" v="25" actId="478"/>
          <ac:spMkLst>
            <pc:docMk/>
            <pc:sldMk cId="2757249485" sldId="2147482696"/>
            <ac:spMk id="17" creationId="{5237B493-81AF-5D65-6801-1C32A4B77466}"/>
          </ac:spMkLst>
        </pc:spChg>
        <pc:spChg chg="add mod">
          <ac:chgData name="Deepti Yadav" userId="b600194b-c568-4684-b899-1525a3e1db24" providerId="ADAL" clId="{81F5C8A8-0DFC-4DEC-A808-F7F48C3FF0C8}" dt="2024-06-14T12:15:45.377" v="224" actId="1076"/>
          <ac:spMkLst>
            <pc:docMk/>
            <pc:sldMk cId="2757249485" sldId="2147482696"/>
            <ac:spMk id="18" creationId="{AFC41452-B01C-78B8-7C35-B7E04A534E56}"/>
          </ac:spMkLst>
        </pc:spChg>
        <pc:spChg chg="del mod">
          <ac:chgData name="Deepti Yadav" userId="b600194b-c568-4684-b899-1525a3e1db24" providerId="ADAL" clId="{81F5C8A8-0DFC-4DEC-A808-F7F48C3FF0C8}" dt="2024-06-14T12:10:33.937" v="25" actId="478"/>
          <ac:spMkLst>
            <pc:docMk/>
            <pc:sldMk cId="2757249485" sldId="2147482696"/>
            <ac:spMk id="19" creationId="{6DC1DC46-AABD-45DB-B5BF-1A77E65D5095}"/>
          </ac:spMkLst>
        </pc:spChg>
        <pc:spChg chg="add mod">
          <ac:chgData name="Deepti Yadav" userId="b600194b-c568-4684-b899-1525a3e1db24" providerId="ADAL" clId="{81F5C8A8-0DFC-4DEC-A808-F7F48C3FF0C8}" dt="2024-06-14T12:15:43.135" v="223" actId="1076"/>
          <ac:spMkLst>
            <pc:docMk/>
            <pc:sldMk cId="2757249485" sldId="2147482696"/>
            <ac:spMk id="20" creationId="{F3E8DEC3-BEDF-86FB-7D57-B191522D10C1}"/>
          </ac:spMkLst>
        </pc:spChg>
        <pc:spChg chg="del mod">
          <ac:chgData name="Deepti Yadav" userId="b600194b-c568-4684-b899-1525a3e1db24" providerId="ADAL" clId="{81F5C8A8-0DFC-4DEC-A808-F7F48C3FF0C8}" dt="2024-06-14T12:10:33.937" v="25" actId="478"/>
          <ac:spMkLst>
            <pc:docMk/>
            <pc:sldMk cId="2757249485" sldId="2147482696"/>
            <ac:spMk id="21" creationId="{82E6B9F2-4FEB-7890-3AF6-79D81498DDCB}"/>
          </ac:spMkLst>
        </pc:spChg>
        <pc:spChg chg="add del mod">
          <ac:chgData name="Deepti Yadav" userId="b600194b-c568-4684-b899-1525a3e1db24" providerId="ADAL" clId="{81F5C8A8-0DFC-4DEC-A808-F7F48C3FF0C8}" dt="2024-06-14T12:15:58.885" v="229" actId="478"/>
          <ac:spMkLst>
            <pc:docMk/>
            <pc:sldMk cId="2757249485" sldId="2147482696"/>
            <ac:spMk id="22" creationId="{90C54E3A-A92A-0E63-F248-9944C4230410}"/>
          </ac:spMkLst>
        </pc:spChg>
        <pc:spChg chg="add mod">
          <ac:chgData name="Deepti Yadav" userId="b600194b-c568-4684-b899-1525a3e1db24" providerId="ADAL" clId="{81F5C8A8-0DFC-4DEC-A808-F7F48C3FF0C8}" dt="2024-06-14T12:16:14.520" v="231" actId="1076"/>
          <ac:spMkLst>
            <pc:docMk/>
            <pc:sldMk cId="2757249485" sldId="2147482696"/>
            <ac:spMk id="23" creationId="{967F088F-89C5-6BDB-482A-C4EB72F462B7}"/>
          </ac:spMkLst>
        </pc:spChg>
        <pc:spChg chg="del">
          <ac:chgData name="Deepti Yadav" userId="b600194b-c568-4684-b899-1525a3e1db24" providerId="ADAL" clId="{81F5C8A8-0DFC-4DEC-A808-F7F48C3FF0C8}" dt="2024-06-14T12:09:36.971" v="22" actId="478"/>
          <ac:spMkLst>
            <pc:docMk/>
            <pc:sldMk cId="2757249485" sldId="2147482696"/>
            <ac:spMk id="24" creationId="{85F4B4C2-F8FB-EB2E-91EE-3E639F516E6E}"/>
          </ac:spMkLst>
        </pc:spChg>
        <pc:spChg chg="del">
          <ac:chgData name="Deepti Yadav" userId="b600194b-c568-4684-b899-1525a3e1db24" providerId="ADAL" clId="{81F5C8A8-0DFC-4DEC-A808-F7F48C3FF0C8}" dt="2024-06-14T12:09:36.971" v="22" actId="478"/>
          <ac:spMkLst>
            <pc:docMk/>
            <pc:sldMk cId="2757249485" sldId="2147482696"/>
            <ac:spMk id="25" creationId="{C301EA52-2085-FB44-BBC3-1A6512330813}"/>
          </ac:spMkLst>
        </pc:spChg>
        <pc:spChg chg="del">
          <ac:chgData name="Deepti Yadav" userId="b600194b-c568-4684-b899-1525a3e1db24" providerId="ADAL" clId="{81F5C8A8-0DFC-4DEC-A808-F7F48C3FF0C8}" dt="2024-06-14T12:09:36.971" v="22" actId="478"/>
          <ac:spMkLst>
            <pc:docMk/>
            <pc:sldMk cId="2757249485" sldId="2147482696"/>
            <ac:spMk id="26" creationId="{B58CD89B-AA3C-C1A1-79BF-F8CA9CB6AF90}"/>
          </ac:spMkLst>
        </pc:spChg>
        <pc:spChg chg="add mod">
          <ac:chgData name="Deepti Yadav" userId="b600194b-c568-4684-b899-1525a3e1db24" providerId="ADAL" clId="{81F5C8A8-0DFC-4DEC-A808-F7F48C3FF0C8}" dt="2024-06-14T12:16:14.520" v="231" actId="1076"/>
          <ac:spMkLst>
            <pc:docMk/>
            <pc:sldMk cId="2757249485" sldId="2147482696"/>
            <ac:spMk id="27" creationId="{DB7C7C37-660A-57BF-25E5-284DD18083B1}"/>
          </ac:spMkLst>
        </pc:spChg>
        <pc:spChg chg="add mod">
          <ac:chgData name="Deepti Yadav" userId="b600194b-c568-4684-b899-1525a3e1db24" providerId="ADAL" clId="{81F5C8A8-0DFC-4DEC-A808-F7F48C3FF0C8}" dt="2024-06-14T12:16:14.520" v="231" actId="1076"/>
          <ac:spMkLst>
            <pc:docMk/>
            <pc:sldMk cId="2757249485" sldId="2147482696"/>
            <ac:spMk id="28" creationId="{C20E93E0-CC64-77E0-DFBF-0DE8F1955ACD}"/>
          </ac:spMkLst>
        </pc:spChg>
        <pc:spChg chg="del">
          <ac:chgData name="Deepti Yadav" userId="b600194b-c568-4684-b899-1525a3e1db24" providerId="ADAL" clId="{81F5C8A8-0DFC-4DEC-A808-F7F48C3FF0C8}" dt="2024-06-14T12:09:36.971" v="22" actId="478"/>
          <ac:spMkLst>
            <pc:docMk/>
            <pc:sldMk cId="2757249485" sldId="2147482696"/>
            <ac:spMk id="29" creationId="{B098C853-6F5C-C982-7B75-B6125078DF8B}"/>
          </ac:spMkLst>
        </pc:spChg>
        <pc:spChg chg="add mod">
          <ac:chgData name="Deepti Yadav" userId="b600194b-c568-4684-b899-1525a3e1db24" providerId="ADAL" clId="{81F5C8A8-0DFC-4DEC-A808-F7F48C3FF0C8}" dt="2024-06-14T12:16:42.461" v="233" actId="207"/>
          <ac:spMkLst>
            <pc:docMk/>
            <pc:sldMk cId="2757249485" sldId="2147482696"/>
            <ac:spMk id="30" creationId="{102E821F-32E9-44D5-1C76-5AB3A92D030C}"/>
          </ac:spMkLst>
        </pc:spChg>
        <pc:spChg chg="add mod">
          <ac:chgData name="Deepti Yadav" userId="b600194b-c568-4684-b899-1525a3e1db24" providerId="ADAL" clId="{81F5C8A8-0DFC-4DEC-A808-F7F48C3FF0C8}" dt="2024-06-14T12:16:14.520" v="231" actId="1076"/>
          <ac:spMkLst>
            <pc:docMk/>
            <pc:sldMk cId="2757249485" sldId="2147482696"/>
            <ac:spMk id="31" creationId="{6C112EA2-5B0D-EA68-73E9-C18807E4B12F}"/>
          </ac:spMkLst>
        </pc:spChg>
        <pc:spChg chg="add">
          <ac:chgData name="Deepti Yadav" userId="b600194b-c568-4684-b899-1525a3e1db24" providerId="ADAL" clId="{81F5C8A8-0DFC-4DEC-A808-F7F48C3FF0C8}" dt="2024-06-14T12:17:06.471" v="235" actId="11529"/>
          <ac:spMkLst>
            <pc:docMk/>
            <pc:sldMk cId="2757249485" sldId="2147482696"/>
            <ac:spMk id="32" creationId="{D04F5268-5632-A9F7-4DB9-BE91DD013562}"/>
          </ac:spMkLst>
        </pc:spChg>
        <pc:spChg chg="add mod">
          <ac:chgData name="Deepti Yadav" userId="b600194b-c568-4684-b899-1525a3e1db24" providerId="ADAL" clId="{81F5C8A8-0DFC-4DEC-A808-F7F48C3FF0C8}" dt="2024-06-14T12:17:09.560" v="237" actId="1076"/>
          <ac:spMkLst>
            <pc:docMk/>
            <pc:sldMk cId="2757249485" sldId="2147482696"/>
            <ac:spMk id="35" creationId="{8B5E3042-7CD9-BBFC-F902-E3541782CF71}"/>
          </ac:spMkLst>
        </pc:spChg>
        <pc:spChg chg="add mod">
          <ac:chgData name="Deepti Yadav" userId="b600194b-c568-4684-b899-1525a3e1db24" providerId="ADAL" clId="{81F5C8A8-0DFC-4DEC-A808-F7F48C3FF0C8}" dt="2024-06-14T12:17:32.658" v="246" actId="1076"/>
          <ac:spMkLst>
            <pc:docMk/>
            <pc:sldMk cId="2757249485" sldId="2147482696"/>
            <ac:spMk id="36" creationId="{1DE05400-0310-88C4-9F01-F05971ECFB4D}"/>
          </ac:spMkLst>
        </pc:spChg>
        <pc:spChg chg="add mod">
          <ac:chgData name="Deepti Yadav" userId="b600194b-c568-4684-b899-1525a3e1db24" providerId="ADAL" clId="{81F5C8A8-0DFC-4DEC-A808-F7F48C3FF0C8}" dt="2024-06-14T12:17:36.206" v="247" actId="1076"/>
          <ac:spMkLst>
            <pc:docMk/>
            <pc:sldMk cId="2757249485" sldId="2147482696"/>
            <ac:spMk id="37" creationId="{686F7B96-6246-7D05-E1FB-E71853C73A0A}"/>
          </ac:spMkLst>
        </pc:spChg>
        <pc:spChg chg="add mod ord">
          <ac:chgData name="Deepti Yadav" userId="b600194b-c568-4684-b899-1525a3e1db24" providerId="ADAL" clId="{81F5C8A8-0DFC-4DEC-A808-F7F48C3FF0C8}" dt="2024-06-14T12:19:29.230" v="308" actId="14100"/>
          <ac:spMkLst>
            <pc:docMk/>
            <pc:sldMk cId="2757249485" sldId="2147482696"/>
            <ac:spMk id="44" creationId="{429DB8D6-8992-A1A8-A753-63083B96E62D}"/>
          </ac:spMkLst>
        </pc:spChg>
        <pc:spChg chg="add mod">
          <ac:chgData name="Deepti Yadav" userId="b600194b-c568-4684-b899-1525a3e1db24" providerId="ADAL" clId="{81F5C8A8-0DFC-4DEC-A808-F7F48C3FF0C8}" dt="2024-06-14T12:18:46.723" v="288" actId="1076"/>
          <ac:spMkLst>
            <pc:docMk/>
            <pc:sldMk cId="2757249485" sldId="2147482696"/>
            <ac:spMk id="45" creationId="{FE1EDE70-BBC4-D33D-6B35-C9EDD0FEF43B}"/>
          </ac:spMkLst>
        </pc:spChg>
        <pc:picChg chg="del mod">
          <ac:chgData name="Deepti Yadav" userId="b600194b-c568-4684-b899-1525a3e1db24" providerId="ADAL" clId="{81F5C8A8-0DFC-4DEC-A808-F7F48C3FF0C8}" dt="2024-06-14T12:10:33.937" v="25" actId="478"/>
          <ac:picMkLst>
            <pc:docMk/>
            <pc:sldMk cId="2757249485" sldId="2147482696"/>
            <ac:picMk id="33" creationId="{504C48AF-B42B-38D7-B327-E70748BBA0CB}"/>
          </ac:picMkLst>
        </pc:picChg>
        <pc:picChg chg="del">
          <ac:chgData name="Deepti Yadav" userId="b600194b-c568-4684-b899-1525a3e1db24" providerId="ADAL" clId="{81F5C8A8-0DFC-4DEC-A808-F7F48C3FF0C8}" dt="2024-06-14T12:09:36.971" v="22" actId="478"/>
          <ac:picMkLst>
            <pc:docMk/>
            <pc:sldMk cId="2757249485" sldId="2147482696"/>
            <ac:picMk id="34" creationId="{1243032F-FE55-2518-BC97-5E4E492FD440}"/>
          </ac:picMkLst>
        </pc:picChg>
        <pc:cxnChg chg="add">
          <ac:chgData name="Deepti Yadav" userId="b600194b-c568-4684-b899-1525a3e1db24" providerId="ADAL" clId="{81F5C8A8-0DFC-4DEC-A808-F7F48C3FF0C8}" dt="2024-06-14T12:17:23.609" v="242" actId="11529"/>
          <ac:cxnSpMkLst>
            <pc:docMk/>
            <pc:sldMk cId="2757249485" sldId="2147482696"/>
            <ac:cxnSpMk id="39" creationId="{16F27527-1F19-DCB8-1809-AA82639011F2}"/>
          </ac:cxnSpMkLst>
        </pc:cxnChg>
        <pc:cxnChg chg="add mod">
          <ac:chgData name="Deepti Yadav" userId="b600194b-c568-4684-b899-1525a3e1db24" providerId="ADAL" clId="{81F5C8A8-0DFC-4DEC-A808-F7F48C3FF0C8}" dt="2024-06-14T12:17:32.658" v="246" actId="1076"/>
          <ac:cxnSpMkLst>
            <pc:docMk/>
            <pc:sldMk cId="2757249485" sldId="2147482696"/>
            <ac:cxnSpMk id="40" creationId="{8FCE2267-FF4E-7E6A-6078-9DEF61ADEBCE}"/>
          </ac:cxnSpMkLst>
        </pc:cxnChg>
        <pc:cxnChg chg="add del mod">
          <ac:chgData name="Deepti Yadav" userId="b600194b-c568-4684-b899-1525a3e1db24" providerId="ADAL" clId="{81F5C8A8-0DFC-4DEC-A808-F7F48C3FF0C8}" dt="2024-06-14T12:18:58.463" v="290" actId="21"/>
          <ac:cxnSpMkLst>
            <pc:docMk/>
            <pc:sldMk cId="2757249485" sldId="2147482696"/>
            <ac:cxnSpMk id="47" creationId="{8A784486-0E82-9078-F843-F160AA1B1389}"/>
          </ac:cxnSpMkLst>
        </pc:cxnChg>
        <pc:cxnChg chg="add mod">
          <ac:chgData name="Deepti Yadav" userId="b600194b-c568-4684-b899-1525a3e1db24" providerId="ADAL" clId="{81F5C8A8-0DFC-4DEC-A808-F7F48C3FF0C8}" dt="2024-06-14T12:18:58.713" v="291"/>
          <ac:cxnSpMkLst>
            <pc:docMk/>
            <pc:sldMk cId="2757249485" sldId="2147482696"/>
            <ac:cxnSpMk id="48" creationId="{8A784486-0E82-9078-F843-F160AA1B1389}"/>
          </ac:cxnSpMkLst>
        </pc:cxnChg>
        <pc:cxnChg chg="add mod">
          <ac:chgData name="Deepti Yadav" userId="b600194b-c568-4684-b899-1525a3e1db24" providerId="ADAL" clId="{81F5C8A8-0DFC-4DEC-A808-F7F48C3FF0C8}" dt="2024-06-14T12:21:34.125" v="309" actId="1076"/>
          <ac:cxnSpMkLst>
            <pc:docMk/>
            <pc:sldMk cId="2757249485" sldId="2147482696"/>
            <ac:cxnSpMk id="49" creationId="{3B3ADA1A-C0A9-7E6A-F419-A473BFD8B24A}"/>
          </ac:cxnSpMkLst>
        </pc:cxnChg>
      </pc:sldChg>
    </pc:docChg>
  </pc:docChgLst>
  <pc:docChgLst>
    <pc:chgData name="Pranav A Sogi" userId="26041da9-58db-4268-87d2-8f3ed54afd3b" providerId="ADAL" clId="{EBD15638-85D5-4584-9A7D-9394F5796946}"/>
    <pc:docChg chg="custSel modSld">
      <pc:chgData name="Pranav A Sogi" userId="26041da9-58db-4268-87d2-8f3ed54afd3b" providerId="ADAL" clId="{EBD15638-85D5-4584-9A7D-9394F5796946}" dt="2024-06-11T06:55:47.700" v="29"/>
      <pc:docMkLst>
        <pc:docMk/>
      </pc:docMkLst>
      <pc:sldChg chg="modSp mod">
        <pc:chgData name="Pranav A Sogi" userId="26041da9-58db-4268-87d2-8f3ed54afd3b" providerId="ADAL" clId="{EBD15638-85D5-4584-9A7D-9394F5796946}" dt="2024-06-11T06:54:24.769" v="28" actId="1076"/>
        <pc:sldMkLst>
          <pc:docMk/>
          <pc:sldMk cId="2319494498" sldId="334"/>
        </pc:sldMkLst>
        <pc:spChg chg="mod">
          <ac:chgData name="Pranav A Sogi" userId="26041da9-58db-4268-87d2-8f3ed54afd3b" providerId="ADAL" clId="{EBD15638-85D5-4584-9A7D-9394F5796946}" dt="2024-06-11T06:54:12.347" v="25" actId="1076"/>
          <ac:spMkLst>
            <pc:docMk/>
            <pc:sldMk cId="2319494498" sldId="334"/>
            <ac:spMk id="16" creationId="{39DFB07A-D614-A195-07C8-4C6E3342037A}"/>
          </ac:spMkLst>
        </pc:spChg>
        <pc:spChg chg="mod">
          <ac:chgData name="Pranav A Sogi" userId="26041da9-58db-4268-87d2-8f3ed54afd3b" providerId="ADAL" clId="{EBD15638-85D5-4584-9A7D-9394F5796946}" dt="2024-06-11T06:54:16.072" v="26" actId="1076"/>
          <ac:spMkLst>
            <pc:docMk/>
            <pc:sldMk cId="2319494498" sldId="334"/>
            <ac:spMk id="18" creationId="{78B46B6B-6A73-3018-2B93-9CDCEC2673F2}"/>
          </ac:spMkLst>
        </pc:spChg>
        <pc:spChg chg="mod">
          <ac:chgData name="Pranav A Sogi" userId="26041da9-58db-4268-87d2-8f3ed54afd3b" providerId="ADAL" clId="{EBD15638-85D5-4584-9A7D-9394F5796946}" dt="2024-06-11T06:54:20.744" v="27" actId="1076"/>
          <ac:spMkLst>
            <pc:docMk/>
            <pc:sldMk cId="2319494498" sldId="334"/>
            <ac:spMk id="20" creationId="{0A2C7BB1-7101-FC88-F865-A7CABBD24A1D}"/>
          </ac:spMkLst>
        </pc:spChg>
        <pc:spChg chg="mod">
          <ac:chgData name="Pranav A Sogi" userId="26041da9-58db-4268-87d2-8f3ed54afd3b" providerId="ADAL" clId="{EBD15638-85D5-4584-9A7D-9394F5796946}" dt="2024-06-11T06:54:24.769" v="28" actId="1076"/>
          <ac:spMkLst>
            <pc:docMk/>
            <pc:sldMk cId="2319494498" sldId="334"/>
            <ac:spMk id="26" creationId="{B7ABEF5D-8BE3-D1C3-AD54-01EA3C842915}"/>
          </ac:spMkLst>
        </pc:spChg>
      </pc:sldChg>
      <pc:sldChg chg="addSp delSp modSp mod">
        <pc:chgData name="Pranav A Sogi" userId="26041da9-58db-4268-87d2-8f3ed54afd3b" providerId="ADAL" clId="{EBD15638-85D5-4584-9A7D-9394F5796946}" dt="2024-06-11T06:55:47.700" v="29"/>
        <pc:sldMkLst>
          <pc:docMk/>
          <pc:sldMk cId="2035529764" sldId="356"/>
        </pc:sldMkLst>
        <pc:graphicFrameChg chg="add del mod">
          <ac:chgData name="Pranav A Sogi" userId="26041da9-58db-4268-87d2-8f3ed54afd3b" providerId="ADAL" clId="{EBD15638-85D5-4584-9A7D-9394F5796946}" dt="2024-06-10T17:34:07.617" v="3" actId="478"/>
          <ac:graphicFrameMkLst>
            <pc:docMk/>
            <pc:sldMk cId="2035529764" sldId="356"/>
            <ac:graphicFrameMk id="5" creationId="{FC482115-2815-781F-AE75-A0B1683B8A90}"/>
          </ac:graphicFrameMkLst>
        </pc:graphicFrameChg>
        <pc:graphicFrameChg chg="modGraphic">
          <ac:chgData name="Pranav A Sogi" userId="26041da9-58db-4268-87d2-8f3ed54afd3b" providerId="ADAL" clId="{EBD15638-85D5-4584-9A7D-9394F5796946}" dt="2024-06-10T17:45:38.564" v="19" actId="798"/>
          <ac:graphicFrameMkLst>
            <pc:docMk/>
            <pc:sldMk cId="2035529764" sldId="356"/>
            <ac:graphicFrameMk id="6" creationId="{048177B2-DFFD-E7B2-5589-78EFCFC1397F}"/>
          </ac:graphicFrameMkLst>
        </pc:graphicFrameChg>
        <pc:graphicFrameChg chg="add del mod">
          <ac:chgData name="Pranav A Sogi" userId="26041da9-58db-4268-87d2-8f3ed54afd3b" providerId="ADAL" clId="{EBD15638-85D5-4584-9A7D-9394F5796946}" dt="2024-06-10T17:44:28.533" v="6" actId="478"/>
          <ac:graphicFrameMkLst>
            <pc:docMk/>
            <pc:sldMk cId="2035529764" sldId="356"/>
            <ac:graphicFrameMk id="7" creationId="{491B6699-D865-B2F8-30CE-FDF1D71F963E}"/>
          </ac:graphicFrameMkLst>
        </pc:graphicFrameChg>
        <pc:graphicFrameChg chg="add del mod">
          <ac:chgData name="Pranav A Sogi" userId="26041da9-58db-4268-87d2-8f3ed54afd3b" providerId="ADAL" clId="{EBD15638-85D5-4584-9A7D-9394F5796946}" dt="2024-06-10T17:45:46.861" v="20" actId="478"/>
          <ac:graphicFrameMkLst>
            <pc:docMk/>
            <pc:sldMk cId="2035529764" sldId="356"/>
            <ac:graphicFrameMk id="8" creationId="{83FA8273-A215-EF8E-8E09-607302690323}"/>
          </ac:graphicFrameMkLst>
        </pc:graphicFrameChg>
        <pc:graphicFrameChg chg="add del mod">
          <ac:chgData name="Pranav A Sogi" userId="26041da9-58db-4268-87d2-8f3ed54afd3b" providerId="ADAL" clId="{EBD15638-85D5-4584-9A7D-9394F5796946}" dt="2024-06-10T17:45:46.861" v="20" actId="478"/>
          <ac:graphicFrameMkLst>
            <pc:docMk/>
            <pc:sldMk cId="2035529764" sldId="356"/>
            <ac:graphicFrameMk id="9" creationId="{6103262F-B727-7507-A2B0-083B116C2123}"/>
          </ac:graphicFrameMkLst>
        </pc:graphicFrameChg>
        <pc:graphicFrameChg chg="add del mod">
          <ac:chgData name="Pranav A Sogi" userId="26041da9-58db-4268-87d2-8f3ed54afd3b" providerId="ADAL" clId="{EBD15638-85D5-4584-9A7D-9394F5796946}" dt="2024-06-10T17:45:46.861" v="20" actId="478"/>
          <ac:graphicFrameMkLst>
            <pc:docMk/>
            <pc:sldMk cId="2035529764" sldId="356"/>
            <ac:graphicFrameMk id="10" creationId="{EFD313C8-8A3B-5861-78DE-7B36FBD4DDEA}"/>
          </ac:graphicFrameMkLst>
        </pc:graphicFrameChg>
        <pc:graphicFrameChg chg="add mod">
          <ac:chgData name="Pranav A Sogi" userId="26041da9-58db-4268-87d2-8f3ed54afd3b" providerId="ADAL" clId="{EBD15638-85D5-4584-9A7D-9394F5796946}" dt="2024-06-11T06:55:47.700" v="29"/>
          <ac:graphicFrameMkLst>
            <pc:docMk/>
            <pc:sldMk cId="2035529764" sldId="356"/>
            <ac:graphicFrameMk id="11" creationId="{5FDC3B3C-5D5D-DDEA-55CC-D81FA527A4D6}"/>
          </ac:graphicFrameMkLst>
        </pc:graphicFrameChg>
      </pc:sldChg>
    </pc:docChg>
  </pc:docChgLst>
  <pc:docChgLst>
    <pc:chgData name="Yadav, Deepti - Inactive" userId="eab7e7b9-efb1-4028-93ef-65566670a6c8" providerId="ADAL" clId="{8E0EB6B5-5DD7-4BE0-A5C5-805A2F419CA7}"/>
    <pc:docChg chg="modSld">
      <pc:chgData name="Yadav, Deepti - Inactive" userId="eab7e7b9-efb1-4028-93ef-65566670a6c8" providerId="ADAL" clId="{8E0EB6B5-5DD7-4BE0-A5C5-805A2F419CA7}" dt="2024-06-26T18:20:04.908" v="0"/>
      <pc:docMkLst>
        <pc:docMk/>
      </pc:docMkLst>
      <pc:sldChg chg="modSp">
        <pc:chgData name="Yadav, Deepti - Inactive" userId="eab7e7b9-efb1-4028-93ef-65566670a6c8" providerId="ADAL" clId="{8E0EB6B5-5DD7-4BE0-A5C5-805A2F419CA7}" dt="2024-06-26T18:20:04.908" v="0"/>
        <pc:sldMkLst>
          <pc:docMk/>
          <pc:sldMk cId="2035529764" sldId="356"/>
        </pc:sldMkLst>
        <pc:graphicFrameChg chg="mod">
          <ac:chgData name="Yadav, Deepti - Inactive" userId="eab7e7b9-efb1-4028-93ef-65566670a6c8" providerId="ADAL" clId="{8E0EB6B5-5DD7-4BE0-A5C5-805A2F419CA7}" dt="2024-06-26T18:20:04.908" v="0"/>
          <ac:graphicFrameMkLst>
            <pc:docMk/>
            <pc:sldMk cId="2035529764" sldId="356"/>
            <ac:graphicFrameMk id="13" creationId="{4734AB12-8FF2-3439-EA3D-1A034375A02E}"/>
          </ac:graphicFrameMkLst>
        </pc:graphicFrameChg>
      </pc:sldChg>
    </pc:docChg>
  </pc:docChgLst>
  <pc:docChgLst>
    <pc:chgData name="Gaurav Kesari" userId="5ab21388-baf7-4ff4-bc08-f69762d4b20e" providerId="ADAL" clId="{9F5CD523-AC6F-4AC0-9530-F521BCA7F1C5}"/>
    <pc:docChg chg="undo redo custSel addSld delSld modSld sldOrd delSection modSection">
      <pc:chgData name="Gaurav Kesari" userId="5ab21388-baf7-4ff4-bc08-f69762d4b20e" providerId="ADAL" clId="{9F5CD523-AC6F-4AC0-9530-F521BCA7F1C5}" dt="2024-06-18T13:00:48.723" v="5299" actId="20577"/>
      <pc:docMkLst>
        <pc:docMk/>
      </pc:docMkLst>
      <pc:sldChg chg="modSp mod ord">
        <pc:chgData name="Gaurav Kesari" userId="5ab21388-baf7-4ff4-bc08-f69762d4b20e" providerId="ADAL" clId="{9F5CD523-AC6F-4AC0-9530-F521BCA7F1C5}" dt="2024-06-18T12:32:21.532" v="5225" actId="255"/>
        <pc:sldMkLst>
          <pc:docMk/>
          <pc:sldMk cId="1414950004" sldId="257"/>
        </pc:sldMkLst>
        <pc:spChg chg="mod">
          <ac:chgData name="Gaurav Kesari" userId="5ab21388-baf7-4ff4-bc08-f69762d4b20e" providerId="ADAL" clId="{9F5CD523-AC6F-4AC0-9530-F521BCA7F1C5}" dt="2024-06-18T12:32:21.532" v="5225" actId="255"/>
          <ac:spMkLst>
            <pc:docMk/>
            <pc:sldMk cId="1414950004" sldId="257"/>
            <ac:spMk id="2" creationId="{00000000-0000-0000-0000-000000000000}"/>
          </ac:spMkLst>
        </pc:spChg>
        <pc:spChg chg="mod">
          <ac:chgData name="Gaurav Kesari" userId="5ab21388-baf7-4ff4-bc08-f69762d4b20e" providerId="ADAL" clId="{9F5CD523-AC6F-4AC0-9530-F521BCA7F1C5}" dt="2024-06-18T12:32:01.567" v="5214" actId="1076"/>
          <ac:spMkLst>
            <pc:docMk/>
            <pc:sldMk cId="1414950004" sldId="257"/>
            <ac:spMk id="4" creationId="{00000000-0000-0000-0000-000000000000}"/>
          </ac:spMkLst>
        </pc:spChg>
      </pc:sldChg>
      <pc:sldChg chg="del ord">
        <pc:chgData name="Gaurav Kesari" userId="5ab21388-baf7-4ff4-bc08-f69762d4b20e" providerId="ADAL" clId="{9F5CD523-AC6F-4AC0-9530-F521BCA7F1C5}" dt="2024-06-18T12:59:39.497" v="5277" actId="47"/>
        <pc:sldMkLst>
          <pc:docMk/>
          <pc:sldMk cId="1751028022" sldId="258"/>
        </pc:sldMkLst>
      </pc:sldChg>
      <pc:sldChg chg="del ord">
        <pc:chgData name="Gaurav Kesari" userId="5ab21388-baf7-4ff4-bc08-f69762d4b20e" providerId="ADAL" clId="{9F5CD523-AC6F-4AC0-9530-F521BCA7F1C5}" dt="2024-06-10T12:58:28.226" v="930" actId="47"/>
        <pc:sldMkLst>
          <pc:docMk/>
          <pc:sldMk cId="2468710943" sldId="332"/>
        </pc:sldMkLst>
      </pc:sldChg>
      <pc:sldChg chg="del ord">
        <pc:chgData name="Gaurav Kesari" userId="5ab21388-baf7-4ff4-bc08-f69762d4b20e" providerId="ADAL" clId="{9F5CD523-AC6F-4AC0-9530-F521BCA7F1C5}" dt="2024-06-18T12:59:44.739" v="5279" actId="47"/>
        <pc:sldMkLst>
          <pc:docMk/>
          <pc:sldMk cId="3914706213" sldId="333"/>
        </pc:sldMkLst>
      </pc:sldChg>
      <pc:sldChg chg="addSp delSp modSp mod ord">
        <pc:chgData name="Gaurav Kesari" userId="5ab21388-baf7-4ff4-bc08-f69762d4b20e" providerId="ADAL" clId="{9F5CD523-AC6F-4AC0-9530-F521BCA7F1C5}" dt="2024-06-18T08:24:12.386" v="4853" actId="20577"/>
        <pc:sldMkLst>
          <pc:docMk/>
          <pc:sldMk cId="2319494498" sldId="334"/>
        </pc:sldMkLst>
        <pc:spChg chg="mod">
          <ac:chgData name="Gaurav Kesari" userId="5ab21388-baf7-4ff4-bc08-f69762d4b20e" providerId="ADAL" clId="{9F5CD523-AC6F-4AC0-9530-F521BCA7F1C5}" dt="2024-06-14T11:30:46.287" v="4049" actId="113"/>
          <ac:spMkLst>
            <pc:docMk/>
            <pc:sldMk cId="2319494498" sldId="334"/>
            <ac:spMk id="2" creationId="{847AD753-8BC5-C6EC-F718-C3CDA66DB4A3}"/>
          </ac:spMkLst>
        </pc:spChg>
        <pc:spChg chg="del">
          <ac:chgData name="Gaurav Kesari" userId="5ab21388-baf7-4ff4-bc08-f69762d4b20e" providerId="ADAL" clId="{9F5CD523-AC6F-4AC0-9530-F521BCA7F1C5}" dt="2024-06-10T10:03:56.056" v="648" actId="478"/>
          <ac:spMkLst>
            <pc:docMk/>
            <pc:sldMk cId="2319494498" sldId="334"/>
            <ac:spMk id="2" creationId="{D91BC0F6-23ED-27FF-EC1E-B475FFBEEAB0}"/>
          </ac:spMkLst>
        </pc:spChg>
        <pc:spChg chg="mod">
          <ac:chgData name="Gaurav Kesari" userId="5ab21388-baf7-4ff4-bc08-f69762d4b20e" providerId="ADAL" clId="{9F5CD523-AC6F-4AC0-9530-F521BCA7F1C5}" dt="2024-06-14T11:31:53.774" v="4053" actId="113"/>
          <ac:spMkLst>
            <pc:docMk/>
            <pc:sldMk cId="2319494498" sldId="334"/>
            <ac:spMk id="3" creationId="{18C8CA88-5AEE-5F18-E326-853F78F61066}"/>
          </ac:spMkLst>
        </pc:spChg>
        <pc:spChg chg="mod">
          <ac:chgData name="Gaurav Kesari" userId="5ab21388-baf7-4ff4-bc08-f69762d4b20e" providerId="ADAL" clId="{9F5CD523-AC6F-4AC0-9530-F521BCA7F1C5}" dt="2024-06-14T11:33:25.270" v="4056" actId="113"/>
          <ac:spMkLst>
            <pc:docMk/>
            <pc:sldMk cId="2319494498" sldId="334"/>
            <ac:spMk id="4" creationId="{97588B8E-71AF-EAB6-B551-066F33A5CF85}"/>
          </ac:spMkLst>
        </pc:spChg>
        <pc:spChg chg="mod">
          <ac:chgData name="Gaurav Kesari" userId="5ab21388-baf7-4ff4-bc08-f69762d4b20e" providerId="ADAL" clId="{9F5CD523-AC6F-4AC0-9530-F521BCA7F1C5}" dt="2024-06-13T05:53:08.266" v="1465" actId="20577"/>
          <ac:spMkLst>
            <pc:docMk/>
            <pc:sldMk cId="2319494498" sldId="334"/>
            <ac:spMk id="5" creationId="{E213826C-8B83-A229-3461-601581E9102F}"/>
          </ac:spMkLst>
        </pc:spChg>
        <pc:spChg chg="mod">
          <ac:chgData name="Gaurav Kesari" userId="5ab21388-baf7-4ff4-bc08-f69762d4b20e" providerId="ADAL" clId="{9F5CD523-AC6F-4AC0-9530-F521BCA7F1C5}" dt="2024-06-14T11:31:44.006" v="4052" actId="113"/>
          <ac:spMkLst>
            <pc:docMk/>
            <pc:sldMk cId="2319494498" sldId="334"/>
            <ac:spMk id="6" creationId="{57C43A15-0105-9CAB-4C11-90A02CD47FBD}"/>
          </ac:spMkLst>
        </pc:spChg>
        <pc:spChg chg="mod">
          <ac:chgData name="Gaurav Kesari" userId="5ab21388-baf7-4ff4-bc08-f69762d4b20e" providerId="ADAL" clId="{9F5CD523-AC6F-4AC0-9530-F521BCA7F1C5}" dt="2024-06-11T09:18:58.501" v="947" actId="1076"/>
          <ac:spMkLst>
            <pc:docMk/>
            <pc:sldMk cId="2319494498" sldId="334"/>
            <ac:spMk id="7" creationId="{C2DA006A-239E-8436-215C-7EC7C0966F23}"/>
          </ac:spMkLst>
        </pc:spChg>
        <pc:spChg chg="add mod">
          <ac:chgData name="Gaurav Kesari" userId="5ab21388-baf7-4ff4-bc08-f69762d4b20e" providerId="ADAL" clId="{9F5CD523-AC6F-4AC0-9530-F521BCA7F1C5}" dt="2024-06-14T06:04:03.713" v="2232" actId="1076"/>
          <ac:spMkLst>
            <pc:docMk/>
            <pc:sldMk cId="2319494498" sldId="334"/>
            <ac:spMk id="8" creationId="{20D6F218-6771-FBFB-0DE9-9A6949F3B791}"/>
          </ac:spMkLst>
        </pc:spChg>
        <pc:spChg chg="mod">
          <ac:chgData name="Gaurav Kesari" userId="5ab21388-baf7-4ff4-bc08-f69762d4b20e" providerId="ADAL" clId="{9F5CD523-AC6F-4AC0-9530-F521BCA7F1C5}" dt="2024-06-10T10:04:05.546" v="653" actId="14100"/>
          <ac:spMkLst>
            <pc:docMk/>
            <pc:sldMk cId="2319494498" sldId="334"/>
            <ac:spMk id="9" creationId="{706C7948-8B4C-A3AC-6AC6-7984CD2A800F}"/>
          </ac:spMkLst>
        </pc:spChg>
        <pc:spChg chg="add mod">
          <ac:chgData name="Gaurav Kesari" userId="5ab21388-baf7-4ff4-bc08-f69762d4b20e" providerId="ADAL" clId="{9F5CD523-AC6F-4AC0-9530-F521BCA7F1C5}" dt="2024-06-14T11:30:58.112" v="4051" actId="14100"/>
          <ac:spMkLst>
            <pc:docMk/>
            <pc:sldMk cId="2319494498" sldId="334"/>
            <ac:spMk id="9" creationId="{D8F3E355-F5EF-F8A1-F41A-67ECD60DAD5C}"/>
          </ac:spMkLst>
        </pc:spChg>
        <pc:spChg chg="add mod">
          <ac:chgData name="Gaurav Kesari" userId="5ab21388-baf7-4ff4-bc08-f69762d4b20e" providerId="ADAL" clId="{9F5CD523-AC6F-4AC0-9530-F521BCA7F1C5}" dt="2024-06-14T06:12:10.714" v="2282" actId="207"/>
          <ac:spMkLst>
            <pc:docMk/>
            <pc:sldMk cId="2319494498" sldId="334"/>
            <ac:spMk id="10" creationId="{2652A6CB-32B7-9795-8C2A-FB115E098F1E}"/>
          </ac:spMkLst>
        </pc:spChg>
        <pc:spChg chg="add mod">
          <ac:chgData name="Gaurav Kesari" userId="5ab21388-baf7-4ff4-bc08-f69762d4b20e" providerId="ADAL" clId="{9F5CD523-AC6F-4AC0-9530-F521BCA7F1C5}" dt="2024-06-11T11:34:41.812" v="1435" actId="20577"/>
          <ac:spMkLst>
            <pc:docMk/>
            <pc:sldMk cId="2319494498" sldId="334"/>
            <ac:spMk id="11" creationId="{AEF6EAE3-7DD3-2A68-5524-7E4B648FCC11}"/>
          </ac:spMkLst>
        </pc:spChg>
        <pc:spChg chg="mod">
          <ac:chgData name="Gaurav Kesari" userId="5ab21388-baf7-4ff4-bc08-f69762d4b20e" providerId="ADAL" clId="{9F5CD523-AC6F-4AC0-9530-F521BCA7F1C5}" dt="2024-06-14T11:29:47.804" v="4044" actId="113"/>
          <ac:spMkLst>
            <pc:docMk/>
            <pc:sldMk cId="2319494498" sldId="334"/>
            <ac:spMk id="12" creationId="{70255827-A68F-E376-0416-B75E1EB4464C}"/>
          </ac:spMkLst>
        </pc:spChg>
        <pc:spChg chg="mod">
          <ac:chgData name="Gaurav Kesari" userId="5ab21388-baf7-4ff4-bc08-f69762d4b20e" providerId="ADAL" clId="{9F5CD523-AC6F-4AC0-9530-F521BCA7F1C5}" dt="2024-06-14T11:30:06.568" v="4045" actId="113"/>
          <ac:spMkLst>
            <pc:docMk/>
            <pc:sldMk cId="2319494498" sldId="334"/>
            <ac:spMk id="14" creationId="{E1762D22-97DD-497B-9967-5257A0757933}"/>
          </ac:spMkLst>
        </pc:spChg>
        <pc:spChg chg="mod">
          <ac:chgData name="Gaurav Kesari" userId="5ab21388-baf7-4ff4-bc08-f69762d4b20e" providerId="ADAL" clId="{9F5CD523-AC6F-4AC0-9530-F521BCA7F1C5}" dt="2024-06-14T11:30:15.045" v="4046" actId="113"/>
          <ac:spMkLst>
            <pc:docMk/>
            <pc:sldMk cId="2319494498" sldId="334"/>
            <ac:spMk id="16" creationId="{39DFB07A-D614-A195-07C8-4C6E3342037A}"/>
          </ac:spMkLst>
        </pc:spChg>
        <pc:spChg chg="mod">
          <ac:chgData name="Gaurav Kesari" userId="5ab21388-baf7-4ff4-bc08-f69762d4b20e" providerId="ADAL" clId="{9F5CD523-AC6F-4AC0-9530-F521BCA7F1C5}" dt="2024-06-14T11:30:22.199" v="4047" actId="113"/>
          <ac:spMkLst>
            <pc:docMk/>
            <pc:sldMk cId="2319494498" sldId="334"/>
            <ac:spMk id="18" creationId="{78B46B6B-6A73-3018-2B93-9CDCEC2673F2}"/>
          </ac:spMkLst>
        </pc:spChg>
        <pc:spChg chg="mod">
          <ac:chgData name="Gaurav Kesari" userId="5ab21388-baf7-4ff4-bc08-f69762d4b20e" providerId="ADAL" clId="{9F5CD523-AC6F-4AC0-9530-F521BCA7F1C5}" dt="2024-06-14T06:11:21.349" v="2272" actId="207"/>
          <ac:spMkLst>
            <pc:docMk/>
            <pc:sldMk cId="2319494498" sldId="334"/>
            <ac:spMk id="20" creationId="{0A2C7BB1-7101-FC88-F865-A7CABBD24A1D}"/>
          </ac:spMkLst>
        </pc:spChg>
        <pc:spChg chg="mod">
          <ac:chgData name="Gaurav Kesari" userId="5ab21388-baf7-4ff4-bc08-f69762d4b20e" providerId="ADAL" clId="{9F5CD523-AC6F-4AC0-9530-F521BCA7F1C5}" dt="2024-06-14T11:32:04.740" v="4054" actId="113"/>
          <ac:spMkLst>
            <pc:docMk/>
            <pc:sldMk cId="2319494498" sldId="334"/>
            <ac:spMk id="22" creationId="{491B2D59-1927-7968-E84E-49B971D601CA}"/>
          </ac:spMkLst>
        </pc:spChg>
        <pc:spChg chg="mod">
          <ac:chgData name="Gaurav Kesari" userId="5ab21388-baf7-4ff4-bc08-f69762d4b20e" providerId="ADAL" clId="{9F5CD523-AC6F-4AC0-9530-F521BCA7F1C5}" dt="2024-06-14T11:30:39.687" v="4048" actId="113"/>
          <ac:spMkLst>
            <pc:docMk/>
            <pc:sldMk cId="2319494498" sldId="334"/>
            <ac:spMk id="26" creationId="{B7ABEF5D-8BE3-D1C3-AD54-01EA3C842915}"/>
          </ac:spMkLst>
        </pc:spChg>
        <pc:spChg chg="mod">
          <ac:chgData name="Gaurav Kesari" userId="5ab21388-baf7-4ff4-bc08-f69762d4b20e" providerId="ADAL" clId="{9F5CD523-AC6F-4AC0-9530-F521BCA7F1C5}" dt="2024-06-18T08:24:12.386" v="4853" actId="20577"/>
          <ac:spMkLst>
            <pc:docMk/>
            <pc:sldMk cId="2319494498" sldId="334"/>
            <ac:spMk id="27" creationId="{CA8A861D-6198-1B4E-0997-6B832D371058}"/>
          </ac:spMkLst>
        </pc:spChg>
        <pc:spChg chg="mod">
          <ac:chgData name="Gaurav Kesari" userId="5ab21388-baf7-4ff4-bc08-f69762d4b20e" providerId="ADAL" clId="{9F5CD523-AC6F-4AC0-9530-F521BCA7F1C5}" dt="2024-06-14T11:33:16.854" v="4055" actId="113"/>
          <ac:spMkLst>
            <pc:docMk/>
            <pc:sldMk cId="2319494498" sldId="334"/>
            <ac:spMk id="28" creationId="{C270A4C2-9D18-9A0B-38A7-1782B3438FAC}"/>
          </ac:spMkLst>
        </pc:spChg>
        <pc:spChg chg="mod">
          <ac:chgData name="Gaurav Kesari" userId="5ab21388-baf7-4ff4-bc08-f69762d4b20e" providerId="ADAL" clId="{9F5CD523-AC6F-4AC0-9530-F521BCA7F1C5}" dt="2024-06-14T11:33:40.825" v="4059" actId="113"/>
          <ac:spMkLst>
            <pc:docMk/>
            <pc:sldMk cId="2319494498" sldId="334"/>
            <ac:spMk id="30" creationId="{3272B211-9C07-4EF4-D1B7-45579D603221}"/>
          </ac:spMkLst>
        </pc:spChg>
        <pc:spChg chg="mod">
          <ac:chgData name="Gaurav Kesari" userId="5ab21388-baf7-4ff4-bc08-f69762d4b20e" providerId="ADAL" clId="{9F5CD523-AC6F-4AC0-9530-F521BCA7F1C5}" dt="2024-06-11T09:18:45.632" v="944" actId="1076"/>
          <ac:spMkLst>
            <pc:docMk/>
            <pc:sldMk cId="2319494498" sldId="334"/>
            <ac:spMk id="32" creationId="{D7DB36F0-EE8F-55EC-6425-5C42CF3980AF}"/>
          </ac:spMkLst>
        </pc:spChg>
        <pc:spChg chg="mod">
          <ac:chgData name="Gaurav Kesari" userId="5ab21388-baf7-4ff4-bc08-f69762d4b20e" providerId="ADAL" clId="{9F5CD523-AC6F-4AC0-9530-F521BCA7F1C5}" dt="2024-06-14T11:33:33.848" v="4058" actId="14100"/>
          <ac:spMkLst>
            <pc:docMk/>
            <pc:sldMk cId="2319494498" sldId="334"/>
            <ac:spMk id="34" creationId="{1D9AB50F-C30C-A48F-421F-F19ABB8BBDC5}"/>
          </ac:spMkLst>
        </pc:spChg>
        <pc:spChg chg="mod">
          <ac:chgData name="Gaurav Kesari" userId="5ab21388-baf7-4ff4-bc08-f69762d4b20e" providerId="ADAL" clId="{9F5CD523-AC6F-4AC0-9530-F521BCA7F1C5}" dt="2024-06-14T06:11:23.040" v="2273" actId="207"/>
          <ac:spMkLst>
            <pc:docMk/>
            <pc:sldMk cId="2319494498" sldId="334"/>
            <ac:spMk id="36" creationId="{512225C2-B1A1-EE38-D5E1-BD63DDA9ADE2}"/>
          </ac:spMkLst>
        </pc:spChg>
        <pc:spChg chg="mod">
          <ac:chgData name="Gaurav Kesari" userId="5ab21388-baf7-4ff4-bc08-f69762d4b20e" providerId="ADAL" clId="{9F5CD523-AC6F-4AC0-9530-F521BCA7F1C5}" dt="2024-06-11T09:18:54.132" v="946" actId="1076"/>
          <ac:spMkLst>
            <pc:docMk/>
            <pc:sldMk cId="2319494498" sldId="334"/>
            <ac:spMk id="37" creationId="{3F31CE2F-0516-0A24-2D85-DB94F2B7E743}"/>
          </ac:spMkLst>
        </pc:spChg>
        <pc:spChg chg="mod">
          <ac:chgData name="Gaurav Kesari" userId="5ab21388-baf7-4ff4-bc08-f69762d4b20e" providerId="ADAL" clId="{9F5CD523-AC6F-4AC0-9530-F521BCA7F1C5}" dt="2024-06-14T06:12:09.223" v="2281" actId="207"/>
          <ac:spMkLst>
            <pc:docMk/>
            <pc:sldMk cId="2319494498" sldId="334"/>
            <ac:spMk id="63" creationId="{C40CC5F8-DFF3-4AAA-F729-606AD8208FF8}"/>
          </ac:spMkLst>
        </pc:spChg>
        <pc:spChg chg="mod">
          <ac:chgData name="Gaurav Kesari" userId="5ab21388-baf7-4ff4-bc08-f69762d4b20e" providerId="ADAL" clId="{9F5CD523-AC6F-4AC0-9530-F521BCA7F1C5}" dt="2024-06-10T10:04:03.386" v="652" actId="14100"/>
          <ac:spMkLst>
            <pc:docMk/>
            <pc:sldMk cId="2319494498" sldId="334"/>
            <ac:spMk id="72" creationId="{E7C3CA7D-5F78-8B93-CC4C-7793737B0A88}"/>
          </ac:spMkLst>
        </pc:spChg>
        <pc:spChg chg="del">
          <ac:chgData name="Gaurav Kesari" userId="5ab21388-baf7-4ff4-bc08-f69762d4b20e" providerId="ADAL" clId="{9F5CD523-AC6F-4AC0-9530-F521BCA7F1C5}" dt="2024-06-10T10:03:57.816" v="649" actId="478"/>
          <ac:spMkLst>
            <pc:docMk/>
            <pc:sldMk cId="2319494498" sldId="334"/>
            <ac:spMk id="78" creationId="{0217532F-387B-240C-7339-B2596B168673}"/>
          </ac:spMkLst>
        </pc:spChg>
      </pc:sldChg>
      <pc:sldChg chg="del ord">
        <pc:chgData name="Gaurav Kesari" userId="5ab21388-baf7-4ff4-bc08-f69762d4b20e" providerId="ADAL" clId="{9F5CD523-AC6F-4AC0-9530-F521BCA7F1C5}" dt="2024-06-18T12:59:43.433" v="5278" actId="47"/>
        <pc:sldMkLst>
          <pc:docMk/>
          <pc:sldMk cId="3775234309" sldId="338"/>
        </pc:sldMkLst>
      </pc:sldChg>
      <pc:sldChg chg="del ord">
        <pc:chgData name="Gaurav Kesari" userId="5ab21388-baf7-4ff4-bc08-f69762d4b20e" providerId="ADAL" clId="{9F5CD523-AC6F-4AC0-9530-F521BCA7F1C5}" dt="2024-06-18T12:59:46.185" v="5283" actId="47"/>
        <pc:sldMkLst>
          <pc:docMk/>
          <pc:sldMk cId="703514950" sldId="343"/>
        </pc:sldMkLst>
      </pc:sldChg>
      <pc:sldChg chg="del ord">
        <pc:chgData name="Gaurav Kesari" userId="5ab21388-baf7-4ff4-bc08-f69762d4b20e" providerId="ADAL" clId="{9F5CD523-AC6F-4AC0-9530-F521BCA7F1C5}" dt="2024-06-18T12:59:45.463" v="5281" actId="47"/>
        <pc:sldMkLst>
          <pc:docMk/>
          <pc:sldMk cId="2567510148" sldId="345"/>
        </pc:sldMkLst>
      </pc:sldChg>
      <pc:sldChg chg="del ord">
        <pc:chgData name="Gaurav Kesari" userId="5ab21388-baf7-4ff4-bc08-f69762d4b20e" providerId="ADAL" clId="{9F5CD523-AC6F-4AC0-9530-F521BCA7F1C5}" dt="2024-06-10T12:58:24.708" v="929" actId="47"/>
        <pc:sldMkLst>
          <pc:docMk/>
          <pc:sldMk cId="2635579362" sldId="348"/>
        </pc:sldMkLst>
      </pc:sldChg>
      <pc:sldChg chg="del ord">
        <pc:chgData name="Gaurav Kesari" userId="5ab21388-baf7-4ff4-bc08-f69762d4b20e" providerId="ADAL" clId="{9F5CD523-AC6F-4AC0-9530-F521BCA7F1C5}" dt="2024-06-18T12:59:46.216" v="5284" actId="47"/>
        <pc:sldMkLst>
          <pc:docMk/>
          <pc:sldMk cId="982885205" sldId="350"/>
        </pc:sldMkLst>
      </pc:sldChg>
      <pc:sldChg chg="del ord">
        <pc:chgData name="Gaurav Kesari" userId="5ab21388-baf7-4ff4-bc08-f69762d4b20e" providerId="ADAL" clId="{9F5CD523-AC6F-4AC0-9530-F521BCA7F1C5}" dt="2024-06-18T12:59:45.729" v="5282" actId="47"/>
        <pc:sldMkLst>
          <pc:docMk/>
          <pc:sldMk cId="3380756782" sldId="351"/>
        </pc:sldMkLst>
      </pc:sldChg>
      <pc:sldChg chg="add del">
        <pc:chgData name="Gaurav Kesari" userId="5ab21388-baf7-4ff4-bc08-f69762d4b20e" providerId="ADAL" clId="{9F5CD523-AC6F-4AC0-9530-F521BCA7F1C5}" dt="2024-06-11T11:25:23.098" v="1326" actId="47"/>
        <pc:sldMkLst>
          <pc:docMk/>
          <pc:sldMk cId="1881960503" sldId="352"/>
        </pc:sldMkLst>
      </pc:sldChg>
      <pc:sldChg chg="addSp delSp modSp add del mod ord">
        <pc:chgData name="Gaurav Kesari" userId="5ab21388-baf7-4ff4-bc08-f69762d4b20e" providerId="ADAL" clId="{9F5CD523-AC6F-4AC0-9530-F521BCA7F1C5}" dt="2024-06-18T12:59:46.560" v="5286" actId="47"/>
        <pc:sldMkLst>
          <pc:docMk/>
          <pc:sldMk cId="2737486546" sldId="353"/>
        </pc:sldMkLst>
        <pc:spChg chg="mod">
          <ac:chgData name="Gaurav Kesari" userId="5ab21388-baf7-4ff4-bc08-f69762d4b20e" providerId="ADAL" clId="{9F5CD523-AC6F-4AC0-9530-F521BCA7F1C5}" dt="2024-06-10T07:31:30.109" v="40"/>
          <ac:spMkLst>
            <pc:docMk/>
            <pc:sldMk cId="2737486546" sldId="353"/>
            <ac:spMk id="2" creationId="{6AC12E71-8344-700C-2D85-D021B891B0B4}"/>
          </ac:spMkLst>
        </pc:spChg>
        <pc:spChg chg="add del mod">
          <ac:chgData name="Gaurav Kesari" userId="5ab21388-baf7-4ff4-bc08-f69762d4b20e" providerId="ADAL" clId="{9F5CD523-AC6F-4AC0-9530-F521BCA7F1C5}" dt="2024-06-10T08:27:45.371" v="571" actId="478"/>
          <ac:spMkLst>
            <pc:docMk/>
            <pc:sldMk cId="2737486546" sldId="353"/>
            <ac:spMk id="3" creationId="{E9FFA77E-E62F-419C-B9FF-03DC27F39920}"/>
          </ac:spMkLst>
        </pc:spChg>
        <pc:spChg chg="add del mod">
          <ac:chgData name="Gaurav Kesari" userId="5ab21388-baf7-4ff4-bc08-f69762d4b20e" providerId="ADAL" clId="{9F5CD523-AC6F-4AC0-9530-F521BCA7F1C5}" dt="2024-06-10T10:29:01.743" v="808" actId="478"/>
          <ac:spMkLst>
            <pc:docMk/>
            <pc:sldMk cId="2737486546" sldId="353"/>
            <ac:spMk id="4" creationId="{D0E5A0AB-D3FF-CAD6-688D-4F30CEFF16C4}"/>
          </ac:spMkLst>
        </pc:spChg>
        <pc:spChg chg="add del mod">
          <ac:chgData name="Gaurav Kesari" userId="5ab21388-baf7-4ff4-bc08-f69762d4b20e" providerId="ADAL" clId="{9F5CD523-AC6F-4AC0-9530-F521BCA7F1C5}" dt="2024-06-10T10:29:00.610" v="807" actId="478"/>
          <ac:spMkLst>
            <pc:docMk/>
            <pc:sldMk cId="2737486546" sldId="353"/>
            <ac:spMk id="5" creationId="{361818D7-7C1E-FD06-017A-5B8B17178CCF}"/>
          </ac:spMkLst>
        </pc:spChg>
        <pc:spChg chg="add del mod">
          <ac:chgData name="Gaurav Kesari" userId="5ab21388-baf7-4ff4-bc08-f69762d4b20e" providerId="ADAL" clId="{9F5CD523-AC6F-4AC0-9530-F521BCA7F1C5}" dt="2024-06-10T10:29:02.294" v="809" actId="478"/>
          <ac:spMkLst>
            <pc:docMk/>
            <pc:sldMk cId="2737486546" sldId="353"/>
            <ac:spMk id="6" creationId="{F5FFCB71-98B4-9A5A-F9C8-673FBF12AC88}"/>
          </ac:spMkLst>
        </pc:spChg>
        <pc:spChg chg="add del mod">
          <ac:chgData name="Gaurav Kesari" userId="5ab21388-baf7-4ff4-bc08-f69762d4b20e" providerId="ADAL" clId="{9F5CD523-AC6F-4AC0-9530-F521BCA7F1C5}" dt="2024-06-10T10:28:59.067" v="806" actId="478"/>
          <ac:spMkLst>
            <pc:docMk/>
            <pc:sldMk cId="2737486546" sldId="353"/>
            <ac:spMk id="7" creationId="{E9FD5846-B9CC-8BE0-D376-740E8BD8B724}"/>
          </ac:spMkLst>
        </pc:spChg>
        <pc:spChg chg="mod">
          <ac:chgData name="Gaurav Kesari" userId="5ab21388-baf7-4ff4-bc08-f69762d4b20e" providerId="ADAL" clId="{9F5CD523-AC6F-4AC0-9530-F521BCA7F1C5}" dt="2024-06-10T07:33:03.729" v="139" actId="20577"/>
          <ac:spMkLst>
            <pc:docMk/>
            <pc:sldMk cId="2737486546" sldId="353"/>
            <ac:spMk id="10" creationId="{432C3809-B1CE-BB95-D370-750C002FA7C0}"/>
          </ac:spMkLst>
        </pc:spChg>
        <pc:spChg chg="mod">
          <ac:chgData name="Gaurav Kesari" userId="5ab21388-baf7-4ff4-bc08-f69762d4b20e" providerId="ADAL" clId="{9F5CD523-AC6F-4AC0-9530-F521BCA7F1C5}" dt="2024-06-10T08:30:44.046" v="608" actId="1076"/>
          <ac:spMkLst>
            <pc:docMk/>
            <pc:sldMk cId="2737486546" sldId="353"/>
            <ac:spMk id="14" creationId="{BB1C5F77-CF31-7986-3178-BD584F9921C6}"/>
          </ac:spMkLst>
        </pc:spChg>
        <pc:spChg chg="mod">
          <ac:chgData name="Gaurav Kesari" userId="5ab21388-baf7-4ff4-bc08-f69762d4b20e" providerId="ADAL" clId="{9F5CD523-AC6F-4AC0-9530-F521BCA7F1C5}" dt="2024-06-10T07:30:06.287" v="24" actId="20577"/>
          <ac:spMkLst>
            <pc:docMk/>
            <pc:sldMk cId="2737486546" sldId="353"/>
            <ac:spMk id="16" creationId="{C5708BDD-5E67-2077-C395-C7BC7A9C69AB}"/>
          </ac:spMkLst>
        </pc:spChg>
        <pc:spChg chg="mod">
          <ac:chgData name="Gaurav Kesari" userId="5ab21388-baf7-4ff4-bc08-f69762d4b20e" providerId="ADAL" clId="{9F5CD523-AC6F-4AC0-9530-F521BCA7F1C5}" dt="2024-06-10T07:30:12.931" v="29" actId="20577"/>
          <ac:spMkLst>
            <pc:docMk/>
            <pc:sldMk cId="2737486546" sldId="353"/>
            <ac:spMk id="17" creationId="{5237B493-81AF-5D65-6801-1C32A4B77466}"/>
          </ac:spMkLst>
        </pc:spChg>
        <pc:spChg chg="mod">
          <ac:chgData name="Gaurav Kesari" userId="5ab21388-baf7-4ff4-bc08-f69762d4b20e" providerId="ADAL" clId="{9F5CD523-AC6F-4AC0-9530-F521BCA7F1C5}" dt="2024-06-13T06:12:44.866" v="1565" actId="14100"/>
          <ac:spMkLst>
            <pc:docMk/>
            <pc:sldMk cId="2737486546" sldId="353"/>
            <ac:spMk id="20" creationId="{32F24BB3-6462-FD41-DA52-90806E7FD672}"/>
          </ac:spMkLst>
        </pc:spChg>
        <pc:spChg chg="mod">
          <ac:chgData name="Gaurav Kesari" userId="5ab21388-baf7-4ff4-bc08-f69762d4b20e" providerId="ADAL" clId="{9F5CD523-AC6F-4AC0-9530-F521BCA7F1C5}" dt="2024-06-10T07:32:48.997" v="117" actId="20577"/>
          <ac:spMkLst>
            <pc:docMk/>
            <pc:sldMk cId="2737486546" sldId="353"/>
            <ac:spMk id="25" creationId="{C301EA52-2085-FB44-BBC3-1A6512330813}"/>
          </ac:spMkLst>
        </pc:spChg>
        <pc:spChg chg="mod">
          <ac:chgData name="Gaurav Kesari" userId="5ab21388-baf7-4ff4-bc08-f69762d4b20e" providerId="ADAL" clId="{9F5CD523-AC6F-4AC0-9530-F521BCA7F1C5}" dt="2024-06-13T06:33:04.939" v="1566"/>
          <ac:spMkLst>
            <pc:docMk/>
            <pc:sldMk cId="2737486546" sldId="353"/>
            <ac:spMk id="26" creationId="{B58CD89B-AA3C-C1A1-79BF-F8CA9CB6AF90}"/>
          </ac:spMkLst>
        </pc:spChg>
      </pc:sldChg>
      <pc:sldChg chg="new del">
        <pc:chgData name="Gaurav Kesari" userId="5ab21388-baf7-4ff4-bc08-f69762d4b20e" providerId="ADAL" clId="{9F5CD523-AC6F-4AC0-9530-F521BCA7F1C5}" dt="2024-06-10T07:30:00.648" v="17" actId="47"/>
        <pc:sldMkLst>
          <pc:docMk/>
          <pc:sldMk cId="3295909653" sldId="353"/>
        </pc:sldMkLst>
      </pc:sldChg>
      <pc:sldChg chg="modSp add del mod ord">
        <pc:chgData name="Gaurav Kesari" userId="5ab21388-baf7-4ff4-bc08-f69762d4b20e" providerId="ADAL" clId="{9F5CD523-AC6F-4AC0-9530-F521BCA7F1C5}" dt="2024-06-18T12:59:45.195" v="5280" actId="47"/>
        <pc:sldMkLst>
          <pc:docMk/>
          <pc:sldMk cId="3954524133" sldId="354"/>
        </pc:sldMkLst>
        <pc:spChg chg="mod">
          <ac:chgData name="Gaurav Kesari" userId="5ab21388-baf7-4ff4-bc08-f69762d4b20e" providerId="ADAL" clId="{9F5CD523-AC6F-4AC0-9530-F521BCA7F1C5}" dt="2024-06-10T07:31:46.598" v="44"/>
          <ac:spMkLst>
            <pc:docMk/>
            <pc:sldMk cId="3954524133" sldId="354"/>
            <ac:spMk id="2" creationId="{6AC12E71-8344-700C-2D85-D021B891B0B4}"/>
          </ac:spMkLst>
        </pc:spChg>
      </pc:sldChg>
      <pc:sldChg chg="add del">
        <pc:chgData name="Gaurav Kesari" userId="5ab21388-baf7-4ff4-bc08-f69762d4b20e" providerId="ADAL" clId="{9F5CD523-AC6F-4AC0-9530-F521BCA7F1C5}" dt="2024-06-10T07:32:44.989" v="111" actId="47"/>
        <pc:sldMkLst>
          <pc:docMk/>
          <pc:sldMk cId="1115856717" sldId="355"/>
        </pc:sldMkLst>
      </pc:sldChg>
      <pc:sldChg chg="addSp delSp modSp new mod ord addCm delCm">
        <pc:chgData name="Gaurav Kesari" userId="5ab21388-baf7-4ff4-bc08-f69762d4b20e" providerId="ADAL" clId="{9F5CD523-AC6F-4AC0-9530-F521BCA7F1C5}" dt="2024-06-18T12:58:46.823" v="5269"/>
        <pc:sldMkLst>
          <pc:docMk/>
          <pc:sldMk cId="2035529764" sldId="356"/>
        </pc:sldMkLst>
        <pc:spChg chg="mod">
          <ac:chgData name="Gaurav Kesari" userId="5ab21388-baf7-4ff4-bc08-f69762d4b20e" providerId="ADAL" clId="{9F5CD523-AC6F-4AC0-9530-F521BCA7F1C5}" dt="2024-06-18T12:24:04.684" v="5156" actId="20577"/>
          <ac:spMkLst>
            <pc:docMk/>
            <pc:sldMk cId="2035529764" sldId="356"/>
            <ac:spMk id="2" creationId="{47E9AD21-BC5A-8F1F-7724-4A751D5F480D}"/>
          </ac:spMkLst>
        </pc:spChg>
        <pc:spChg chg="del mod">
          <ac:chgData name="Gaurav Kesari" userId="5ab21388-baf7-4ff4-bc08-f69762d4b20e" providerId="ADAL" clId="{9F5CD523-AC6F-4AC0-9530-F521BCA7F1C5}" dt="2024-06-14T11:26:40.386" v="3902" actId="478"/>
          <ac:spMkLst>
            <pc:docMk/>
            <pc:sldMk cId="2035529764" sldId="356"/>
            <ac:spMk id="4" creationId="{0D16D9AA-8613-53AD-A3EE-2D7B3C0970EF}"/>
          </ac:spMkLst>
        </pc:spChg>
        <pc:graphicFrameChg chg="add del mod modGraphic">
          <ac:chgData name="Gaurav Kesari" userId="5ab21388-baf7-4ff4-bc08-f69762d4b20e" providerId="ADAL" clId="{9F5CD523-AC6F-4AC0-9530-F521BCA7F1C5}" dt="2024-06-10T08:21:59.332" v="509" actId="478"/>
          <ac:graphicFrameMkLst>
            <pc:docMk/>
            <pc:sldMk cId="2035529764" sldId="356"/>
            <ac:graphicFrameMk id="5" creationId="{1D45AE38-7937-26BC-B8C3-C069434A7A99}"/>
          </ac:graphicFrameMkLst>
        </pc:graphicFrameChg>
        <pc:graphicFrameChg chg="add del mod">
          <ac:chgData name="Gaurav Kesari" userId="5ab21388-baf7-4ff4-bc08-f69762d4b20e" providerId="ADAL" clId="{9F5CD523-AC6F-4AC0-9530-F521BCA7F1C5}" dt="2024-06-18T12:20:50.349" v="5132" actId="478"/>
          <ac:graphicFrameMkLst>
            <pc:docMk/>
            <pc:sldMk cId="2035529764" sldId="356"/>
            <ac:graphicFrameMk id="5" creationId="{98024F46-842A-4EFC-B343-B59A0E96F99B}"/>
          </ac:graphicFrameMkLst>
        </pc:graphicFrameChg>
        <pc:graphicFrameChg chg="add mod modGraphic">
          <ac:chgData name="Gaurav Kesari" userId="5ab21388-baf7-4ff4-bc08-f69762d4b20e" providerId="ADAL" clId="{9F5CD523-AC6F-4AC0-9530-F521BCA7F1C5}" dt="2024-06-18T12:29:09.072" v="5208" actId="20577"/>
          <ac:graphicFrameMkLst>
            <pc:docMk/>
            <pc:sldMk cId="2035529764" sldId="356"/>
            <ac:graphicFrameMk id="6" creationId="{048177B2-DFFD-E7B2-5589-78EFCFC1397F}"/>
          </ac:graphicFrameMkLst>
        </pc:graphicFrameChg>
        <pc:graphicFrameChg chg="del mod">
          <ac:chgData name="Gaurav Kesari" userId="5ab21388-baf7-4ff4-bc08-f69762d4b20e" providerId="ADAL" clId="{9F5CD523-AC6F-4AC0-9530-F521BCA7F1C5}" dt="2024-06-18T12:21:27.612" v="5137" actId="478"/>
          <ac:graphicFrameMkLst>
            <pc:docMk/>
            <pc:sldMk cId="2035529764" sldId="356"/>
            <ac:graphicFrameMk id="11" creationId="{5FDC3B3C-5D5D-DDEA-55CC-D81FA527A4D6}"/>
          </ac:graphicFrameMkLst>
        </pc:graphicFrameChg>
        <pc:graphicFrameChg chg="add del mod">
          <ac:chgData name="Gaurav Kesari" userId="5ab21388-baf7-4ff4-bc08-f69762d4b20e" providerId="ADAL" clId="{9F5CD523-AC6F-4AC0-9530-F521BCA7F1C5}" dt="2024-06-18T12:21:11.820" v="5134" actId="478"/>
          <ac:graphicFrameMkLst>
            <pc:docMk/>
            <pc:sldMk cId="2035529764" sldId="356"/>
            <ac:graphicFrameMk id="12" creationId="{32EA9865-A4FA-53E3-CD23-F4A841896930}"/>
          </ac:graphicFrameMkLst>
        </pc:graphicFrameChg>
        <pc:graphicFrameChg chg="add mod">
          <ac:chgData name="Gaurav Kesari" userId="5ab21388-baf7-4ff4-bc08-f69762d4b20e" providerId="ADAL" clId="{9F5CD523-AC6F-4AC0-9530-F521BCA7F1C5}" dt="2024-06-18T12:29:32.009" v="5209"/>
          <ac:graphicFrameMkLst>
            <pc:docMk/>
            <pc:sldMk cId="2035529764" sldId="356"/>
            <ac:graphicFrameMk id="13" creationId="{4734AB12-8FF2-3439-EA3D-1A034375A02E}"/>
          </ac:graphicFrameMkLst>
        </pc:graphicFrameChg>
        <pc:extLst>
          <p:ext xmlns:p="http://schemas.openxmlformats.org/presentationml/2006/main" uri="{D6D511B9-2390-475A-947B-AFAB55BFBCF1}">
            <pc226:cmChg xmlns:pc226="http://schemas.microsoft.com/office/powerpoint/2022/06/main/command" chg="add del">
              <pc226:chgData name="Gaurav Kesari" userId="5ab21388-baf7-4ff4-bc08-f69762d4b20e" providerId="ADAL" clId="{9F5CD523-AC6F-4AC0-9530-F521BCA7F1C5}" dt="2024-06-18T12:58:46.823" v="5269"/>
              <pc2:cmMkLst xmlns:pc2="http://schemas.microsoft.com/office/powerpoint/2019/9/main/command">
                <pc:docMk/>
                <pc:sldMk cId="2035529764" sldId="356"/>
                <pc2:cmMk id="{A93418C5-739B-4B8B-83D9-8730E31F65C7}"/>
              </pc2:cmMkLst>
            </pc226:cmChg>
          </p:ext>
        </pc:extLst>
      </pc:sldChg>
      <pc:sldChg chg="addSp delSp modSp new mod">
        <pc:chgData name="Gaurav Kesari" userId="5ab21388-baf7-4ff4-bc08-f69762d4b20e" providerId="ADAL" clId="{9F5CD523-AC6F-4AC0-9530-F521BCA7F1C5}" dt="2024-06-14T12:02:03.170" v="4302" actId="1076"/>
        <pc:sldMkLst>
          <pc:docMk/>
          <pc:sldMk cId="3328825580" sldId="357"/>
        </pc:sldMkLst>
        <pc:spChg chg="mod">
          <ac:chgData name="Gaurav Kesari" userId="5ab21388-baf7-4ff4-bc08-f69762d4b20e" providerId="ADAL" clId="{9F5CD523-AC6F-4AC0-9530-F521BCA7F1C5}" dt="2024-06-14T11:43:11.079" v="4142" actId="20577"/>
          <ac:spMkLst>
            <pc:docMk/>
            <pc:sldMk cId="3328825580" sldId="357"/>
            <ac:spMk id="2" creationId="{9431463F-C086-F12C-8AB8-B9330F57F3FD}"/>
          </ac:spMkLst>
        </pc:spChg>
        <pc:spChg chg="del">
          <ac:chgData name="Gaurav Kesari" userId="5ab21388-baf7-4ff4-bc08-f69762d4b20e" providerId="ADAL" clId="{9F5CD523-AC6F-4AC0-9530-F521BCA7F1C5}" dt="2024-06-14T11:36:12.949" v="4098" actId="478"/>
          <ac:spMkLst>
            <pc:docMk/>
            <pc:sldMk cId="3328825580" sldId="357"/>
            <ac:spMk id="4" creationId="{8E77C90D-5DC5-C9A0-134A-B5C7CB21EB17}"/>
          </ac:spMkLst>
        </pc:spChg>
        <pc:spChg chg="add mod">
          <ac:chgData name="Gaurav Kesari" userId="5ab21388-baf7-4ff4-bc08-f69762d4b20e" providerId="ADAL" clId="{9F5CD523-AC6F-4AC0-9530-F521BCA7F1C5}" dt="2024-06-10T07:33:49.337" v="183" actId="767"/>
          <ac:spMkLst>
            <pc:docMk/>
            <pc:sldMk cId="3328825580" sldId="357"/>
            <ac:spMk id="5" creationId="{EC6916B1-51EB-974F-94E8-FEAEF2BF0C25}"/>
          </ac:spMkLst>
        </pc:spChg>
        <pc:spChg chg="add mod">
          <ac:chgData name="Gaurav Kesari" userId="5ab21388-baf7-4ff4-bc08-f69762d4b20e" providerId="ADAL" clId="{9F5CD523-AC6F-4AC0-9530-F521BCA7F1C5}" dt="2024-06-14T12:01:50.920" v="4300" actId="1076"/>
          <ac:spMkLst>
            <pc:docMk/>
            <pc:sldMk cId="3328825580" sldId="357"/>
            <ac:spMk id="6" creationId="{9A9CA605-7BCA-33A4-BFBD-BD1B38D2549A}"/>
          </ac:spMkLst>
        </pc:spChg>
        <pc:spChg chg="add del mod">
          <ac:chgData name="Gaurav Kesari" userId="5ab21388-baf7-4ff4-bc08-f69762d4b20e" providerId="ADAL" clId="{9F5CD523-AC6F-4AC0-9530-F521BCA7F1C5}" dt="2024-06-10T12:44:09.741" v="838" actId="478"/>
          <ac:spMkLst>
            <pc:docMk/>
            <pc:sldMk cId="3328825580" sldId="357"/>
            <ac:spMk id="6" creationId="{D1BFE2FD-C365-4E40-3D8F-7A4E86F0C23D}"/>
          </ac:spMkLst>
        </pc:spChg>
        <pc:spChg chg="add mod">
          <ac:chgData name="Gaurav Kesari" userId="5ab21388-baf7-4ff4-bc08-f69762d4b20e" providerId="ADAL" clId="{9F5CD523-AC6F-4AC0-9530-F521BCA7F1C5}" dt="2024-06-14T12:02:03.170" v="4302" actId="1076"/>
          <ac:spMkLst>
            <pc:docMk/>
            <pc:sldMk cId="3328825580" sldId="357"/>
            <ac:spMk id="11" creationId="{6402479B-6434-1B84-6E00-452A0B9E3D97}"/>
          </ac:spMkLst>
        </pc:spChg>
        <pc:picChg chg="add mod modCrop">
          <ac:chgData name="Gaurav Kesari" userId="5ab21388-baf7-4ff4-bc08-f69762d4b20e" providerId="ADAL" clId="{9F5CD523-AC6F-4AC0-9530-F521BCA7F1C5}" dt="2024-06-14T12:01:41.745" v="4298" actId="1076"/>
          <ac:picMkLst>
            <pc:docMk/>
            <pc:sldMk cId="3328825580" sldId="357"/>
            <ac:picMk id="7" creationId="{1A0D9463-C2A2-4242-83ED-31C736129C1E}"/>
          </ac:picMkLst>
        </pc:picChg>
        <pc:picChg chg="add mod modCrop">
          <ac:chgData name="Gaurav Kesari" userId="5ab21388-baf7-4ff4-bc08-f69762d4b20e" providerId="ADAL" clId="{9F5CD523-AC6F-4AC0-9530-F521BCA7F1C5}" dt="2024-06-14T12:01:36.397" v="4295" actId="1076"/>
          <ac:picMkLst>
            <pc:docMk/>
            <pc:sldMk cId="3328825580" sldId="357"/>
            <ac:picMk id="8" creationId="{1FEE3175-8F96-1D55-0238-2A0F3E9A41F1}"/>
          </ac:picMkLst>
        </pc:picChg>
        <pc:picChg chg="add del mod modCrop">
          <ac:chgData name="Gaurav Kesari" userId="5ab21388-baf7-4ff4-bc08-f69762d4b20e" providerId="ADAL" clId="{9F5CD523-AC6F-4AC0-9530-F521BCA7F1C5}" dt="2024-06-14T11:34:39.727" v="4072" actId="478"/>
          <ac:picMkLst>
            <pc:docMk/>
            <pc:sldMk cId="3328825580" sldId="357"/>
            <ac:picMk id="9" creationId="{38CDB285-8C03-673D-52CD-A7C707AC8D1B}"/>
          </ac:picMkLst>
        </pc:picChg>
        <pc:picChg chg="add del mod modCrop">
          <ac:chgData name="Gaurav Kesari" userId="5ab21388-baf7-4ff4-bc08-f69762d4b20e" providerId="ADAL" clId="{9F5CD523-AC6F-4AC0-9530-F521BCA7F1C5}" dt="2024-06-14T11:34:40.246" v="4073" actId="478"/>
          <ac:picMkLst>
            <pc:docMk/>
            <pc:sldMk cId="3328825580" sldId="357"/>
            <ac:picMk id="10" creationId="{43D400BA-7317-7B66-0293-DBF6D98169D3}"/>
          </ac:picMkLst>
        </pc:picChg>
      </pc:sldChg>
      <pc:sldChg chg="addSp delSp modSp add del mod ord">
        <pc:chgData name="Gaurav Kesari" userId="5ab21388-baf7-4ff4-bc08-f69762d4b20e" providerId="ADAL" clId="{9F5CD523-AC6F-4AC0-9530-F521BCA7F1C5}" dt="2024-06-18T12:59:37.715" v="5276" actId="47"/>
        <pc:sldMkLst>
          <pc:docMk/>
          <pc:sldMk cId="379870937" sldId="358"/>
        </pc:sldMkLst>
        <pc:spChg chg="del">
          <ac:chgData name="Gaurav Kesari" userId="5ab21388-baf7-4ff4-bc08-f69762d4b20e" providerId="ADAL" clId="{9F5CD523-AC6F-4AC0-9530-F521BCA7F1C5}" dt="2024-06-10T08:08:53.338" v="301" actId="478"/>
          <ac:spMkLst>
            <pc:docMk/>
            <pc:sldMk cId="379870937" sldId="358"/>
            <ac:spMk id="2" creationId="{D91BC0F6-23ED-27FF-EC1E-B475FFBEEAB0}"/>
          </ac:spMkLst>
        </pc:spChg>
        <pc:spChg chg="del">
          <ac:chgData name="Gaurav Kesari" userId="5ab21388-baf7-4ff4-bc08-f69762d4b20e" providerId="ADAL" clId="{9F5CD523-AC6F-4AC0-9530-F521BCA7F1C5}" dt="2024-06-10T08:08:53.338" v="301" actId="478"/>
          <ac:spMkLst>
            <pc:docMk/>
            <pc:sldMk cId="379870937" sldId="358"/>
            <ac:spMk id="3" creationId="{6ED16D56-0849-909D-60B2-041184301759}"/>
          </ac:spMkLst>
        </pc:spChg>
        <pc:spChg chg="del">
          <ac:chgData name="Gaurav Kesari" userId="5ab21388-baf7-4ff4-bc08-f69762d4b20e" providerId="ADAL" clId="{9F5CD523-AC6F-4AC0-9530-F521BCA7F1C5}" dt="2024-06-10T08:08:53.338" v="301" actId="478"/>
          <ac:spMkLst>
            <pc:docMk/>
            <pc:sldMk cId="379870937" sldId="358"/>
            <ac:spMk id="4" creationId="{653B3C67-B10D-2891-8ED1-5A7AB371E8F1}"/>
          </ac:spMkLst>
        </pc:spChg>
        <pc:spChg chg="mod">
          <ac:chgData name="Gaurav Kesari" userId="5ab21388-baf7-4ff4-bc08-f69762d4b20e" providerId="ADAL" clId="{9F5CD523-AC6F-4AC0-9530-F521BCA7F1C5}" dt="2024-06-10T08:09:05.832" v="313" actId="20577"/>
          <ac:spMkLst>
            <pc:docMk/>
            <pc:sldMk cId="379870937" sldId="358"/>
            <ac:spMk id="5" creationId="{E213826C-8B83-A229-3461-601581E9102F}"/>
          </ac:spMkLst>
        </pc:spChg>
        <pc:spChg chg="del">
          <ac:chgData name="Gaurav Kesari" userId="5ab21388-baf7-4ff4-bc08-f69762d4b20e" providerId="ADAL" clId="{9F5CD523-AC6F-4AC0-9530-F521BCA7F1C5}" dt="2024-06-10T08:08:53.338" v="301" actId="478"/>
          <ac:spMkLst>
            <pc:docMk/>
            <pc:sldMk cId="379870937" sldId="358"/>
            <ac:spMk id="6" creationId="{92021B76-411B-C098-5A69-72E244584E48}"/>
          </ac:spMkLst>
        </pc:spChg>
        <pc:spChg chg="del">
          <ac:chgData name="Gaurav Kesari" userId="5ab21388-baf7-4ff4-bc08-f69762d4b20e" providerId="ADAL" clId="{9F5CD523-AC6F-4AC0-9530-F521BCA7F1C5}" dt="2024-06-10T08:08:53.338" v="301" actId="478"/>
          <ac:spMkLst>
            <pc:docMk/>
            <pc:sldMk cId="379870937" sldId="358"/>
            <ac:spMk id="7" creationId="{653F3A7B-432C-1855-FF5D-BB2DFCEEB0ED}"/>
          </ac:spMkLst>
        </pc:spChg>
        <pc:spChg chg="del">
          <ac:chgData name="Gaurav Kesari" userId="5ab21388-baf7-4ff4-bc08-f69762d4b20e" providerId="ADAL" clId="{9F5CD523-AC6F-4AC0-9530-F521BCA7F1C5}" dt="2024-06-10T08:08:53.338" v="301" actId="478"/>
          <ac:spMkLst>
            <pc:docMk/>
            <pc:sldMk cId="379870937" sldId="358"/>
            <ac:spMk id="8" creationId="{14DD0CFE-6BB0-8D05-FFB3-9F0E778517C1}"/>
          </ac:spMkLst>
        </pc:spChg>
        <pc:spChg chg="del">
          <ac:chgData name="Gaurav Kesari" userId="5ab21388-baf7-4ff4-bc08-f69762d4b20e" providerId="ADAL" clId="{9F5CD523-AC6F-4AC0-9530-F521BCA7F1C5}" dt="2024-06-10T08:08:53.338" v="301" actId="478"/>
          <ac:spMkLst>
            <pc:docMk/>
            <pc:sldMk cId="379870937" sldId="358"/>
            <ac:spMk id="9" creationId="{706C7948-8B4C-A3AC-6AC6-7984CD2A800F}"/>
          </ac:spMkLst>
        </pc:spChg>
        <pc:spChg chg="add mod">
          <ac:chgData name="Gaurav Kesari" userId="5ab21388-baf7-4ff4-bc08-f69762d4b20e" providerId="ADAL" clId="{9F5CD523-AC6F-4AC0-9530-F521BCA7F1C5}" dt="2024-06-10T08:13:37.100" v="438" actId="14100"/>
          <ac:spMkLst>
            <pc:docMk/>
            <pc:sldMk cId="379870937" sldId="358"/>
            <ac:spMk id="11" creationId="{59CB6F31-A407-0E0B-1839-5E08366CF5D6}"/>
          </ac:spMkLst>
        </pc:spChg>
        <pc:spChg chg="add mod">
          <ac:chgData name="Gaurav Kesari" userId="5ab21388-baf7-4ff4-bc08-f69762d4b20e" providerId="ADAL" clId="{9F5CD523-AC6F-4AC0-9530-F521BCA7F1C5}" dt="2024-06-10T08:13:48.274" v="441" actId="1076"/>
          <ac:spMkLst>
            <pc:docMk/>
            <pc:sldMk cId="379870937" sldId="358"/>
            <ac:spMk id="12" creationId="{A48BBA8A-84BC-AFFF-7E02-FFD54369B3FD}"/>
          </ac:spMkLst>
        </pc:spChg>
        <pc:spChg chg="mod">
          <ac:chgData name="Gaurav Kesari" userId="5ab21388-baf7-4ff4-bc08-f69762d4b20e" providerId="ADAL" clId="{9F5CD523-AC6F-4AC0-9530-F521BCA7F1C5}" dt="2024-06-10T08:09:09.878" v="320" actId="20577"/>
          <ac:spMkLst>
            <pc:docMk/>
            <pc:sldMk cId="379870937" sldId="358"/>
            <ac:spMk id="63" creationId="{C40CC5F8-DFF3-4AAA-F729-606AD8208FF8}"/>
          </ac:spMkLst>
        </pc:spChg>
        <pc:spChg chg="del">
          <ac:chgData name="Gaurav Kesari" userId="5ab21388-baf7-4ff4-bc08-f69762d4b20e" providerId="ADAL" clId="{9F5CD523-AC6F-4AC0-9530-F521BCA7F1C5}" dt="2024-06-10T08:08:56.553" v="302" actId="478"/>
          <ac:spMkLst>
            <pc:docMk/>
            <pc:sldMk cId="379870937" sldId="358"/>
            <ac:spMk id="66" creationId="{B3E38DD7-4612-8450-6289-D3AE78D61E19}"/>
          </ac:spMkLst>
        </pc:spChg>
        <pc:spChg chg="del">
          <ac:chgData name="Gaurav Kesari" userId="5ab21388-baf7-4ff4-bc08-f69762d4b20e" providerId="ADAL" clId="{9F5CD523-AC6F-4AC0-9530-F521BCA7F1C5}" dt="2024-06-10T08:08:56.553" v="302" actId="478"/>
          <ac:spMkLst>
            <pc:docMk/>
            <pc:sldMk cId="379870937" sldId="358"/>
            <ac:spMk id="69" creationId="{53A2D978-195B-38A9-CB23-BD53F3F3F4B5}"/>
          </ac:spMkLst>
        </pc:spChg>
        <pc:spChg chg="del">
          <ac:chgData name="Gaurav Kesari" userId="5ab21388-baf7-4ff4-bc08-f69762d4b20e" providerId="ADAL" clId="{9F5CD523-AC6F-4AC0-9530-F521BCA7F1C5}" dt="2024-06-10T08:08:56.553" v="302" actId="478"/>
          <ac:spMkLst>
            <pc:docMk/>
            <pc:sldMk cId="379870937" sldId="358"/>
            <ac:spMk id="72" creationId="{E7C3CA7D-5F78-8B93-CC4C-7793737B0A88}"/>
          </ac:spMkLst>
        </pc:spChg>
        <pc:spChg chg="del">
          <ac:chgData name="Gaurav Kesari" userId="5ab21388-baf7-4ff4-bc08-f69762d4b20e" providerId="ADAL" clId="{9F5CD523-AC6F-4AC0-9530-F521BCA7F1C5}" dt="2024-06-10T08:08:53.338" v="301" actId="478"/>
          <ac:spMkLst>
            <pc:docMk/>
            <pc:sldMk cId="379870937" sldId="358"/>
            <ac:spMk id="75" creationId="{410FF0D4-EA87-759F-776F-5A414E32DF83}"/>
          </ac:spMkLst>
        </pc:spChg>
        <pc:spChg chg="del">
          <ac:chgData name="Gaurav Kesari" userId="5ab21388-baf7-4ff4-bc08-f69762d4b20e" providerId="ADAL" clId="{9F5CD523-AC6F-4AC0-9530-F521BCA7F1C5}" dt="2024-06-10T08:08:53.338" v="301" actId="478"/>
          <ac:spMkLst>
            <pc:docMk/>
            <pc:sldMk cId="379870937" sldId="358"/>
            <ac:spMk id="78" creationId="{0217532F-387B-240C-7339-B2596B168673}"/>
          </ac:spMkLst>
        </pc:spChg>
        <pc:graphicFrameChg chg="add mod modGraphic">
          <ac:chgData name="Gaurav Kesari" userId="5ab21388-baf7-4ff4-bc08-f69762d4b20e" providerId="ADAL" clId="{9F5CD523-AC6F-4AC0-9530-F521BCA7F1C5}" dt="2024-06-10T10:01:29.179" v="611" actId="14734"/>
          <ac:graphicFrameMkLst>
            <pc:docMk/>
            <pc:sldMk cId="379870937" sldId="358"/>
            <ac:graphicFrameMk id="10" creationId="{F896CA51-2DD7-2BA7-97C3-22C8299B6AC1}"/>
          </ac:graphicFrameMkLst>
        </pc:graphicFrameChg>
      </pc:sldChg>
      <pc:sldChg chg="addSp modSp new del mod">
        <pc:chgData name="Gaurav Kesari" userId="5ab21388-baf7-4ff4-bc08-f69762d4b20e" providerId="ADAL" clId="{9F5CD523-AC6F-4AC0-9530-F521BCA7F1C5}" dt="2024-06-10T12:58:13.764" v="928" actId="47"/>
        <pc:sldMkLst>
          <pc:docMk/>
          <pc:sldMk cId="2494385692" sldId="359"/>
        </pc:sldMkLst>
        <pc:spChg chg="mod">
          <ac:chgData name="Gaurav Kesari" userId="5ab21388-baf7-4ff4-bc08-f69762d4b20e" providerId="ADAL" clId="{9F5CD523-AC6F-4AC0-9530-F521BCA7F1C5}" dt="2024-06-10T08:19:41.962" v="467" actId="20577"/>
          <ac:spMkLst>
            <pc:docMk/>
            <pc:sldMk cId="2494385692" sldId="359"/>
            <ac:spMk id="2" creationId="{E65F9B09-9307-4824-51D4-AC1A6C8A1379}"/>
          </ac:spMkLst>
        </pc:spChg>
        <pc:spChg chg="mod">
          <ac:chgData name="Gaurav Kesari" userId="5ab21388-baf7-4ff4-bc08-f69762d4b20e" providerId="ADAL" clId="{9F5CD523-AC6F-4AC0-9530-F521BCA7F1C5}" dt="2024-06-10T08:22:06.898" v="510" actId="5793"/>
          <ac:spMkLst>
            <pc:docMk/>
            <pc:sldMk cId="2494385692" sldId="359"/>
            <ac:spMk id="4" creationId="{EAD42A46-8B79-B261-BA2E-C1E53D22FEA0}"/>
          </ac:spMkLst>
        </pc:spChg>
        <pc:graphicFrameChg chg="add mod">
          <ac:chgData name="Gaurav Kesari" userId="5ab21388-baf7-4ff4-bc08-f69762d4b20e" providerId="ADAL" clId="{9F5CD523-AC6F-4AC0-9530-F521BCA7F1C5}" dt="2024-06-10T08:22:16.787" v="512" actId="1076"/>
          <ac:graphicFrameMkLst>
            <pc:docMk/>
            <pc:sldMk cId="2494385692" sldId="359"/>
            <ac:graphicFrameMk id="5" creationId="{1600A88B-B079-9CB4-02D4-3FAAF10A2F8E}"/>
          </ac:graphicFrameMkLst>
        </pc:graphicFrameChg>
      </pc:sldChg>
      <pc:sldChg chg="addSp delSp modSp new mod ord addCm delCm">
        <pc:chgData name="Gaurav Kesari" userId="5ab21388-baf7-4ff4-bc08-f69762d4b20e" providerId="ADAL" clId="{9F5CD523-AC6F-4AC0-9530-F521BCA7F1C5}" dt="2024-06-18T12:59:03.968" v="5274"/>
        <pc:sldMkLst>
          <pc:docMk/>
          <pc:sldMk cId="812848875" sldId="360"/>
        </pc:sldMkLst>
        <pc:spChg chg="mod">
          <ac:chgData name="Gaurav Kesari" userId="5ab21388-baf7-4ff4-bc08-f69762d4b20e" providerId="ADAL" clId="{9F5CD523-AC6F-4AC0-9530-F521BCA7F1C5}" dt="2024-06-13T15:04:21.983" v="2151" actId="1076"/>
          <ac:spMkLst>
            <pc:docMk/>
            <pc:sldMk cId="812848875" sldId="360"/>
            <ac:spMk id="2" creationId="{F2F39935-05AF-A634-27A8-499EB349F9AF}"/>
          </ac:spMkLst>
        </pc:spChg>
        <pc:spChg chg="add mod">
          <ac:chgData name="Gaurav Kesari" userId="5ab21388-baf7-4ff4-bc08-f69762d4b20e" providerId="ADAL" clId="{9F5CD523-AC6F-4AC0-9530-F521BCA7F1C5}" dt="2024-06-13T05:56:25.202" v="1506"/>
          <ac:spMkLst>
            <pc:docMk/>
            <pc:sldMk cId="812848875" sldId="360"/>
            <ac:spMk id="3" creationId="{292C1FE8-7963-ACCB-F093-016E12240E74}"/>
          </ac:spMkLst>
        </pc:spChg>
        <pc:spChg chg="del">
          <ac:chgData name="Gaurav Kesari" userId="5ab21388-baf7-4ff4-bc08-f69762d4b20e" providerId="ADAL" clId="{9F5CD523-AC6F-4AC0-9530-F521BCA7F1C5}" dt="2024-06-10T18:01:41.451" v="933" actId="478"/>
          <ac:spMkLst>
            <pc:docMk/>
            <pc:sldMk cId="812848875" sldId="360"/>
            <ac:spMk id="3" creationId="{B80FF46B-6599-ED33-EAAC-0D2046894C4B}"/>
          </ac:spMkLst>
        </pc:spChg>
        <pc:spChg chg="add del mod">
          <ac:chgData name="Gaurav Kesari" userId="5ab21388-baf7-4ff4-bc08-f69762d4b20e" providerId="ADAL" clId="{9F5CD523-AC6F-4AC0-9530-F521BCA7F1C5}" dt="2024-06-13T14:16:27.663" v="1587" actId="21"/>
          <ac:spMkLst>
            <pc:docMk/>
            <pc:sldMk cId="812848875" sldId="360"/>
            <ac:spMk id="9" creationId="{AE2DC69A-242A-8423-56B4-BB8CDAC0EDD0}"/>
          </ac:spMkLst>
        </pc:spChg>
        <pc:spChg chg="add mod">
          <ac:chgData name="Gaurav Kesari" userId="5ab21388-baf7-4ff4-bc08-f69762d4b20e" providerId="ADAL" clId="{9F5CD523-AC6F-4AC0-9530-F521BCA7F1C5}" dt="2024-06-14T11:53:27.460" v="4181" actId="20577"/>
          <ac:spMkLst>
            <pc:docMk/>
            <pc:sldMk cId="812848875" sldId="360"/>
            <ac:spMk id="10" creationId="{21F4F1D9-4FA1-BD69-D258-0AE30C4B8C96}"/>
          </ac:spMkLst>
        </pc:spChg>
        <pc:spChg chg="del mod">
          <ac:chgData name="Gaurav Kesari" userId="5ab21388-baf7-4ff4-bc08-f69762d4b20e" providerId="ADAL" clId="{9F5CD523-AC6F-4AC0-9530-F521BCA7F1C5}" dt="2024-06-13T14:16:46.874" v="1596" actId="478"/>
          <ac:spMkLst>
            <pc:docMk/>
            <pc:sldMk cId="812848875" sldId="360"/>
            <ac:spMk id="11" creationId="{92FB986B-8C0B-8F71-86A8-377FA0BD81D6}"/>
          </ac:spMkLst>
        </pc:spChg>
        <pc:spChg chg="del">
          <ac:chgData name="Gaurav Kesari" userId="5ab21388-baf7-4ff4-bc08-f69762d4b20e" providerId="ADAL" clId="{9F5CD523-AC6F-4AC0-9530-F521BCA7F1C5}" dt="2024-06-13T14:16:13.124" v="1585" actId="478"/>
          <ac:spMkLst>
            <pc:docMk/>
            <pc:sldMk cId="812848875" sldId="360"/>
            <ac:spMk id="12" creationId="{DE0F4199-1F22-602B-7193-97F2730ABDE9}"/>
          </ac:spMkLst>
        </pc:spChg>
        <pc:spChg chg="del mod">
          <ac:chgData name="Gaurav Kesari" userId="5ab21388-baf7-4ff4-bc08-f69762d4b20e" providerId="ADAL" clId="{9F5CD523-AC6F-4AC0-9530-F521BCA7F1C5}" dt="2024-06-13T14:16:32.518" v="1589" actId="21"/>
          <ac:spMkLst>
            <pc:docMk/>
            <pc:sldMk cId="812848875" sldId="360"/>
            <ac:spMk id="13" creationId="{C36BB372-CA2D-9167-540B-171E8393D113}"/>
          </ac:spMkLst>
        </pc:spChg>
        <pc:spChg chg="add del mod">
          <ac:chgData name="Gaurav Kesari" userId="5ab21388-baf7-4ff4-bc08-f69762d4b20e" providerId="ADAL" clId="{9F5CD523-AC6F-4AC0-9530-F521BCA7F1C5}" dt="2024-06-13T14:16:10.610" v="1584" actId="478"/>
          <ac:spMkLst>
            <pc:docMk/>
            <pc:sldMk cId="812848875" sldId="360"/>
            <ac:spMk id="14" creationId="{FAFF9754-915C-545C-C0E0-C73ECBFACD48}"/>
          </ac:spMkLst>
        </pc:spChg>
        <pc:spChg chg="add mod">
          <ac:chgData name="Gaurav Kesari" userId="5ab21388-baf7-4ff4-bc08-f69762d4b20e" providerId="ADAL" clId="{9F5CD523-AC6F-4AC0-9530-F521BCA7F1C5}" dt="2024-06-13T15:04:49.794" v="2161" actId="1037"/>
          <ac:spMkLst>
            <pc:docMk/>
            <pc:sldMk cId="812848875" sldId="360"/>
            <ac:spMk id="16" creationId="{486D42F5-D0C2-F935-47D5-DFEC4DBBFC96}"/>
          </ac:spMkLst>
        </pc:spChg>
        <pc:spChg chg="add mod">
          <ac:chgData name="Gaurav Kesari" userId="5ab21388-baf7-4ff4-bc08-f69762d4b20e" providerId="ADAL" clId="{9F5CD523-AC6F-4AC0-9530-F521BCA7F1C5}" dt="2024-06-14T12:06:56.662" v="4306" actId="14100"/>
          <ac:spMkLst>
            <pc:docMk/>
            <pc:sldMk cId="812848875" sldId="360"/>
            <ac:spMk id="17" creationId="{60F564EA-CD32-D9CA-8D0E-3CE1D37F6DA7}"/>
          </ac:spMkLst>
        </pc:spChg>
        <pc:spChg chg="add mod">
          <ac:chgData name="Gaurav Kesari" userId="5ab21388-baf7-4ff4-bc08-f69762d4b20e" providerId="ADAL" clId="{9F5CD523-AC6F-4AC0-9530-F521BCA7F1C5}" dt="2024-06-13T15:04:49.794" v="2161" actId="1037"/>
          <ac:spMkLst>
            <pc:docMk/>
            <pc:sldMk cId="812848875" sldId="360"/>
            <ac:spMk id="18" creationId="{C20E949E-182E-7376-B673-B3E6C99F1697}"/>
          </ac:spMkLst>
        </pc:spChg>
        <pc:picChg chg="mod modCrop">
          <ac:chgData name="Gaurav Kesari" userId="5ab21388-baf7-4ff4-bc08-f69762d4b20e" providerId="ADAL" clId="{9F5CD523-AC6F-4AC0-9530-F521BCA7F1C5}" dt="2024-06-14T06:12:24.457" v="2283" actId="14100"/>
          <ac:picMkLst>
            <pc:docMk/>
            <pc:sldMk cId="812848875" sldId="360"/>
            <ac:picMk id="5" creationId="{A9656D44-9747-1DD1-2787-0D5295B45033}"/>
          </ac:picMkLst>
        </pc:picChg>
        <pc:picChg chg="del mod">
          <ac:chgData name="Gaurav Kesari" userId="5ab21388-baf7-4ff4-bc08-f69762d4b20e" providerId="ADAL" clId="{9F5CD523-AC6F-4AC0-9530-F521BCA7F1C5}" dt="2024-06-13T14:16:38.814" v="1592" actId="21"/>
          <ac:picMkLst>
            <pc:docMk/>
            <pc:sldMk cId="812848875" sldId="360"/>
            <ac:picMk id="6" creationId="{6363C9B0-5E39-46E8-4048-A6E668FC4202}"/>
          </ac:picMkLst>
        </pc:picChg>
        <pc:picChg chg="del">
          <ac:chgData name="Gaurav Kesari" userId="5ab21388-baf7-4ff4-bc08-f69762d4b20e" providerId="ADAL" clId="{9F5CD523-AC6F-4AC0-9530-F521BCA7F1C5}" dt="2024-06-10T12:39:57.340" v="811" actId="478"/>
          <ac:picMkLst>
            <pc:docMk/>
            <pc:sldMk cId="812848875" sldId="360"/>
            <ac:picMk id="6" creationId="{CDC51CD3-A723-08A9-37C3-8E7EC6B9365E}"/>
          </ac:picMkLst>
        </pc:picChg>
        <pc:picChg chg="mod modCrop">
          <ac:chgData name="Gaurav Kesari" userId="5ab21388-baf7-4ff4-bc08-f69762d4b20e" providerId="ADAL" clId="{9F5CD523-AC6F-4AC0-9530-F521BCA7F1C5}" dt="2024-06-10T12:40:35.575" v="815" actId="1076"/>
          <ac:picMkLst>
            <pc:docMk/>
            <pc:sldMk cId="812848875" sldId="360"/>
            <ac:picMk id="7" creationId="{DD3EA835-E093-B2CC-FC21-5E3625E31428}"/>
          </ac:picMkLst>
        </pc:picChg>
        <pc:picChg chg="del mod modCrop">
          <ac:chgData name="Gaurav Kesari" userId="5ab21388-baf7-4ff4-bc08-f69762d4b20e" providerId="ADAL" clId="{9F5CD523-AC6F-4AC0-9530-F521BCA7F1C5}" dt="2024-06-13T14:15:47.318" v="1579" actId="21"/>
          <ac:picMkLst>
            <pc:docMk/>
            <pc:sldMk cId="812848875" sldId="360"/>
            <ac:picMk id="8" creationId="{9BBE8C4E-8FF2-7CCA-3E40-B11D887D98EF}"/>
          </ac:picMkLst>
        </pc:picChg>
        <pc:extLst>
          <p:ext xmlns:p="http://schemas.openxmlformats.org/presentationml/2006/main" uri="{D6D511B9-2390-475A-947B-AFAB55BFBCF1}">
            <pc226:cmChg xmlns:pc226="http://schemas.microsoft.com/office/powerpoint/2022/06/main/command" chg="add del">
              <pc226:chgData name="Gaurav Kesari" userId="5ab21388-baf7-4ff4-bc08-f69762d4b20e" providerId="ADAL" clId="{9F5CD523-AC6F-4AC0-9530-F521BCA7F1C5}" dt="2024-06-18T12:59:03.968" v="5274"/>
              <pc2:cmMkLst xmlns:pc2="http://schemas.microsoft.com/office/powerpoint/2019/9/main/command">
                <pc:docMk/>
                <pc:sldMk cId="812848875" sldId="360"/>
                <pc2:cmMk id="{BE071042-6FC6-4818-950A-80CF39017D11}"/>
              </pc2:cmMkLst>
            </pc226:cmChg>
          </p:ext>
        </pc:extLst>
      </pc:sldChg>
      <pc:sldChg chg="addSp delSp modSp new del mod ord">
        <pc:chgData name="Gaurav Kesari" userId="5ab21388-baf7-4ff4-bc08-f69762d4b20e" providerId="ADAL" clId="{9F5CD523-AC6F-4AC0-9530-F521BCA7F1C5}" dt="2024-06-18T12:59:46.911" v="5287" actId="47"/>
        <pc:sldMkLst>
          <pc:docMk/>
          <pc:sldMk cId="1857768212" sldId="361"/>
        </pc:sldMkLst>
        <pc:spChg chg="mod">
          <ac:chgData name="Gaurav Kesari" userId="5ab21388-baf7-4ff4-bc08-f69762d4b20e" providerId="ADAL" clId="{9F5CD523-AC6F-4AC0-9530-F521BCA7F1C5}" dt="2024-06-10T10:17:19.255" v="720" actId="20577"/>
          <ac:spMkLst>
            <pc:docMk/>
            <pc:sldMk cId="1857768212" sldId="361"/>
            <ac:spMk id="2" creationId="{3A2AE6F9-61E0-3806-E3C0-D04EAC7DE92D}"/>
          </ac:spMkLst>
        </pc:spChg>
        <pc:spChg chg="del">
          <ac:chgData name="Gaurav Kesari" userId="5ab21388-baf7-4ff4-bc08-f69762d4b20e" providerId="ADAL" clId="{9F5CD523-AC6F-4AC0-9530-F521BCA7F1C5}" dt="2024-06-11T10:15:38.258" v="1255" actId="478"/>
          <ac:spMkLst>
            <pc:docMk/>
            <pc:sldMk cId="1857768212" sldId="361"/>
            <ac:spMk id="4" creationId="{E2553A6E-B299-0A1B-F471-51E6A2C68FC1}"/>
          </ac:spMkLst>
        </pc:spChg>
        <pc:spChg chg="add mod">
          <ac:chgData name="Gaurav Kesari" userId="5ab21388-baf7-4ff4-bc08-f69762d4b20e" providerId="ADAL" clId="{9F5CD523-AC6F-4AC0-9530-F521BCA7F1C5}" dt="2024-06-11T10:16:31.435" v="1315" actId="14100"/>
          <ac:spMkLst>
            <pc:docMk/>
            <pc:sldMk cId="1857768212" sldId="361"/>
            <ac:spMk id="5" creationId="{E771C101-23D9-957C-7509-84C4851AA673}"/>
          </ac:spMkLst>
        </pc:spChg>
        <pc:spChg chg="add mod">
          <ac:chgData name="Gaurav Kesari" userId="5ab21388-baf7-4ff4-bc08-f69762d4b20e" providerId="ADAL" clId="{9F5CD523-AC6F-4AC0-9530-F521BCA7F1C5}" dt="2024-06-11T10:16:35.336" v="1316" actId="14100"/>
          <ac:spMkLst>
            <pc:docMk/>
            <pc:sldMk cId="1857768212" sldId="361"/>
            <ac:spMk id="6" creationId="{0B2046F6-781A-6AFD-3473-B1A4B9DDEBB5}"/>
          </ac:spMkLst>
        </pc:spChg>
        <pc:spChg chg="add mod">
          <ac:chgData name="Gaurav Kesari" userId="5ab21388-baf7-4ff4-bc08-f69762d4b20e" providerId="ADAL" clId="{9F5CD523-AC6F-4AC0-9530-F521BCA7F1C5}" dt="2024-06-11T10:16:37.932" v="1317" actId="14100"/>
          <ac:spMkLst>
            <pc:docMk/>
            <pc:sldMk cId="1857768212" sldId="361"/>
            <ac:spMk id="7" creationId="{73EE611E-E8E6-B234-38BA-D3E766F1596E}"/>
          </ac:spMkLst>
        </pc:spChg>
        <pc:spChg chg="add mod">
          <ac:chgData name="Gaurav Kesari" userId="5ab21388-baf7-4ff4-bc08-f69762d4b20e" providerId="ADAL" clId="{9F5CD523-AC6F-4AC0-9530-F521BCA7F1C5}" dt="2024-06-11T10:16:45.289" v="1318" actId="14100"/>
          <ac:spMkLst>
            <pc:docMk/>
            <pc:sldMk cId="1857768212" sldId="361"/>
            <ac:spMk id="8" creationId="{DEE3AAA9-B254-D81D-66D2-2148D801AACE}"/>
          </ac:spMkLst>
        </pc:spChg>
        <pc:spChg chg="add mod">
          <ac:chgData name="Gaurav Kesari" userId="5ab21388-baf7-4ff4-bc08-f69762d4b20e" providerId="ADAL" clId="{9F5CD523-AC6F-4AC0-9530-F521BCA7F1C5}" dt="2024-06-11T10:16:48.394" v="1319" actId="14100"/>
          <ac:spMkLst>
            <pc:docMk/>
            <pc:sldMk cId="1857768212" sldId="361"/>
            <ac:spMk id="9" creationId="{7AF45327-D45B-9FEB-B91F-814049B0EAF0}"/>
          </ac:spMkLst>
        </pc:spChg>
        <pc:spChg chg="add mod">
          <ac:chgData name="Gaurav Kesari" userId="5ab21388-baf7-4ff4-bc08-f69762d4b20e" providerId="ADAL" clId="{9F5CD523-AC6F-4AC0-9530-F521BCA7F1C5}" dt="2024-06-11T10:16:51.825" v="1320" actId="14100"/>
          <ac:spMkLst>
            <pc:docMk/>
            <pc:sldMk cId="1857768212" sldId="361"/>
            <ac:spMk id="10" creationId="{33A3B3CA-AA86-9202-C3AA-630145A4BD75}"/>
          </ac:spMkLst>
        </pc:spChg>
        <pc:spChg chg="add mod">
          <ac:chgData name="Gaurav Kesari" userId="5ab21388-baf7-4ff4-bc08-f69762d4b20e" providerId="ADAL" clId="{9F5CD523-AC6F-4AC0-9530-F521BCA7F1C5}" dt="2024-06-11T10:15:51.876" v="1314" actId="1037"/>
          <ac:spMkLst>
            <pc:docMk/>
            <pc:sldMk cId="1857768212" sldId="361"/>
            <ac:spMk id="11" creationId="{2AD1D911-1ADF-4915-BA9A-CFA727AC1BD9}"/>
          </ac:spMkLst>
        </pc:spChg>
        <pc:spChg chg="add mod ord">
          <ac:chgData name="Gaurav Kesari" userId="5ab21388-baf7-4ff4-bc08-f69762d4b20e" providerId="ADAL" clId="{9F5CD523-AC6F-4AC0-9530-F521BCA7F1C5}" dt="2024-06-11T10:17:10.015" v="1325" actId="167"/>
          <ac:spMkLst>
            <pc:docMk/>
            <pc:sldMk cId="1857768212" sldId="361"/>
            <ac:spMk id="14" creationId="{1C9EEF2F-903D-A685-5320-D9138D881D2E}"/>
          </ac:spMkLst>
        </pc:spChg>
        <pc:picChg chg="add mod">
          <ac:chgData name="Gaurav Kesari" userId="5ab21388-baf7-4ff4-bc08-f69762d4b20e" providerId="ADAL" clId="{9F5CD523-AC6F-4AC0-9530-F521BCA7F1C5}" dt="2024-06-11T10:15:51.876" v="1314" actId="1037"/>
          <ac:picMkLst>
            <pc:docMk/>
            <pc:sldMk cId="1857768212" sldId="361"/>
            <ac:picMk id="12" creationId="{18F094EC-6A3B-72A9-82E6-6448CC13837F}"/>
          </ac:picMkLst>
        </pc:picChg>
        <pc:picChg chg="add mod">
          <ac:chgData name="Gaurav Kesari" userId="5ab21388-baf7-4ff4-bc08-f69762d4b20e" providerId="ADAL" clId="{9F5CD523-AC6F-4AC0-9530-F521BCA7F1C5}" dt="2024-06-11T10:16:58.998" v="1322" actId="1076"/>
          <ac:picMkLst>
            <pc:docMk/>
            <pc:sldMk cId="1857768212" sldId="361"/>
            <ac:picMk id="13" creationId="{2C4F97F5-39D5-615D-3565-FB5036E67236}"/>
          </ac:picMkLst>
        </pc:picChg>
      </pc:sldChg>
      <pc:sldChg chg="new del">
        <pc:chgData name="Gaurav Kesari" userId="5ab21388-baf7-4ff4-bc08-f69762d4b20e" providerId="ADAL" clId="{9F5CD523-AC6F-4AC0-9530-F521BCA7F1C5}" dt="2024-06-10T10:13:38.499" v="673" actId="47"/>
        <pc:sldMkLst>
          <pc:docMk/>
          <pc:sldMk cId="2888662374" sldId="361"/>
        </pc:sldMkLst>
      </pc:sldChg>
      <pc:sldChg chg="delSp modSp new del mod addCm">
        <pc:chgData name="Gaurav Kesari" userId="5ab21388-baf7-4ff4-bc08-f69762d4b20e" providerId="ADAL" clId="{9F5CD523-AC6F-4AC0-9530-F521BCA7F1C5}" dt="2024-06-14T11:15:07.477" v="3782" actId="47"/>
        <pc:sldMkLst>
          <pc:docMk/>
          <pc:sldMk cId="1977557411" sldId="362"/>
        </pc:sldMkLst>
        <pc:spChg chg="mod">
          <ac:chgData name="Gaurav Kesari" userId="5ab21388-baf7-4ff4-bc08-f69762d4b20e" providerId="ADAL" clId="{9F5CD523-AC6F-4AC0-9530-F521BCA7F1C5}" dt="2024-06-10T12:51:09.994" v="918" actId="20577"/>
          <ac:spMkLst>
            <pc:docMk/>
            <pc:sldMk cId="1977557411" sldId="362"/>
            <ac:spMk id="2" creationId="{D87483B9-60BE-5E51-AF9C-F162ED668BC7}"/>
          </ac:spMkLst>
        </pc:spChg>
        <pc:spChg chg="del">
          <ac:chgData name="Gaurav Kesari" userId="5ab21388-baf7-4ff4-bc08-f69762d4b20e" providerId="ADAL" clId="{9F5CD523-AC6F-4AC0-9530-F521BCA7F1C5}" dt="2024-06-14T11:12:03.376" v="3765" actId="478"/>
          <ac:spMkLst>
            <pc:docMk/>
            <pc:sldMk cId="1977557411" sldId="362"/>
            <ac:spMk id="3" creationId="{8254F300-C933-44D0-BFE7-CB4D62DE7278}"/>
          </ac:spMkLst>
        </pc:spChg>
        <pc:spChg chg="mod">
          <ac:chgData name="Gaurav Kesari" userId="5ab21388-baf7-4ff4-bc08-f69762d4b20e" providerId="ADAL" clId="{9F5CD523-AC6F-4AC0-9530-F521BCA7F1C5}" dt="2024-06-14T11:12:16.781" v="3771" actId="20577"/>
          <ac:spMkLst>
            <pc:docMk/>
            <pc:sldMk cId="1977557411" sldId="362"/>
            <ac:spMk id="4" creationId="{909D4EEA-F2EE-4C5D-8169-E43D2BA59814}"/>
          </ac:spMkLst>
        </pc:spChg>
        <pc:picChg chg="mod">
          <ac:chgData name="Gaurav Kesari" userId="5ab21388-baf7-4ff4-bc08-f69762d4b20e" providerId="ADAL" clId="{9F5CD523-AC6F-4AC0-9530-F521BCA7F1C5}" dt="2024-06-14T11:12:07.810" v="3768" actId="1076"/>
          <ac:picMkLst>
            <pc:docMk/>
            <pc:sldMk cId="1977557411" sldId="362"/>
            <ac:picMk id="5" creationId="{C87CF77C-FDF8-E910-79A4-45ABE95F858D}"/>
          </ac:picMkLst>
        </pc:picChg>
        <pc:picChg chg="del mod">
          <ac:chgData name="Gaurav Kesari" userId="5ab21388-baf7-4ff4-bc08-f69762d4b20e" providerId="ADAL" clId="{9F5CD523-AC6F-4AC0-9530-F521BCA7F1C5}" dt="2024-06-14T11:11:46.471" v="3761" actId="21"/>
          <ac:picMkLst>
            <pc:docMk/>
            <pc:sldMk cId="1977557411" sldId="362"/>
            <ac:picMk id="6" creationId="{ACC0B658-618B-A57E-E934-F3122CC3D0F2}"/>
          </ac:picMkLst>
        </pc:picChg>
        <pc:picChg chg="del mod">
          <ac:chgData name="Gaurav Kesari" userId="5ab21388-baf7-4ff4-bc08-f69762d4b20e" providerId="ADAL" clId="{9F5CD523-AC6F-4AC0-9530-F521BCA7F1C5}" dt="2024-06-14T11:11:46.471" v="3761" actId="21"/>
          <ac:picMkLst>
            <pc:docMk/>
            <pc:sldMk cId="1977557411" sldId="362"/>
            <ac:picMk id="9" creationId="{F905D0DB-3964-8479-0C26-D9F61A598165}"/>
          </ac:picMkLst>
        </pc:picChg>
        <pc:cxnChg chg="del mod">
          <ac:chgData name="Gaurav Kesari" userId="5ab21388-baf7-4ff4-bc08-f69762d4b20e" providerId="ADAL" clId="{9F5CD523-AC6F-4AC0-9530-F521BCA7F1C5}" dt="2024-06-14T11:11:46.471" v="3761" actId="21"/>
          <ac:cxnSpMkLst>
            <pc:docMk/>
            <pc:sldMk cId="1977557411" sldId="362"/>
            <ac:cxnSpMk id="7" creationId="{150183EB-4E83-1392-2E6D-C5D839129D92}"/>
          </ac:cxnSpMkLst>
        </pc:cxnChg>
        <pc:cxnChg chg="del mod">
          <ac:chgData name="Gaurav Kesari" userId="5ab21388-baf7-4ff4-bc08-f69762d4b20e" providerId="ADAL" clId="{9F5CD523-AC6F-4AC0-9530-F521BCA7F1C5}" dt="2024-06-14T11:12:10.928" v="3769" actId="478"/>
          <ac:cxnSpMkLst>
            <pc:docMk/>
            <pc:sldMk cId="1977557411" sldId="362"/>
            <ac:cxnSpMk id="8" creationId="{3C78BE51-5B69-6236-9BA4-32C88D5C7909}"/>
          </ac:cxnSpMkLst>
        </pc:cxnChg>
        <pc:cxnChg chg="del mod">
          <ac:chgData name="Gaurav Kesari" userId="5ab21388-baf7-4ff4-bc08-f69762d4b20e" providerId="ADAL" clId="{9F5CD523-AC6F-4AC0-9530-F521BCA7F1C5}" dt="2024-06-14T11:11:46.471" v="3761" actId="21"/>
          <ac:cxnSpMkLst>
            <pc:docMk/>
            <pc:sldMk cId="1977557411" sldId="362"/>
            <ac:cxnSpMk id="10" creationId="{A57314F0-D919-6189-6D14-182A4B4A9A2A}"/>
          </ac:cxnSpMkLst>
        </pc:cxnChg>
        <pc:extLst>
          <p:ext xmlns:p="http://schemas.openxmlformats.org/presentationml/2006/main" uri="{D6D511B9-2390-475A-947B-AFAB55BFBCF1}">
            <pc226:cmChg xmlns:pc226="http://schemas.microsoft.com/office/powerpoint/2022/06/main/command" chg="add">
              <pc226:chgData name="Gaurav Kesari" userId="5ab21388-baf7-4ff4-bc08-f69762d4b20e" providerId="ADAL" clId="{9F5CD523-AC6F-4AC0-9530-F521BCA7F1C5}" dt="2024-06-10T12:52:17.829" v="919"/>
              <pc2:cmMkLst xmlns:pc2="http://schemas.microsoft.com/office/powerpoint/2019/9/main/command">
                <pc:docMk/>
                <pc:sldMk cId="1977557411" sldId="362"/>
                <pc2:cmMk id="{F0E31AAD-7886-43BD-A522-FECAA7EDC6C0}"/>
              </pc2:cmMkLst>
            </pc226:cmChg>
          </p:ext>
        </pc:extLst>
      </pc:sldChg>
      <pc:sldChg chg="new del">
        <pc:chgData name="Gaurav Kesari" userId="5ab21388-baf7-4ff4-bc08-f69762d4b20e" providerId="ADAL" clId="{9F5CD523-AC6F-4AC0-9530-F521BCA7F1C5}" dt="2024-06-10T10:19:36.821" v="722" actId="47"/>
        <pc:sldMkLst>
          <pc:docMk/>
          <pc:sldMk cId="3943754302" sldId="362"/>
        </pc:sldMkLst>
      </pc:sldChg>
      <pc:sldChg chg="modSp new del mod">
        <pc:chgData name="Gaurav Kesari" userId="5ab21388-baf7-4ff4-bc08-f69762d4b20e" providerId="ADAL" clId="{9F5CD523-AC6F-4AC0-9530-F521BCA7F1C5}" dt="2024-06-13T06:33:31.133" v="1569" actId="47"/>
        <pc:sldMkLst>
          <pc:docMk/>
          <pc:sldMk cId="886368845" sldId="363"/>
        </pc:sldMkLst>
        <pc:spChg chg="mod">
          <ac:chgData name="Gaurav Kesari" userId="5ab21388-baf7-4ff4-bc08-f69762d4b20e" providerId="ADAL" clId="{9F5CD523-AC6F-4AC0-9530-F521BCA7F1C5}" dt="2024-06-10T10:20:33.148" v="733" actId="20577"/>
          <ac:spMkLst>
            <pc:docMk/>
            <pc:sldMk cId="886368845" sldId="363"/>
            <ac:spMk id="2" creationId="{D4222669-8747-E473-193C-A5E9F4BF87DE}"/>
          </ac:spMkLst>
        </pc:spChg>
      </pc:sldChg>
      <pc:sldChg chg="modSp new del mod ord">
        <pc:chgData name="Gaurav Kesari" userId="5ab21388-baf7-4ff4-bc08-f69762d4b20e" providerId="ADAL" clId="{9F5CD523-AC6F-4AC0-9530-F521BCA7F1C5}" dt="2024-06-13T06:33:32.227" v="1570" actId="47"/>
        <pc:sldMkLst>
          <pc:docMk/>
          <pc:sldMk cId="1315381767" sldId="364"/>
        </pc:sldMkLst>
        <pc:spChg chg="mod">
          <ac:chgData name="Gaurav Kesari" userId="5ab21388-baf7-4ff4-bc08-f69762d4b20e" providerId="ADAL" clId="{9F5CD523-AC6F-4AC0-9530-F521BCA7F1C5}" dt="2024-06-10T10:20:38.679" v="742" actId="20577"/>
          <ac:spMkLst>
            <pc:docMk/>
            <pc:sldMk cId="1315381767" sldId="364"/>
            <ac:spMk id="2" creationId="{067FB7DD-CA54-9AC3-3B29-5303FB4FCE74}"/>
          </ac:spMkLst>
        </pc:spChg>
      </pc:sldChg>
      <pc:sldChg chg="delSp modSp new mod addCm delCm">
        <pc:chgData name="Gaurav Kesari" userId="5ab21388-baf7-4ff4-bc08-f69762d4b20e" providerId="ADAL" clId="{9F5CD523-AC6F-4AC0-9530-F521BCA7F1C5}" dt="2024-06-18T12:59:00.094" v="5273"/>
        <pc:sldMkLst>
          <pc:docMk/>
          <pc:sldMk cId="2042214228" sldId="365"/>
        </pc:sldMkLst>
        <pc:spChg chg="mod">
          <ac:chgData name="Gaurav Kesari" userId="5ab21388-baf7-4ff4-bc08-f69762d4b20e" providerId="ADAL" clId="{9F5CD523-AC6F-4AC0-9530-F521BCA7F1C5}" dt="2024-06-14T11:44:12.201" v="4154" actId="20577"/>
          <ac:spMkLst>
            <pc:docMk/>
            <pc:sldMk cId="2042214228" sldId="365"/>
            <ac:spMk id="2" creationId="{604F4060-00D6-B918-C689-9CA14084AA58}"/>
          </ac:spMkLst>
        </pc:spChg>
        <pc:spChg chg="del">
          <ac:chgData name="Gaurav Kesari" userId="5ab21388-baf7-4ff4-bc08-f69762d4b20e" providerId="ADAL" clId="{9F5CD523-AC6F-4AC0-9530-F521BCA7F1C5}" dt="2024-06-14T11:41:43.694" v="4129" actId="478"/>
          <ac:spMkLst>
            <pc:docMk/>
            <pc:sldMk cId="2042214228" sldId="365"/>
            <ac:spMk id="4" creationId="{BFF8E182-439A-D721-25EE-CD5B4627F60C}"/>
          </ac:spMkLst>
        </pc:spChg>
        <pc:picChg chg="del mod">
          <ac:chgData name="Gaurav Kesari" userId="5ab21388-baf7-4ff4-bc08-f69762d4b20e" providerId="ADAL" clId="{9F5CD523-AC6F-4AC0-9530-F521BCA7F1C5}" dt="2024-06-14T11:38:32.726" v="4121" actId="478"/>
          <ac:picMkLst>
            <pc:docMk/>
            <pc:sldMk cId="2042214228" sldId="365"/>
            <ac:picMk id="5" creationId="{789DCC52-4460-7078-13C3-B7AE04A67397}"/>
          </ac:picMkLst>
        </pc:picChg>
        <pc:picChg chg="del">
          <ac:chgData name="Gaurav Kesari" userId="5ab21388-baf7-4ff4-bc08-f69762d4b20e" providerId="ADAL" clId="{9F5CD523-AC6F-4AC0-9530-F521BCA7F1C5}" dt="2024-06-14T11:38:30.217" v="4120" actId="478"/>
          <ac:picMkLst>
            <pc:docMk/>
            <pc:sldMk cId="2042214228" sldId="365"/>
            <ac:picMk id="6" creationId="{96B9717F-8452-542E-902C-2CF2A0D34CFA}"/>
          </ac:picMkLst>
        </pc:picChg>
        <pc:picChg chg="mod modCrop">
          <ac:chgData name="Gaurav Kesari" userId="5ab21388-baf7-4ff4-bc08-f69762d4b20e" providerId="ADAL" clId="{9F5CD523-AC6F-4AC0-9530-F521BCA7F1C5}" dt="2024-06-14T11:41:45.481" v="4130" actId="1076"/>
          <ac:picMkLst>
            <pc:docMk/>
            <pc:sldMk cId="2042214228" sldId="365"/>
            <ac:picMk id="7" creationId="{90A67DDF-75B8-8690-DBB0-E59084F938F2}"/>
          </ac:picMkLst>
        </pc:picChg>
        <pc:picChg chg="mod modCrop">
          <ac:chgData name="Gaurav Kesari" userId="5ab21388-baf7-4ff4-bc08-f69762d4b20e" providerId="ADAL" clId="{9F5CD523-AC6F-4AC0-9530-F521BCA7F1C5}" dt="2024-06-14T11:41:51.194" v="4132" actId="14100"/>
          <ac:picMkLst>
            <pc:docMk/>
            <pc:sldMk cId="2042214228" sldId="365"/>
            <ac:picMk id="8" creationId="{624BE43F-3139-22B3-D918-6ED730324AB3}"/>
          </ac:picMkLst>
        </pc:picChg>
        <pc:extLst>
          <p:ext xmlns:p="http://schemas.openxmlformats.org/presentationml/2006/main" uri="{D6D511B9-2390-475A-947B-AFAB55BFBCF1}">
            <pc226:cmChg xmlns:pc226="http://schemas.microsoft.com/office/powerpoint/2022/06/main/command" chg="add del">
              <pc226:chgData name="Gaurav Kesari" userId="5ab21388-baf7-4ff4-bc08-f69762d4b20e" providerId="ADAL" clId="{9F5CD523-AC6F-4AC0-9530-F521BCA7F1C5}" dt="2024-06-18T12:59:00.094" v="5273"/>
              <pc2:cmMkLst xmlns:pc2="http://schemas.microsoft.com/office/powerpoint/2019/9/main/command">
                <pc:docMk/>
                <pc:sldMk cId="2042214228" sldId="365"/>
                <pc2:cmMk id="{55751CBE-6FA3-4786-9C87-8853A50566C2}"/>
              </pc2:cmMkLst>
            </pc226:cmChg>
          </p:ext>
        </pc:extLst>
      </pc:sldChg>
      <pc:sldChg chg="modSp add mod">
        <pc:chgData name="Gaurav Kesari" userId="5ab21388-baf7-4ff4-bc08-f69762d4b20e" providerId="ADAL" clId="{9F5CD523-AC6F-4AC0-9530-F521BCA7F1C5}" dt="2024-06-18T13:00:48.723" v="5299" actId="20577"/>
        <pc:sldMkLst>
          <pc:docMk/>
          <pc:sldMk cId="1161031420" sldId="2147482681"/>
        </pc:sldMkLst>
        <pc:spChg chg="mod">
          <ac:chgData name="Gaurav Kesari" userId="5ab21388-baf7-4ff4-bc08-f69762d4b20e" providerId="ADAL" clId="{9F5CD523-AC6F-4AC0-9530-F521BCA7F1C5}" dt="2024-06-18T13:00:48.723" v="5299" actId="20577"/>
          <ac:spMkLst>
            <pc:docMk/>
            <pc:sldMk cId="1161031420" sldId="2147482681"/>
            <ac:spMk id="2" creationId="{578C2C66-C0F5-EFEE-1F4A-C9C6247EABC9}"/>
          </ac:spMkLst>
        </pc:spChg>
      </pc:sldChg>
      <pc:sldChg chg="addSp delSp modSp new mod">
        <pc:chgData name="Gaurav Kesari" userId="5ab21388-baf7-4ff4-bc08-f69762d4b20e" providerId="ADAL" clId="{9F5CD523-AC6F-4AC0-9530-F521BCA7F1C5}" dt="2024-06-18T08:25:43.310" v="4855"/>
        <pc:sldMkLst>
          <pc:docMk/>
          <pc:sldMk cId="1121322517" sldId="2147482682"/>
        </pc:sldMkLst>
        <pc:spChg chg="mod">
          <ac:chgData name="Gaurav Kesari" userId="5ab21388-baf7-4ff4-bc08-f69762d4b20e" providerId="ADAL" clId="{9F5CD523-AC6F-4AC0-9530-F521BCA7F1C5}" dt="2024-06-13T15:08:21.982" v="2196" actId="20577"/>
          <ac:spMkLst>
            <pc:docMk/>
            <pc:sldMk cId="1121322517" sldId="2147482682"/>
            <ac:spMk id="2" creationId="{0BAA4961-6E74-D5EE-FD3E-0D1B0DD5D22A}"/>
          </ac:spMkLst>
        </pc:spChg>
        <pc:spChg chg="del">
          <ac:chgData name="Gaurav Kesari" userId="5ab21388-baf7-4ff4-bc08-f69762d4b20e" providerId="ADAL" clId="{9F5CD523-AC6F-4AC0-9530-F521BCA7F1C5}" dt="2024-06-17T08:55:21.895" v="4554" actId="478"/>
          <ac:spMkLst>
            <pc:docMk/>
            <pc:sldMk cId="1121322517" sldId="2147482682"/>
            <ac:spMk id="3" creationId="{1018B69F-45BF-B29F-7EF5-4E4AB1D67500}"/>
          </ac:spMkLst>
        </pc:spChg>
        <pc:spChg chg="del">
          <ac:chgData name="Gaurav Kesari" userId="5ab21388-baf7-4ff4-bc08-f69762d4b20e" providerId="ADAL" clId="{9F5CD523-AC6F-4AC0-9530-F521BCA7F1C5}" dt="2024-06-13T15:08:17.830" v="2187" actId="478"/>
          <ac:spMkLst>
            <pc:docMk/>
            <pc:sldMk cId="1121322517" sldId="2147482682"/>
            <ac:spMk id="4" creationId="{077E34AF-CFE2-3E90-22AE-850522AFA3B4}"/>
          </ac:spMkLst>
        </pc:spChg>
        <pc:spChg chg="add del mod">
          <ac:chgData name="Gaurav Kesari" userId="5ab21388-baf7-4ff4-bc08-f69762d4b20e" providerId="ADAL" clId="{9F5CD523-AC6F-4AC0-9530-F521BCA7F1C5}" dt="2024-06-13T15:08:07.528" v="2185" actId="478"/>
          <ac:spMkLst>
            <pc:docMk/>
            <pc:sldMk cId="1121322517" sldId="2147482682"/>
            <ac:spMk id="5" creationId="{238963F7-E885-D59D-BAFE-EA26D6776039}"/>
          </ac:spMkLst>
        </pc:spChg>
        <pc:spChg chg="add mod">
          <ac:chgData name="Gaurav Kesari" userId="5ab21388-baf7-4ff4-bc08-f69762d4b20e" providerId="ADAL" clId="{9F5CD523-AC6F-4AC0-9530-F521BCA7F1C5}" dt="2024-06-13T15:09:32.503" v="2209" actId="1036"/>
          <ac:spMkLst>
            <pc:docMk/>
            <pc:sldMk cId="1121322517" sldId="2147482682"/>
            <ac:spMk id="6" creationId="{87237F01-755B-6D1B-5130-9D38DAE6DD5E}"/>
          </ac:spMkLst>
        </pc:spChg>
        <pc:spChg chg="add mod">
          <ac:chgData name="Gaurav Kesari" userId="5ab21388-baf7-4ff4-bc08-f69762d4b20e" providerId="ADAL" clId="{9F5CD523-AC6F-4AC0-9530-F521BCA7F1C5}" dt="2024-06-13T15:08:58.091" v="2202" actId="20577"/>
          <ac:spMkLst>
            <pc:docMk/>
            <pc:sldMk cId="1121322517" sldId="2147482682"/>
            <ac:spMk id="7" creationId="{67CC83A3-A535-32A1-2E03-F6DA491968A1}"/>
          </ac:spMkLst>
        </pc:spChg>
        <pc:spChg chg="add mod">
          <ac:chgData name="Gaurav Kesari" userId="5ab21388-baf7-4ff4-bc08-f69762d4b20e" providerId="ADAL" clId="{9F5CD523-AC6F-4AC0-9530-F521BCA7F1C5}" dt="2024-06-13T15:09:32.503" v="2209" actId="1036"/>
          <ac:spMkLst>
            <pc:docMk/>
            <pc:sldMk cId="1121322517" sldId="2147482682"/>
            <ac:spMk id="9" creationId="{3C0CD35C-F84A-0A4D-1595-CD8F343AB47D}"/>
          </ac:spMkLst>
        </pc:spChg>
        <pc:spChg chg="add mod">
          <ac:chgData name="Gaurav Kesari" userId="5ab21388-baf7-4ff4-bc08-f69762d4b20e" providerId="ADAL" clId="{9F5CD523-AC6F-4AC0-9530-F521BCA7F1C5}" dt="2024-06-13T15:08:12.914" v="2186"/>
          <ac:spMkLst>
            <pc:docMk/>
            <pc:sldMk cId="1121322517" sldId="2147482682"/>
            <ac:spMk id="10" creationId="{2C235008-6561-BC5D-9D51-56F865AC84F2}"/>
          </ac:spMkLst>
        </pc:spChg>
        <pc:spChg chg="mod">
          <ac:chgData name="Gaurav Kesari" userId="5ab21388-baf7-4ff4-bc08-f69762d4b20e" providerId="ADAL" clId="{9F5CD523-AC6F-4AC0-9530-F521BCA7F1C5}" dt="2024-06-18T08:25:43.310" v="4855"/>
          <ac:spMkLst>
            <pc:docMk/>
            <pc:sldMk cId="1121322517" sldId="2147482682"/>
            <ac:spMk id="14" creationId="{44BF1C09-6A10-FA60-5DF6-0A5163E024BA}"/>
          </ac:spMkLst>
        </pc:spChg>
        <pc:picChg chg="add mod modCrop">
          <ac:chgData name="Gaurav Kesari" userId="5ab21388-baf7-4ff4-bc08-f69762d4b20e" providerId="ADAL" clId="{9F5CD523-AC6F-4AC0-9530-F521BCA7F1C5}" dt="2024-06-13T15:12:20.021" v="2222" actId="1076"/>
          <ac:picMkLst>
            <pc:docMk/>
            <pc:sldMk cId="1121322517" sldId="2147482682"/>
            <ac:picMk id="8" creationId="{9BBE8C4E-8FF2-7CCA-3E40-B11D887D98EF}"/>
          </ac:picMkLst>
        </pc:picChg>
      </pc:sldChg>
      <pc:sldChg chg="addSp delSp modSp new mod">
        <pc:chgData name="Gaurav Kesari" userId="5ab21388-baf7-4ff4-bc08-f69762d4b20e" providerId="ADAL" clId="{9F5CD523-AC6F-4AC0-9530-F521BCA7F1C5}" dt="2024-06-18T08:25:39.298" v="4854"/>
        <pc:sldMkLst>
          <pc:docMk/>
          <pc:sldMk cId="2284318082" sldId="2147482683"/>
        </pc:sldMkLst>
        <pc:spChg chg="mod">
          <ac:chgData name="Gaurav Kesari" userId="5ab21388-baf7-4ff4-bc08-f69762d4b20e" providerId="ADAL" clId="{9F5CD523-AC6F-4AC0-9530-F521BCA7F1C5}" dt="2024-06-13T14:28:55.951" v="1685" actId="20577"/>
          <ac:spMkLst>
            <pc:docMk/>
            <pc:sldMk cId="2284318082" sldId="2147482683"/>
            <ac:spMk id="2" creationId="{3A827BD4-477E-0E53-B0AE-0620C17FBFAC}"/>
          </ac:spMkLst>
        </pc:spChg>
        <pc:spChg chg="del">
          <ac:chgData name="Gaurav Kesari" userId="5ab21388-baf7-4ff4-bc08-f69762d4b20e" providerId="ADAL" clId="{9F5CD523-AC6F-4AC0-9530-F521BCA7F1C5}" dt="2024-06-13T15:07:47.780" v="2183" actId="478"/>
          <ac:spMkLst>
            <pc:docMk/>
            <pc:sldMk cId="2284318082" sldId="2147482683"/>
            <ac:spMk id="3" creationId="{E01E2F01-F969-3982-3FC6-D45F4DD2B9A2}"/>
          </ac:spMkLst>
        </pc:spChg>
        <pc:spChg chg="del">
          <ac:chgData name="Gaurav Kesari" userId="5ab21388-baf7-4ff4-bc08-f69762d4b20e" providerId="ADAL" clId="{9F5CD523-AC6F-4AC0-9530-F521BCA7F1C5}" dt="2024-06-13T14:27:04.890" v="1673" actId="478"/>
          <ac:spMkLst>
            <pc:docMk/>
            <pc:sldMk cId="2284318082" sldId="2147482683"/>
            <ac:spMk id="4" creationId="{3751F28E-F00B-9BCF-9960-4EEE4CA19EBB}"/>
          </ac:spMkLst>
        </pc:spChg>
        <pc:spChg chg="add mod">
          <ac:chgData name="Gaurav Kesari" userId="5ab21388-baf7-4ff4-bc08-f69762d4b20e" providerId="ADAL" clId="{9F5CD523-AC6F-4AC0-9530-F521BCA7F1C5}" dt="2024-06-13T15:07:19.338" v="2175"/>
          <ac:spMkLst>
            <pc:docMk/>
            <pc:sldMk cId="2284318082" sldId="2147482683"/>
            <ac:spMk id="5" creationId="{73D5B357-225F-85DF-D0C4-377C30F84105}"/>
          </ac:spMkLst>
        </pc:spChg>
        <pc:spChg chg="add mod">
          <ac:chgData name="Gaurav Kesari" userId="5ab21388-baf7-4ff4-bc08-f69762d4b20e" providerId="ADAL" clId="{9F5CD523-AC6F-4AC0-9530-F521BCA7F1C5}" dt="2024-06-13T15:07:11.912" v="2173" actId="20577"/>
          <ac:spMkLst>
            <pc:docMk/>
            <pc:sldMk cId="2284318082" sldId="2147482683"/>
            <ac:spMk id="7" creationId="{5B844731-CC21-291E-CA27-D5E0336800DF}"/>
          </ac:spMkLst>
        </pc:spChg>
        <pc:spChg chg="add mod">
          <ac:chgData name="Gaurav Kesari" userId="5ab21388-baf7-4ff4-bc08-f69762d4b20e" providerId="ADAL" clId="{9F5CD523-AC6F-4AC0-9530-F521BCA7F1C5}" dt="2024-06-13T15:05:02.022" v="2162"/>
          <ac:spMkLst>
            <pc:docMk/>
            <pc:sldMk cId="2284318082" sldId="2147482683"/>
            <ac:spMk id="8" creationId="{C2F683FD-815B-F59D-F5CD-487C1861729E}"/>
          </ac:spMkLst>
        </pc:spChg>
        <pc:spChg chg="add mod">
          <ac:chgData name="Gaurav Kesari" userId="5ab21388-baf7-4ff4-bc08-f69762d4b20e" providerId="ADAL" clId="{9F5CD523-AC6F-4AC0-9530-F521BCA7F1C5}" dt="2024-06-13T15:05:07.188" v="2164" actId="21"/>
          <ac:spMkLst>
            <pc:docMk/>
            <pc:sldMk cId="2284318082" sldId="2147482683"/>
            <ac:spMk id="9" creationId="{AE2DC69A-242A-8423-56B4-BB8CDAC0EDD0}"/>
          </ac:spMkLst>
        </pc:spChg>
        <pc:spChg chg="add mod">
          <ac:chgData name="Gaurav Kesari" userId="5ab21388-baf7-4ff4-bc08-f69762d4b20e" providerId="ADAL" clId="{9F5CD523-AC6F-4AC0-9530-F521BCA7F1C5}" dt="2024-06-13T15:05:02.022" v="2162"/>
          <ac:spMkLst>
            <pc:docMk/>
            <pc:sldMk cId="2284318082" sldId="2147482683"/>
            <ac:spMk id="10" creationId="{18207DBE-4B22-5341-3B18-84A47B3CFF91}"/>
          </ac:spMkLst>
        </pc:spChg>
        <pc:spChg chg="add del mod">
          <ac:chgData name="Gaurav Kesari" userId="5ab21388-baf7-4ff4-bc08-f69762d4b20e" providerId="ADAL" clId="{9F5CD523-AC6F-4AC0-9530-F521BCA7F1C5}" dt="2024-06-13T14:27:09.308" v="1674" actId="478"/>
          <ac:spMkLst>
            <pc:docMk/>
            <pc:sldMk cId="2284318082" sldId="2147482683"/>
            <ac:spMk id="13" creationId="{C36BB372-CA2D-9167-540B-171E8393D113}"/>
          </ac:spMkLst>
        </pc:spChg>
        <pc:spChg chg="mod">
          <ac:chgData name="Gaurav Kesari" userId="5ab21388-baf7-4ff4-bc08-f69762d4b20e" providerId="ADAL" clId="{9F5CD523-AC6F-4AC0-9530-F521BCA7F1C5}" dt="2024-06-18T08:25:39.298" v="4854"/>
          <ac:spMkLst>
            <pc:docMk/>
            <pc:sldMk cId="2284318082" sldId="2147482683"/>
            <ac:spMk id="15" creationId="{E5A1C067-6FD6-FC44-C68B-7765E814A06C}"/>
          </ac:spMkLst>
        </pc:spChg>
        <pc:picChg chg="add mod modCrop">
          <ac:chgData name="Gaurav Kesari" userId="5ab21388-baf7-4ff4-bc08-f69762d4b20e" providerId="ADAL" clId="{9F5CD523-AC6F-4AC0-9530-F521BCA7F1C5}" dt="2024-06-14T06:15:40.528" v="2326" actId="14100"/>
          <ac:picMkLst>
            <pc:docMk/>
            <pc:sldMk cId="2284318082" sldId="2147482683"/>
            <ac:picMk id="6" creationId="{6363C9B0-5E39-46E8-4048-A6E668FC4202}"/>
          </ac:picMkLst>
        </pc:picChg>
      </pc:sldChg>
      <pc:sldChg chg="addSp delSp modSp new del mod ord">
        <pc:chgData name="Gaurav Kesari" userId="5ab21388-baf7-4ff4-bc08-f69762d4b20e" providerId="ADAL" clId="{9F5CD523-AC6F-4AC0-9530-F521BCA7F1C5}" dt="2024-06-18T12:59:46.374" v="5285" actId="47"/>
        <pc:sldMkLst>
          <pc:docMk/>
          <pc:sldMk cId="2681829782" sldId="2147482684"/>
        </pc:sldMkLst>
        <pc:spChg chg="mod">
          <ac:chgData name="Gaurav Kesari" userId="5ab21388-baf7-4ff4-bc08-f69762d4b20e" providerId="ADAL" clId="{9F5CD523-AC6F-4AC0-9530-F521BCA7F1C5}" dt="2024-06-14T06:25:52.386" v="2752" actId="1076"/>
          <ac:spMkLst>
            <pc:docMk/>
            <pc:sldMk cId="2681829782" sldId="2147482684"/>
            <ac:spMk id="2" creationId="{A486ED8C-FE5D-1B5B-F2D7-C3F613DA815A}"/>
          </ac:spMkLst>
        </pc:spChg>
        <pc:spChg chg="del">
          <ac:chgData name="Gaurav Kesari" userId="5ab21388-baf7-4ff4-bc08-f69762d4b20e" providerId="ADAL" clId="{9F5CD523-AC6F-4AC0-9530-F521BCA7F1C5}" dt="2024-06-14T08:21:20.684" v="2764" actId="478"/>
          <ac:spMkLst>
            <pc:docMk/>
            <pc:sldMk cId="2681829782" sldId="2147482684"/>
            <ac:spMk id="3" creationId="{2D4868B5-60C3-DDB4-2CCC-DB0E219BEF5C}"/>
          </ac:spMkLst>
        </pc:spChg>
        <pc:spChg chg="del">
          <ac:chgData name="Gaurav Kesari" userId="5ab21388-baf7-4ff4-bc08-f69762d4b20e" providerId="ADAL" clId="{9F5CD523-AC6F-4AC0-9530-F521BCA7F1C5}" dt="2024-06-13T15:10:54.866" v="2220" actId="478"/>
          <ac:spMkLst>
            <pc:docMk/>
            <pc:sldMk cId="2681829782" sldId="2147482684"/>
            <ac:spMk id="4" creationId="{5A3BBD6A-475C-2936-91FF-85BE643E97AF}"/>
          </ac:spMkLst>
        </pc:spChg>
        <pc:spChg chg="add mod">
          <ac:chgData name="Gaurav Kesari" userId="5ab21388-baf7-4ff4-bc08-f69762d4b20e" providerId="ADAL" clId="{9F5CD523-AC6F-4AC0-9530-F521BCA7F1C5}" dt="2024-06-14T06:21:15.361" v="2365"/>
          <ac:spMkLst>
            <pc:docMk/>
            <pc:sldMk cId="2681829782" sldId="2147482684"/>
            <ac:spMk id="5" creationId="{C4ABE7E8-90A8-CCBC-58DE-16292793C9C4}"/>
          </ac:spMkLst>
        </pc:spChg>
        <pc:spChg chg="add mod">
          <ac:chgData name="Gaurav Kesari" userId="5ab21388-baf7-4ff4-bc08-f69762d4b20e" providerId="ADAL" clId="{9F5CD523-AC6F-4AC0-9530-F521BCA7F1C5}" dt="2024-06-14T06:21:15.361" v="2365"/>
          <ac:spMkLst>
            <pc:docMk/>
            <pc:sldMk cId="2681829782" sldId="2147482684"/>
            <ac:spMk id="6" creationId="{1BB883F3-8097-F3E8-A1B5-C2D4551BD5C7}"/>
          </ac:spMkLst>
        </pc:spChg>
        <pc:spChg chg="add mod">
          <ac:chgData name="Gaurav Kesari" userId="5ab21388-baf7-4ff4-bc08-f69762d4b20e" providerId="ADAL" clId="{9F5CD523-AC6F-4AC0-9530-F521BCA7F1C5}" dt="2024-06-14T06:21:15.361" v="2365"/>
          <ac:spMkLst>
            <pc:docMk/>
            <pc:sldMk cId="2681829782" sldId="2147482684"/>
            <ac:spMk id="7" creationId="{B9438DAD-5A0A-8542-BFEB-8EAD9A037A2B}"/>
          </ac:spMkLst>
        </pc:spChg>
        <pc:spChg chg="add mod">
          <ac:chgData name="Gaurav Kesari" userId="5ab21388-baf7-4ff4-bc08-f69762d4b20e" providerId="ADAL" clId="{9F5CD523-AC6F-4AC0-9530-F521BCA7F1C5}" dt="2024-06-14T06:21:15.361" v="2365"/>
          <ac:spMkLst>
            <pc:docMk/>
            <pc:sldMk cId="2681829782" sldId="2147482684"/>
            <ac:spMk id="8" creationId="{87C1B87A-A933-9D70-8239-8E51DA3235EF}"/>
          </ac:spMkLst>
        </pc:spChg>
        <pc:spChg chg="add mod">
          <ac:chgData name="Gaurav Kesari" userId="5ab21388-baf7-4ff4-bc08-f69762d4b20e" providerId="ADAL" clId="{9F5CD523-AC6F-4AC0-9530-F521BCA7F1C5}" dt="2024-06-14T06:21:15.361" v="2365"/>
          <ac:spMkLst>
            <pc:docMk/>
            <pc:sldMk cId="2681829782" sldId="2147482684"/>
            <ac:spMk id="11" creationId="{6CABCF27-67D0-6D4C-0CBD-0A4977C254D1}"/>
          </ac:spMkLst>
        </pc:spChg>
        <pc:spChg chg="add mod">
          <ac:chgData name="Gaurav Kesari" userId="5ab21388-baf7-4ff4-bc08-f69762d4b20e" providerId="ADAL" clId="{9F5CD523-AC6F-4AC0-9530-F521BCA7F1C5}" dt="2024-06-14T06:21:15.361" v="2365"/>
          <ac:spMkLst>
            <pc:docMk/>
            <pc:sldMk cId="2681829782" sldId="2147482684"/>
            <ac:spMk id="12" creationId="{EE61A820-E52E-5DCB-8CC2-12B61B2B727B}"/>
          </ac:spMkLst>
        </pc:spChg>
        <pc:spChg chg="add mod">
          <ac:chgData name="Gaurav Kesari" userId="5ab21388-baf7-4ff4-bc08-f69762d4b20e" providerId="ADAL" clId="{9F5CD523-AC6F-4AC0-9530-F521BCA7F1C5}" dt="2024-06-14T06:21:15.361" v="2365"/>
          <ac:spMkLst>
            <pc:docMk/>
            <pc:sldMk cId="2681829782" sldId="2147482684"/>
            <ac:spMk id="13" creationId="{C711F1AD-0BE0-412F-EACB-643C2FB60331}"/>
          </ac:spMkLst>
        </pc:spChg>
        <pc:spChg chg="add mod">
          <ac:chgData name="Gaurav Kesari" userId="5ab21388-baf7-4ff4-bc08-f69762d4b20e" providerId="ADAL" clId="{9F5CD523-AC6F-4AC0-9530-F521BCA7F1C5}" dt="2024-06-14T06:21:15.361" v="2365"/>
          <ac:spMkLst>
            <pc:docMk/>
            <pc:sldMk cId="2681829782" sldId="2147482684"/>
            <ac:spMk id="14" creationId="{58192E1F-FC68-E1BF-8F2A-FAA23B3FFA37}"/>
          </ac:spMkLst>
        </pc:spChg>
        <pc:spChg chg="add mod">
          <ac:chgData name="Gaurav Kesari" userId="5ab21388-baf7-4ff4-bc08-f69762d4b20e" providerId="ADAL" clId="{9F5CD523-AC6F-4AC0-9530-F521BCA7F1C5}" dt="2024-06-14T06:21:15.361" v="2365"/>
          <ac:spMkLst>
            <pc:docMk/>
            <pc:sldMk cId="2681829782" sldId="2147482684"/>
            <ac:spMk id="15" creationId="{97335F93-DF2F-FF9B-3157-31EE53B7459F}"/>
          </ac:spMkLst>
        </pc:spChg>
        <pc:spChg chg="add mod">
          <ac:chgData name="Gaurav Kesari" userId="5ab21388-baf7-4ff4-bc08-f69762d4b20e" providerId="ADAL" clId="{9F5CD523-AC6F-4AC0-9530-F521BCA7F1C5}" dt="2024-06-14T06:21:15.361" v="2365"/>
          <ac:spMkLst>
            <pc:docMk/>
            <pc:sldMk cId="2681829782" sldId="2147482684"/>
            <ac:spMk id="16" creationId="{B4072113-0323-4CF7-CA97-DA6220DBFFF3}"/>
          </ac:spMkLst>
        </pc:spChg>
        <pc:spChg chg="add mod">
          <ac:chgData name="Gaurav Kesari" userId="5ab21388-baf7-4ff4-bc08-f69762d4b20e" providerId="ADAL" clId="{9F5CD523-AC6F-4AC0-9530-F521BCA7F1C5}" dt="2024-06-14T06:21:15.361" v="2365"/>
          <ac:spMkLst>
            <pc:docMk/>
            <pc:sldMk cId="2681829782" sldId="2147482684"/>
            <ac:spMk id="17" creationId="{9173F963-F3F5-9D16-2853-C89CDAA28165}"/>
          </ac:spMkLst>
        </pc:spChg>
        <pc:spChg chg="add mod">
          <ac:chgData name="Gaurav Kesari" userId="5ab21388-baf7-4ff4-bc08-f69762d4b20e" providerId="ADAL" clId="{9F5CD523-AC6F-4AC0-9530-F521BCA7F1C5}" dt="2024-06-14T06:21:15.361" v="2365"/>
          <ac:spMkLst>
            <pc:docMk/>
            <pc:sldMk cId="2681829782" sldId="2147482684"/>
            <ac:spMk id="18" creationId="{7A8DCE4D-52D7-4024-C013-B8B1DE33B7D0}"/>
          </ac:spMkLst>
        </pc:spChg>
        <pc:spChg chg="add mod">
          <ac:chgData name="Gaurav Kesari" userId="5ab21388-baf7-4ff4-bc08-f69762d4b20e" providerId="ADAL" clId="{9F5CD523-AC6F-4AC0-9530-F521BCA7F1C5}" dt="2024-06-14T06:21:15.361" v="2365"/>
          <ac:spMkLst>
            <pc:docMk/>
            <pc:sldMk cId="2681829782" sldId="2147482684"/>
            <ac:spMk id="19" creationId="{95A21793-4803-CF1F-5821-6C63A52E5015}"/>
          </ac:spMkLst>
        </pc:spChg>
        <pc:spChg chg="add mod">
          <ac:chgData name="Gaurav Kesari" userId="5ab21388-baf7-4ff4-bc08-f69762d4b20e" providerId="ADAL" clId="{9F5CD523-AC6F-4AC0-9530-F521BCA7F1C5}" dt="2024-06-14T06:21:15.361" v="2365"/>
          <ac:spMkLst>
            <pc:docMk/>
            <pc:sldMk cId="2681829782" sldId="2147482684"/>
            <ac:spMk id="25" creationId="{54629C59-F992-E7D1-8BE2-CF5663645928}"/>
          </ac:spMkLst>
        </pc:spChg>
        <pc:spChg chg="add mod">
          <ac:chgData name="Gaurav Kesari" userId="5ab21388-baf7-4ff4-bc08-f69762d4b20e" providerId="ADAL" clId="{9F5CD523-AC6F-4AC0-9530-F521BCA7F1C5}" dt="2024-06-14T06:21:15.361" v="2365"/>
          <ac:spMkLst>
            <pc:docMk/>
            <pc:sldMk cId="2681829782" sldId="2147482684"/>
            <ac:spMk id="26" creationId="{5D94613E-6D8D-BADA-F0E0-AE0F72936676}"/>
          </ac:spMkLst>
        </pc:spChg>
        <pc:spChg chg="add mod">
          <ac:chgData name="Gaurav Kesari" userId="5ab21388-baf7-4ff4-bc08-f69762d4b20e" providerId="ADAL" clId="{9F5CD523-AC6F-4AC0-9530-F521BCA7F1C5}" dt="2024-06-14T06:21:15.361" v="2365"/>
          <ac:spMkLst>
            <pc:docMk/>
            <pc:sldMk cId="2681829782" sldId="2147482684"/>
            <ac:spMk id="28" creationId="{57194F9C-7BFA-93C3-73A1-F0DABD0FCC33}"/>
          </ac:spMkLst>
        </pc:spChg>
        <pc:spChg chg="add mod">
          <ac:chgData name="Gaurav Kesari" userId="5ab21388-baf7-4ff4-bc08-f69762d4b20e" providerId="ADAL" clId="{9F5CD523-AC6F-4AC0-9530-F521BCA7F1C5}" dt="2024-06-14T06:21:15.361" v="2365"/>
          <ac:spMkLst>
            <pc:docMk/>
            <pc:sldMk cId="2681829782" sldId="2147482684"/>
            <ac:spMk id="29" creationId="{C9EF5D3B-27DE-8231-A8D2-863F5A741D2B}"/>
          </ac:spMkLst>
        </pc:spChg>
        <pc:spChg chg="add mod">
          <ac:chgData name="Gaurav Kesari" userId="5ab21388-baf7-4ff4-bc08-f69762d4b20e" providerId="ADAL" clId="{9F5CD523-AC6F-4AC0-9530-F521BCA7F1C5}" dt="2024-06-14T06:21:15.361" v="2365"/>
          <ac:spMkLst>
            <pc:docMk/>
            <pc:sldMk cId="2681829782" sldId="2147482684"/>
            <ac:spMk id="31" creationId="{00BB733E-492E-A7CE-EAFD-A1958B95A0DD}"/>
          </ac:spMkLst>
        </pc:spChg>
        <pc:spChg chg="add mod">
          <ac:chgData name="Gaurav Kesari" userId="5ab21388-baf7-4ff4-bc08-f69762d4b20e" providerId="ADAL" clId="{9F5CD523-AC6F-4AC0-9530-F521BCA7F1C5}" dt="2024-06-14T06:22:52.105" v="2547" actId="1037"/>
          <ac:spMkLst>
            <pc:docMk/>
            <pc:sldMk cId="2681829782" sldId="2147482684"/>
            <ac:spMk id="33" creationId="{BC7B6772-6701-2380-76D2-A2A65A5FAD3D}"/>
          </ac:spMkLst>
        </pc:spChg>
        <pc:spChg chg="add mod">
          <ac:chgData name="Gaurav Kesari" userId="5ab21388-baf7-4ff4-bc08-f69762d4b20e" providerId="ADAL" clId="{9F5CD523-AC6F-4AC0-9530-F521BCA7F1C5}" dt="2024-06-14T06:22:52.105" v="2547" actId="1037"/>
          <ac:spMkLst>
            <pc:docMk/>
            <pc:sldMk cId="2681829782" sldId="2147482684"/>
            <ac:spMk id="34" creationId="{294D2A8F-3F0E-01E8-C309-2BC26E4A8BD3}"/>
          </ac:spMkLst>
        </pc:spChg>
        <pc:spChg chg="add del mod">
          <ac:chgData name="Gaurav Kesari" userId="5ab21388-baf7-4ff4-bc08-f69762d4b20e" providerId="ADAL" clId="{9F5CD523-AC6F-4AC0-9530-F521BCA7F1C5}" dt="2024-06-14T06:24:36.169" v="2617" actId="478"/>
          <ac:spMkLst>
            <pc:docMk/>
            <pc:sldMk cId="2681829782" sldId="2147482684"/>
            <ac:spMk id="35" creationId="{03A30CB1-976C-7232-DD7F-7A7A8D45211D}"/>
          </ac:spMkLst>
        </pc:spChg>
        <pc:spChg chg="add del mod">
          <ac:chgData name="Gaurav Kesari" userId="5ab21388-baf7-4ff4-bc08-f69762d4b20e" providerId="ADAL" clId="{9F5CD523-AC6F-4AC0-9530-F521BCA7F1C5}" dt="2024-06-14T06:24:35.256" v="2616" actId="478"/>
          <ac:spMkLst>
            <pc:docMk/>
            <pc:sldMk cId="2681829782" sldId="2147482684"/>
            <ac:spMk id="36" creationId="{2A3AAD74-268A-3273-C485-57B3ECFC9778}"/>
          </ac:spMkLst>
        </pc:spChg>
        <pc:spChg chg="add del mod">
          <ac:chgData name="Gaurav Kesari" userId="5ab21388-baf7-4ff4-bc08-f69762d4b20e" providerId="ADAL" clId="{9F5CD523-AC6F-4AC0-9530-F521BCA7F1C5}" dt="2024-06-14T06:22:21.668" v="2519" actId="478"/>
          <ac:spMkLst>
            <pc:docMk/>
            <pc:sldMk cId="2681829782" sldId="2147482684"/>
            <ac:spMk id="39" creationId="{E123F561-8C55-4E6A-7F55-2B30A5B2652C}"/>
          </ac:spMkLst>
        </pc:spChg>
        <pc:spChg chg="add del mod">
          <ac:chgData name="Gaurav Kesari" userId="5ab21388-baf7-4ff4-bc08-f69762d4b20e" providerId="ADAL" clId="{9F5CD523-AC6F-4AC0-9530-F521BCA7F1C5}" dt="2024-06-14T06:22:18.733" v="2516" actId="478"/>
          <ac:spMkLst>
            <pc:docMk/>
            <pc:sldMk cId="2681829782" sldId="2147482684"/>
            <ac:spMk id="40" creationId="{B4DD7E65-DDBC-7E15-6E71-CF1126BE357D}"/>
          </ac:spMkLst>
        </pc:spChg>
        <pc:spChg chg="add mod">
          <ac:chgData name="Gaurav Kesari" userId="5ab21388-baf7-4ff4-bc08-f69762d4b20e" providerId="ADAL" clId="{9F5CD523-AC6F-4AC0-9530-F521BCA7F1C5}" dt="2024-06-14T06:25:18.350" v="2629" actId="1076"/>
          <ac:spMkLst>
            <pc:docMk/>
            <pc:sldMk cId="2681829782" sldId="2147482684"/>
            <ac:spMk id="41" creationId="{16BE4872-1A2C-676C-EEAA-9126DB8D9810}"/>
          </ac:spMkLst>
        </pc:spChg>
        <pc:spChg chg="add del mod">
          <ac:chgData name="Gaurav Kesari" userId="5ab21388-baf7-4ff4-bc08-f69762d4b20e" providerId="ADAL" clId="{9F5CD523-AC6F-4AC0-9530-F521BCA7F1C5}" dt="2024-06-14T06:24:54.636" v="2622" actId="478"/>
          <ac:spMkLst>
            <pc:docMk/>
            <pc:sldMk cId="2681829782" sldId="2147482684"/>
            <ac:spMk id="42" creationId="{C3CCFCC1-0569-56B7-C52C-2312DB60D90B}"/>
          </ac:spMkLst>
        </pc:spChg>
        <pc:spChg chg="add mod">
          <ac:chgData name="Gaurav Kesari" userId="5ab21388-baf7-4ff4-bc08-f69762d4b20e" providerId="ADAL" clId="{9F5CD523-AC6F-4AC0-9530-F521BCA7F1C5}" dt="2024-06-14T06:25:12.748" v="2628" actId="1076"/>
          <ac:spMkLst>
            <pc:docMk/>
            <pc:sldMk cId="2681829782" sldId="2147482684"/>
            <ac:spMk id="43" creationId="{CACB8A6C-430D-4747-5595-AAE3385FCE3C}"/>
          </ac:spMkLst>
        </pc:spChg>
        <pc:spChg chg="add del mod">
          <ac:chgData name="Gaurav Kesari" userId="5ab21388-baf7-4ff4-bc08-f69762d4b20e" providerId="ADAL" clId="{9F5CD523-AC6F-4AC0-9530-F521BCA7F1C5}" dt="2024-06-14T06:22:20.833" v="2518" actId="478"/>
          <ac:spMkLst>
            <pc:docMk/>
            <pc:sldMk cId="2681829782" sldId="2147482684"/>
            <ac:spMk id="44" creationId="{E8B61279-C3DD-FD52-A418-5C3601EE2811}"/>
          </ac:spMkLst>
        </pc:spChg>
        <pc:spChg chg="add del mod">
          <ac:chgData name="Gaurav Kesari" userId="5ab21388-baf7-4ff4-bc08-f69762d4b20e" providerId="ADAL" clId="{9F5CD523-AC6F-4AC0-9530-F521BCA7F1C5}" dt="2024-06-14T06:22:17.596" v="2515" actId="478"/>
          <ac:spMkLst>
            <pc:docMk/>
            <pc:sldMk cId="2681829782" sldId="2147482684"/>
            <ac:spMk id="45" creationId="{F667609A-713D-815C-8E82-17ED9A81A0A1}"/>
          </ac:spMkLst>
        </pc:spChg>
        <pc:spChg chg="add mod">
          <ac:chgData name="Gaurav Kesari" userId="5ab21388-baf7-4ff4-bc08-f69762d4b20e" providerId="ADAL" clId="{9F5CD523-AC6F-4AC0-9530-F521BCA7F1C5}" dt="2024-06-14T06:26:01.186" v="2763" actId="1037"/>
          <ac:spMkLst>
            <pc:docMk/>
            <pc:sldMk cId="2681829782" sldId="2147482684"/>
            <ac:spMk id="46" creationId="{0563ABC3-6433-D9BE-7042-116E771C0868}"/>
          </ac:spMkLst>
        </pc:spChg>
        <pc:spChg chg="add del mod">
          <ac:chgData name="Gaurav Kesari" userId="5ab21388-baf7-4ff4-bc08-f69762d4b20e" providerId="ADAL" clId="{9F5CD523-AC6F-4AC0-9530-F521BCA7F1C5}" dt="2024-06-14T06:24:53.705" v="2621" actId="478"/>
          <ac:spMkLst>
            <pc:docMk/>
            <pc:sldMk cId="2681829782" sldId="2147482684"/>
            <ac:spMk id="47" creationId="{7EF75B27-4290-ED9B-DF22-45CBBD9A2475}"/>
          </ac:spMkLst>
        </pc:spChg>
        <pc:spChg chg="add mod">
          <ac:chgData name="Gaurav Kesari" userId="5ab21388-baf7-4ff4-bc08-f69762d4b20e" providerId="ADAL" clId="{9F5CD523-AC6F-4AC0-9530-F521BCA7F1C5}" dt="2024-06-14T06:22:02.369" v="2513" actId="1035"/>
          <ac:spMkLst>
            <pc:docMk/>
            <pc:sldMk cId="2681829782" sldId="2147482684"/>
            <ac:spMk id="53" creationId="{719D279E-13AC-672B-E4E4-BCF6F0AFEF12}"/>
          </ac:spMkLst>
        </pc:spChg>
        <pc:spChg chg="add mod">
          <ac:chgData name="Gaurav Kesari" userId="5ab21388-baf7-4ff4-bc08-f69762d4b20e" providerId="ADAL" clId="{9F5CD523-AC6F-4AC0-9530-F521BCA7F1C5}" dt="2024-06-14T06:22:02.369" v="2513" actId="1035"/>
          <ac:spMkLst>
            <pc:docMk/>
            <pc:sldMk cId="2681829782" sldId="2147482684"/>
            <ac:spMk id="54" creationId="{6FD12677-44F7-5A9C-CFDA-9938B79C919A}"/>
          </ac:spMkLst>
        </pc:spChg>
        <pc:spChg chg="add del mod">
          <ac:chgData name="Gaurav Kesari" userId="5ab21388-baf7-4ff4-bc08-f69762d4b20e" providerId="ADAL" clId="{9F5CD523-AC6F-4AC0-9530-F521BCA7F1C5}" dt="2024-06-14T06:21:44.725" v="2398" actId="478"/>
          <ac:spMkLst>
            <pc:docMk/>
            <pc:sldMk cId="2681829782" sldId="2147482684"/>
            <ac:spMk id="56" creationId="{E66E005E-368D-3A6C-1A7B-982999916FC5}"/>
          </ac:spMkLst>
        </pc:spChg>
        <pc:spChg chg="add del mod">
          <ac:chgData name="Gaurav Kesari" userId="5ab21388-baf7-4ff4-bc08-f69762d4b20e" providerId="ADAL" clId="{9F5CD523-AC6F-4AC0-9530-F521BCA7F1C5}" dt="2024-06-14T06:21:42.516" v="2396" actId="478"/>
          <ac:spMkLst>
            <pc:docMk/>
            <pc:sldMk cId="2681829782" sldId="2147482684"/>
            <ac:spMk id="57" creationId="{49DA92A9-414B-E912-5920-00F4D3F427C6}"/>
          </ac:spMkLst>
        </pc:spChg>
        <pc:spChg chg="add del mod">
          <ac:chgData name="Gaurav Kesari" userId="5ab21388-baf7-4ff4-bc08-f69762d4b20e" providerId="ADAL" clId="{9F5CD523-AC6F-4AC0-9530-F521BCA7F1C5}" dt="2024-06-14T06:24:14.455" v="2615" actId="478"/>
          <ac:spMkLst>
            <pc:docMk/>
            <pc:sldMk cId="2681829782" sldId="2147482684"/>
            <ac:spMk id="59" creationId="{FA88C9F3-4C27-D8E3-1BE3-C25508DF877A}"/>
          </ac:spMkLst>
        </pc:spChg>
        <pc:spChg chg="add mod">
          <ac:chgData name="Gaurav Kesari" userId="5ab21388-baf7-4ff4-bc08-f69762d4b20e" providerId="ADAL" clId="{9F5CD523-AC6F-4AC0-9530-F521BCA7F1C5}" dt="2024-06-14T06:23:27.045" v="2582"/>
          <ac:spMkLst>
            <pc:docMk/>
            <pc:sldMk cId="2681829782" sldId="2147482684"/>
            <ac:spMk id="66" creationId="{81F601FD-D1A9-E83E-4F34-B2645ADB6B0D}"/>
          </ac:spMkLst>
        </pc:spChg>
        <pc:spChg chg="add mod">
          <ac:chgData name="Gaurav Kesari" userId="5ab21388-baf7-4ff4-bc08-f69762d4b20e" providerId="ADAL" clId="{9F5CD523-AC6F-4AC0-9530-F521BCA7F1C5}" dt="2024-06-14T06:23:27.045" v="2582"/>
          <ac:spMkLst>
            <pc:docMk/>
            <pc:sldMk cId="2681829782" sldId="2147482684"/>
            <ac:spMk id="67" creationId="{DE240C69-0E80-DEA2-F51F-F1D261287090}"/>
          </ac:spMkLst>
        </pc:spChg>
        <pc:spChg chg="add mod">
          <ac:chgData name="Gaurav Kesari" userId="5ab21388-baf7-4ff4-bc08-f69762d4b20e" providerId="ADAL" clId="{9F5CD523-AC6F-4AC0-9530-F521BCA7F1C5}" dt="2024-06-14T06:23:27.045" v="2582"/>
          <ac:spMkLst>
            <pc:docMk/>
            <pc:sldMk cId="2681829782" sldId="2147482684"/>
            <ac:spMk id="68" creationId="{496E815B-EDF5-9003-B172-F24A62FB05FF}"/>
          </ac:spMkLst>
        </pc:spChg>
        <pc:spChg chg="add mod">
          <ac:chgData name="Gaurav Kesari" userId="5ab21388-baf7-4ff4-bc08-f69762d4b20e" providerId="ADAL" clId="{9F5CD523-AC6F-4AC0-9530-F521BCA7F1C5}" dt="2024-06-14T06:23:27.045" v="2582"/>
          <ac:spMkLst>
            <pc:docMk/>
            <pc:sldMk cId="2681829782" sldId="2147482684"/>
            <ac:spMk id="69" creationId="{DE78CAA7-CD80-1187-DE76-6306522EB3EE}"/>
          </ac:spMkLst>
        </pc:spChg>
        <pc:spChg chg="add mod">
          <ac:chgData name="Gaurav Kesari" userId="5ab21388-baf7-4ff4-bc08-f69762d4b20e" providerId="ADAL" clId="{9F5CD523-AC6F-4AC0-9530-F521BCA7F1C5}" dt="2024-06-14T06:23:27.045" v="2582"/>
          <ac:spMkLst>
            <pc:docMk/>
            <pc:sldMk cId="2681829782" sldId="2147482684"/>
            <ac:spMk id="72" creationId="{94321D13-2225-ADCF-A8D2-E6B1CDCEFB95}"/>
          </ac:spMkLst>
        </pc:spChg>
        <pc:spChg chg="add mod">
          <ac:chgData name="Gaurav Kesari" userId="5ab21388-baf7-4ff4-bc08-f69762d4b20e" providerId="ADAL" clId="{9F5CD523-AC6F-4AC0-9530-F521BCA7F1C5}" dt="2024-06-14T06:23:27.045" v="2582"/>
          <ac:spMkLst>
            <pc:docMk/>
            <pc:sldMk cId="2681829782" sldId="2147482684"/>
            <ac:spMk id="73" creationId="{E632FE99-F38D-DB8A-C3FA-C95DEBE5AF0E}"/>
          </ac:spMkLst>
        </pc:spChg>
        <pc:spChg chg="add mod">
          <ac:chgData name="Gaurav Kesari" userId="5ab21388-baf7-4ff4-bc08-f69762d4b20e" providerId="ADAL" clId="{9F5CD523-AC6F-4AC0-9530-F521BCA7F1C5}" dt="2024-06-14T06:23:27.045" v="2582"/>
          <ac:spMkLst>
            <pc:docMk/>
            <pc:sldMk cId="2681829782" sldId="2147482684"/>
            <ac:spMk id="74" creationId="{9A54A534-71B5-3CE4-ACD8-80DE3E1F013F}"/>
          </ac:spMkLst>
        </pc:spChg>
        <pc:spChg chg="add mod">
          <ac:chgData name="Gaurav Kesari" userId="5ab21388-baf7-4ff4-bc08-f69762d4b20e" providerId="ADAL" clId="{9F5CD523-AC6F-4AC0-9530-F521BCA7F1C5}" dt="2024-06-14T06:23:27.045" v="2582"/>
          <ac:spMkLst>
            <pc:docMk/>
            <pc:sldMk cId="2681829782" sldId="2147482684"/>
            <ac:spMk id="75" creationId="{71982526-BBC2-C511-245A-DACF5C804266}"/>
          </ac:spMkLst>
        </pc:spChg>
        <pc:spChg chg="add mod">
          <ac:chgData name="Gaurav Kesari" userId="5ab21388-baf7-4ff4-bc08-f69762d4b20e" providerId="ADAL" clId="{9F5CD523-AC6F-4AC0-9530-F521BCA7F1C5}" dt="2024-06-14T06:23:27.045" v="2582"/>
          <ac:spMkLst>
            <pc:docMk/>
            <pc:sldMk cId="2681829782" sldId="2147482684"/>
            <ac:spMk id="76" creationId="{F24D4446-C144-7274-7A4B-5C8B326E7F2A}"/>
          </ac:spMkLst>
        </pc:spChg>
        <pc:spChg chg="add mod">
          <ac:chgData name="Gaurav Kesari" userId="5ab21388-baf7-4ff4-bc08-f69762d4b20e" providerId="ADAL" clId="{9F5CD523-AC6F-4AC0-9530-F521BCA7F1C5}" dt="2024-06-14T06:23:27.045" v="2582"/>
          <ac:spMkLst>
            <pc:docMk/>
            <pc:sldMk cId="2681829782" sldId="2147482684"/>
            <ac:spMk id="77" creationId="{D9E96402-FDB6-999C-5412-0A0A86719B93}"/>
          </ac:spMkLst>
        </pc:spChg>
        <pc:spChg chg="add mod">
          <ac:chgData name="Gaurav Kesari" userId="5ab21388-baf7-4ff4-bc08-f69762d4b20e" providerId="ADAL" clId="{9F5CD523-AC6F-4AC0-9530-F521BCA7F1C5}" dt="2024-06-14T06:23:27.045" v="2582"/>
          <ac:spMkLst>
            <pc:docMk/>
            <pc:sldMk cId="2681829782" sldId="2147482684"/>
            <ac:spMk id="78" creationId="{1629BEC7-A379-8850-7B50-99FBF5DAC01C}"/>
          </ac:spMkLst>
        </pc:spChg>
        <pc:spChg chg="add mod">
          <ac:chgData name="Gaurav Kesari" userId="5ab21388-baf7-4ff4-bc08-f69762d4b20e" providerId="ADAL" clId="{9F5CD523-AC6F-4AC0-9530-F521BCA7F1C5}" dt="2024-06-14T06:23:27.045" v="2582"/>
          <ac:spMkLst>
            <pc:docMk/>
            <pc:sldMk cId="2681829782" sldId="2147482684"/>
            <ac:spMk id="79" creationId="{269D54EE-FA3D-9257-9C41-45D879D95CA8}"/>
          </ac:spMkLst>
        </pc:spChg>
        <pc:spChg chg="add mod">
          <ac:chgData name="Gaurav Kesari" userId="5ab21388-baf7-4ff4-bc08-f69762d4b20e" providerId="ADAL" clId="{9F5CD523-AC6F-4AC0-9530-F521BCA7F1C5}" dt="2024-06-14T06:23:27.045" v="2582"/>
          <ac:spMkLst>
            <pc:docMk/>
            <pc:sldMk cId="2681829782" sldId="2147482684"/>
            <ac:spMk id="80" creationId="{41C82980-546A-4770-4CA4-6110DA3AB727}"/>
          </ac:spMkLst>
        </pc:spChg>
        <pc:spChg chg="add mod">
          <ac:chgData name="Gaurav Kesari" userId="5ab21388-baf7-4ff4-bc08-f69762d4b20e" providerId="ADAL" clId="{9F5CD523-AC6F-4AC0-9530-F521BCA7F1C5}" dt="2024-06-14T06:23:27.045" v="2582"/>
          <ac:spMkLst>
            <pc:docMk/>
            <pc:sldMk cId="2681829782" sldId="2147482684"/>
            <ac:spMk id="86" creationId="{4EC9817D-4411-D946-8015-2743A6482192}"/>
          </ac:spMkLst>
        </pc:spChg>
        <pc:spChg chg="add mod">
          <ac:chgData name="Gaurav Kesari" userId="5ab21388-baf7-4ff4-bc08-f69762d4b20e" providerId="ADAL" clId="{9F5CD523-AC6F-4AC0-9530-F521BCA7F1C5}" dt="2024-06-14T06:23:27.045" v="2582"/>
          <ac:spMkLst>
            <pc:docMk/>
            <pc:sldMk cId="2681829782" sldId="2147482684"/>
            <ac:spMk id="87" creationId="{DF99B25D-3051-E345-5362-28807204ED92}"/>
          </ac:spMkLst>
        </pc:spChg>
        <pc:spChg chg="add mod">
          <ac:chgData name="Gaurav Kesari" userId="5ab21388-baf7-4ff4-bc08-f69762d4b20e" providerId="ADAL" clId="{9F5CD523-AC6F-4AC0-9530-F521BCA7F1C5}" dt="2024-06-14T06:23:27.045" v="2582"/>
          <ac:spMkLst>
            <pc:docMk/>
            <pc:sldMk cId="2681829782" sldId="2147482684"/>
            <ac:spMk id="89" creationId="{1696FA2D-7A00-D673-FC38-A9185F4CE7EF}"/>
          </ac:spMkLst>
        </pc:spChg>
        <pc:spChg chg="add mod">
          <ac:chgData name="Gaurav Kesari" userId="5ab21388-baf7-4ff4-bc08-f69762d4b20e" providerId="ADAL" clId="{9F5CD523-AC6F-4AC0-9530-F521BCA7F1C5}" dt="2024-06-14T06:23:27.045" v="2582"/>
          <ac:spMkLst>
            <pc:docMk/>
            <pc:sldMk cId="2681829782" sldId="2147482684"/>
            <ac:spMk id="90" creationId="{5B17B27B-452C-0511-E50D-C0A6A1DF5317}"/>
          </ac:spMkLst>
        </pc:spChg>
        <pc:spChg chg="add mod">
          <ac:chgData name="Gaurav Kesari" userId="5ab21388-baf7-4ff4-bc08-f69762d4b20e" providerId="ADAL" clId="{9F5CD523-AC6F-4AC0-9530-F521BCA7F1C5}" dt="2024-06-14T06:23:27.045" v="2582"/>
          <ac:spMkLst>
            <pc:docMk/>
            <pc:sldMk cId="2681829782" sldId="2147482684"/>
            <ac:spMk id="92" creationId="{F4C06180-CF66-0456-44A3-8974B1A02672}"/>
          </ac:spMkLst>
        </pc:spChg>
        <pc:spChg chg="add mod">
          <ac:chgData name="Gaurav Kesari" userId="5ab21388-baf7-4ff4-bc08-f69762d4b20e" providerId="ADAL" clId="{9F5CD523-AC6F-4AC0-9530-F521BCA7F1C5}" dt="2024-06-14T06:25:57.829" v="2759" actId="1037"/>
          <ac:spMkLst>
            <pc:docMk/>
            <pc:sldMk cId="2681829782" sldId="2147482684"/>
            <ac:spMk id="94" creationId="{8CC40C48-6314-8BDB-ECD4-30AD701DE870}"/>
          </ac:spMkLst>
        </pc:spChg>
        <pc:spChg chg="add mod">
          <ac:chgData name="Gaurav Kesari" userId="5ab21388-baf7-4ff4-bc08-f69762d4b20e" providerId="ADAL" clId="{9F5CD523-AC6F-4AC0-9530-F521BCA7F1C5}" dt="2024-06-14T06:25:57.829" v="2759" actId="1037"/>
          <ac:spMkLst>
            <pc:docMk/>
            <pc:sldMk cId="2681829782" sldId="2147482684"/>
            <ac:spMk id="95" creationId="{FB1E0F13-EB39-97E6-D460-1F21C0E6FE00}"/>
          </ac:spMkLst>
        </pc:spChg>
        <pc:picChg chg="add mod">
          <ac:chgData name="Gaurav Kesari" userId="5ab21388-baf7-4ff4-bc08-f69762d4b20e" providerId="ADAL" clId="{9F5CD523-AC6F-4AC0-9530-F521BCA7F1C5}" dt="2024-06-14T06:21:15.361" v="2365"/>
          <ac:picMkLst>
            <pc:docMk/>
            <pc:sldMk cId="2681829782" sldId="2147482684"/>
            <ac:picMk id="27" creationId="{3CD8CE1E-8F4D-6511-05A7-75224F9E49F3}"/>
          </ac:picMkLst>
        </pc:picChg>
        <pc:picChg chg="add mod">
          <ac:chgData name="Gaurav Kesari" userId="5ab21388-baf7-4ff4-bc08-f69762d4b20e" providerId="ADAL" clId="{9F5CD523-AC6F-4AC0-9530-F521BCA7F1C5}" dt="2024-06-14T06:21:15.361" v="2365"/>
          <ac:picMkLst>
            <pc:docMk/>
            <pc:sldMk cId="2681829782" sldId="2147482684"/>
            <ac:picMk id="30" creationId="{B22B7098-2696-EAA4-4914-C7FA43B3BCA1}"/>
          </ac:picMkLst>
        </pc:picChg>
        <pc:picChg chg="add mod">
          <ac:chgData name="Gaurav Kesari" userId="5ab21388-baf7-4ff4-bc08-f69762d4b20e" providerId="ADAL" clId="{9F5CD523-AC6F-4AC0-9530-F521BCA7F1C5}" dt="2024-06-14T06:21:15.361" v="2365"/>
          <ac:picMkLst>
            <pc:docMk/>
            <pc:sldMk cId="2681829782" sldId="2147482684"/>
            <ac:picMk id="32" creationId="{977FED92-C096-B655-BEC2-7970776B8FA9}"/>
          </ac:picMkLst>
        </pc:picChg>
        <pc:picChg chg="add del mod">
          <ac:chgData name="Gaurav Kesari" userId="5ab21388-baf7-4ff4-bc08-f69762d4b20e" providerId="ADAL" clId="{9F5CD523-AC6F-4AC0-9530-F521BCA7F1C5}" dt="2024-06-14T06:21:43.462" v="2397" actId="478"/>
          <ac:picMkLst>
            <pc:docMk/>
            <pc:sldMk cId="2681829782" sldId="2147482684"/>
            <ac:picMk id="55" creationId="{600006B1-7F6D-AE8B-C58F-73C29C88B61A}"/>
          </ac:picMkLst>
        </pc:picChg>
        <pc:picChg chg="add mod">
          <ac:chgData name="Gaurav Kesari" userId="5ab21388-baf7-4ff4-bc08-f69762d4b20e" providerId="ADAL" clId="{9F5CD523-AC6F-4AC0-9530-F521BCA7F1C5}" dt="2024-06-14T06:26:01.186" v="2763" actId="1037"/>
          <ac:picMkLst>
            <pc:docMk/>
            <pc:sldMk cId="2681829782" sldId="2147482684"/>
            <ac:picMk id="58" creationId="{F1A64201-8BE1-05B4-CA4C-B8697D0A4AD6}"/>
          </ac:picMkLst>
        </pc:picChg>
        <pc:picChg chg="add del mod">
          <ac:chgData name="Gaurav Kesari" userId="5ab21388-baf7-4ff4-bc08-f69762d4b20e" providerId="ADAL" clId="{9F5CD523-AC6F-4AC0-9530-F521BCA7F1C5}" dt="2024-06-14T06:24:12.763" v="2614" actId="478"/>
          <ac:picMkLst>
            <pc:docMk/>
            <pc:sldMk cId="2681829782" sldId="2147482684"/>
            <ac:picMk id="60" creationId="{8D5A6AC5-1D69-A2AA-815F-74D366EAF2CA}"/>
          </ac:picMkLst>
        </pc:picChg>
        <pc:picChg chg="add mod">
          <ac:chgData name="Gaurav Kesari" userId="5ab21388-baf7-4ff4-bc08-f69762d4b20e" providerId="ADAL" clId="{9F5CD523-AC6F-4AC0-9530-F521BCA7F1C5}" dt="2024-06-14T06:23:27.045" v="2582"/>
          <ac:picMkLst>
            <pc:docMk/>
            <pc:sldMk cId="2681829782" sldId="2147482684"/>
            <ac:picMk id="88" creationId="{1BAF2527-84B2-1B45-76DB-264364283D7C}"/>
          </ac:picMkLst>
        </pc:picChg>
        <pc:picChg chg="add mod">
          <ac:chgData name="Gaurav Kesari" userId="5ab21388-baf7-4ff4-bc08-f69762d4b20e" providerId="ADAL" clId="{9F5CD523-AC6F-4AC0-9530-F521BCA7F1C5}" dt="2024-06-14T06:23:27.045" v="2582"/>
          <ac:picMkLst>
            <pc:docMk/>
            <pc:sldMk cId="2681829782" sldId="2147482684"/>
            <ac:picMk id="91" creationId="{89824847-28A5-6C76-2961-DBD7D9718746}"/>
          </ac:picMkLst>
        </pc:picChg>
        <pc:picChg chg="add mod">
          <ac:chgData name="Gaurav Kesari" userId="5ab21388-baf7-4ff4-bc08-f69762d4b20e" providerId="ADAL" clId="{9F5CD523-AC6F-4AC0-9530-F521BCA7F1C5}" dt="2024-06-14T06:23:27.045" v="2582"/>
          <ac:picMkLst>
            <pc:docMk/>
            <pc:sldMk cId="2681829782" sldId="2147482684"/>
            <ac:picMk id="93" creationId="{6B387B20-D836-E627-983C-76162EE801AB}"/>
          </ac:picMkLst>
        </pc:picChg>
        <pc:cxnChg chg="add mod">
          <ac:chgData name="Gaurav Kesari" userId="5ab21388-baf7-4ff4-bc08-f69762d4b20e" providerId="ADAL" clId="{9F5CD523-AC6F-4AC0-9530-F521BCA7F1C5}" dt="2024-06-14T06:21:15.361" v="2365"/>
          <ac:cxnSpMkLst>
            <pc:docMk/>
            <pc:sldMk cId="2681829782" sldId="2147482684"/>
            <ac:cxnSpMk id="9" creationId="{9336ED0E-EAE7-9ACC-BE40-8E48501D7344}"/>
          </ac:cxnSpMkLst>
        </pc:cxnChg>
        <pc:cxnChg chg="add mod">
          <ac:chgData name="Gaurav Kesari" userId="5ab21388-baf7-4ff4-bc08-f69762d4b20e" providerId="ADAL" clId="{9F5CD523-AC6F-4AC0-9530-F521BCA7F1C5}" dt="2024-06-14T06:21:15.361" v="2365"/>
          <ac:cxnSpMkLst>
            <pc:docMk/>
            <pc:sldMk cId="2681829782" sldId="2147482684"/>
            <ac:cxnSpMk id="10" creationId="{4A6684C0-0302-3F08-EB6C-D3A0D8B2A3BF}"/>
          </ac:cxnSpMkLst>
        </pc:cxnChg>
        <pc:cxnChg chg="add mod">
          <ac:chgData name="Gaurav Kesari" userId="5ab21388-baf7-4ff4-bc08-f69762d4b20e" providerId="ADAL" clId="{9F5CD523-AC6F-4AC0-9530-F521BCA7F1C5}" dt="2024-06-14T06:21:15.361" v="2365"/>
          <ac:cxnSpMkLst>
            <pc:docMk/>
            <pc:sldMk cId="2681829782" sldId="2147482684"/>
            <ac:cxnSpMk id="20" creationId="{DE7813BD-E845-2EAF-989A-2A665FC9EB4B}"/>
          </ac:cxnSpMkLst>
        </pc:cxnChg>
        <pc:cxnChg chg="add mod">
          <ac:chgData name="Gaurav Kesari" userId="5ab21388-baf7-4ff4-bc08-f69762d4b20e" providerId="ADAL" clId="{9F5CD523-AC6F-4AC0-9530-F521BCA7F1C5}" dt="2024-06-14T06:21:15.361" v="2365"/>
          <ac:cxnSpMkLst>
            <pc:docMk/>
            <pc:sldMk cId="2681829782" sldId="2147482684"/>
            <ac:cxnSpMk id="21" creationId="{8078E3E3-F9C1-7479-4830-D780BDD3604E}"/>
          </ac:cxnSpMkLst>
        </pc:cxnChg>
        <pc:cxnChg chg="add mod">
          <ac:chgData name="Gaurav Kesari" userId="5ab21388-baf7-4ff4-bc08-f69762d4b20e" providerId="ADAL" clId="{9F5CD523-AC6F-4AC0-9530-F521BCA7F1C5}" dt="2024-06-14T06:21:15.361" v="2365"/>
          <ac:cxnSpMkLst>
            <pc:docMk/>
            <pc:sldMk cId="2681829782" sldId="2147482684"/>
            <ac:cxnSpMk id="22" creationId="{61907C0B-4D52-BD50-F080-E624CA6F65A0}"/>
          </ac:cxnSpMkLst>
        </pc:cxnChg>
        <pc:cxnChg chg="add mod">
          <ac:chgData name="Gaurav Kesari" userId="5ab21388-baf7-4ff4-bc08-f69762d4b20e" providerId="ADAL" clId="{9F5CD523-AC6F-4AC0-9530-F521BCA7F1C5}" dt="2024-06-14T06:21:15.361" v="2365"/>
          <ac:cxnSpMkLst>
            <pc:docMk/>
            <pc:sldMk cId="2681829782" sldId="2147482684"/>
            <ac:cxnSpMk id="23" creationId="{5874252B-1E9E-940E-F2CF-DE4579FBBD3A}"/>
          </ac:cxnSpMkLst>
        </pc:cxnChg>
        <pc:cxnChg chg="add mod">
          <ac:chgData name="Gaurav Kesari" userId="5ab21388-baf7-4ff4-bc08-f69762d4b20e" providerId="ADAL" clId="{9F5CD523-AC6F-4AC0-9530-F521BCA7F1C5}" dt="2024-06-14T06:21:15.361" v="2365"/>
          <ac:cxnSpMkLst>
            <pc:docMk/>
            <pc:sldMk cId="2681829782" sldId="2147482684"/>
            <ac:cxnSpMk id="24" creationId="{99AECBB1-0E7A-1213-83A6-04ABE718AA10}"/>
          </ac:cxnSpMkLst>
        </pc:cxnChg>
        <pc:cxnChg chg="add del mod">
          <ac:chgData name="Gaurav Kesari" userId="5ab21388-baf7-4ff4-bc08-f69762d4b20e" providerId="ADAL" clId="{9F5CD523-AC6F-4AC0-9530-F521BCA7F1C5}" dt="2024-06-14T06:24:44.534" v="2620" actId="478"/>
          <ac:cxnSpMkLst>
            <pc:docMk/>
            <pc:sldMk cId="2681829782" sldId="2147482684"/>
            <ac:cxnSpMk id="37" creationId="{6317C1AF-48A4-6078-93E3-613DEDBA70D0}"/>
          </ac:cxnSpMkLst>
        </pc:cxnChg>
        <pc:cxnChg chg="add del mod">
          <ac:chgData name="Gaurav Kesari" userId="5ab21388-baf7-4ff4-bc08-f69762d4b20e" providerId="ADAL" clId="{9F5CD523-AC6F-4AC0-9530-F521BCA7F1C5}" dt="2024-06-14T06:24:37.178" v="2618" actId="478"/>
          <ac:cxnSpMkLst>
            <pc:docMk/>
            <pc:sldMk cId="2681829782" sldId="2147482684"/>
            <ac:cxnSpMk id="38" creationId="{D8DD8685-104D-9B80-5E67-FC047EECF337}"/>
          </ac:cxnSpMkLst>
        </pc:cxnChg>
        <pc:cxnChg chg="add mod">
          <ac:chgData name="Gaurav Kesari" userId="5ab21388-baf7-4ff4-bc08-f69762d4b20e" providerId="ADAL" clId="{9F5CD523-AC6F-4AC0-9530-F521BCA7F1C5}" dt="2024-06-14T06:25:08.330" v="2627" actId="1076"/>
          <ac:cxnSpMkLst>
            <pc:docMk/>
            <pc:sldMk cId="2681829782" sldId="2147482684"/>
            <ac:cxnSpMk id="48" creationId="{70B9070A-F517-3A4F-CB15-4C337A9D8435}"/>
          </ac:cxnSpMkLst>
        </pc:cxnChg>
        <pc:cxnChg chg="add mod">
          <ac:chgData name="Gaurav Kesari" userId="5ab21388-baf7-4ff4-bc08-f69762d4b20e" providerId="ADAL" clId="{9F5CD523-AC6F-4AC0-9530-F521BCA7F1C5}" dt="2024-06-14T06:26:01.186" v="2763" actId="1037"/>
          <ac:cxnSpMkLst>
            <pc:docMk/>
            <pc:sldMk cId="2681829782" sldId="2147482684"/>
            <ac:cxnSpMk id="49" creationId="{5DD03033-9DF7-5910-0924-2C4C9FF392B6}"/>
          </ac:cxnSpMkLst>
        </pc:cxnChg>
        <pc:cxnChg chg="add mod">
          <ac:chgData name="Gaurav Kesari" userId="5ab21388-baf7-4ff4-bc08-f69762d4b20e" providerId="ADAL" clId="{9F5CD523-AC6F-4AC0-9530-F521BCA7F1C5}" dt="2024-06-14T06:25:57.829" v="2759" actId="1037"/>
          <ac:cxnSpMkLst>
            <pc:docMk/>
            <pc:sldMk cId="2681829782" sldId="2147482684"/>
            <ac:cxnSpMk id="50" creationId="{566E5842-86F4-A257-83B9-3700F6A5D834}"/>
          </ac:cxnSpMkLst>
        </pc:cxnChg>
        <pc:cxnChg chg="add mod">
          <ac:chgData name="Gaurav Kesari" userId="5ab21388-baf7-4ff4-bc08-f69762d4b20e" providerId="ADAL" clId="{9F5CD523-AC6F-4AC0-9530-F521BCA7F1C5}" dt="2024-06-14T06:22:44.510" v="2522" actId="14100"/>
          <ac:cxnSpMkLst>
            <pc:docMk/>
            <pc:sldMk cId="2681829782" sldId="2147482684"/>
            <ac:cxnSpMk id="51" creationId="{FB50DE72-E020-5B17-AAE2-0B37777F3E86}"/>
          </ac:cxnSpMkLst>
        </pc:cxnChg>
        <pc:cxnChg chg="add del mod">
          <ac:chgData name="Gaurav Kesari" userId="5ab21388-baf7-4ff4-bc08-f69762d4b20e" providerId="ADAL" clId="{9F5CD523-AC6F-4AC0-9530-F521BCA7F1C5}" dt="2024-06-14T06:21:45.358" v="2399" actId="478"/>
          <ac:cxnSpMkLst>
            <pc:docMk/>
            <pc:sldMk cId="2681829782" sldId="2147482684"/>
            <ac:cxnSpMk id="52" creationId="{EC797514-6E8D-0296-C536-067B18747D20}"/>
          </ac:cxnSpMkLst>
        </pc:cxnChg>
        <pc:cxnChg chg="add mod">
          <ac:chgData name="Gaurav Kesari" userId="5ab21388-baf7-4ff4-bc08-f69762d4b20e" providerId="ADAL" clId="{9F5CD523-AC6F-4AC0-9530-F521BCA7F1C5}" dt="2024-06-14T06:23:27.045" v="2582"/>
          <ac:cxnSpMkLst>
            <pc:docMk/>
            <pc:sldMk cId="2681829782" sldId="2147482684"/>
            <ac:cxnSpMk id="70" creationId="{7A9B3416-C7B3-E04D-3A97-0D249AE5AFA4}"/>
          </ac:cxnSpMkLst>
        </pc:cxnChg>
        <pc:cxnChg chg="add mod">
          <ac:chgData name="Gaurav Kesari" userId="5ab21388-baf7-4ff4-bc08-f69762d4b20e" providerId="ADAL" clId="{9F5CD523-AC6F-4AC0-9530-F521BCA7F1C5}" dt="2024-06-14T06:23:27.045" v="2582"/>
          <ac:cxnSpMkLst>
            <pc:docMk/>
            <pc:sldMk cId="2681829782" sldId="2147482684"/>
            <ac:cxnSpMk id="71" creationId="{7D687E53-5216-399A-36CE-79448AA2F834}"/>
          </ac:cxnSpMkLst>
        </pc:cxnChg>
        <pc:cxnChg chg="add mod">
          <ac:chgData name="Gaurav Kesari" userId="5ab21388-baf7-4ff4-bc08-f69762d4b20e" providerId="ADAL" clId="{9F5CD523-AC6F-4AC0-9530-F521BCA7F1C5}" dt="2024-06-14T06:23:27.045" v="2582"/>
          <ac:cxnSpMkLst>
            <pc:docMk/>
            <pc:sldMk cId="2681829782" sldId="2147482684"/>
            <ac:cxnSpMk id="81" creationId="{54A9C736-58D0-34B8-62DD-2BA70DC088DB}"/>
          </ac:cxnSpMkLst>
        </pc:cxnChg>
        <pc:cxnChg chg="add mod">
          <ac:chgData name="Gaurav Kesari" userId="5ab21388-baf7-4ff4-bc08-f69762d4b20e" providerId="ADAL" clId="{9F5CD523-AC6F-4AC0-9530-F521BCA7F1C5}" dt="2024-06-14T06:23:27.045" v="2582"/>
          <ac:cxnSpMkLst>
            <pc:docMk/>
            <pc:sldMk cId="2681829782" sldId="2147482684"/>
            <ac:cxnSpMk id="82" creationId="{BD47E61E-9172-C362-DC7C-7F174163F15C}"/>
          </ac:cxnSpMkLst>
        </pc:cxnChg>
        <pc:cxnChg chg="add mod">
          <ac:chgData name="Gaurav Kesari" userId="5ab21388-baf7-4ff4-bc08-f69762d4b20e" providerId="ADAL" clId="{9F5CD523-AC6F-4AC0-9530-F521BCA7F1C5}" dt="2024-06-14T06:23:27.045" v="2582"/>
          <ac:cxnSpMkLst>
            <pc:docMk/>
            <pc:sldMk cId="2681829782" sldId="2147482684"/>
            <ac:cxnSpMk id="83" creationId="{777121E2-7B51-46B5-BBAA-07C2B4FF8B48}"/>
          </ac:cxnSpMkLst>
        </pc:cxnChg>
        <pc:cxnChg chg="add mod">
          <ac:chgData name="Gaurav Kesari" userId="5ab21388-baf7-4ff4-bc08-f69762d4b20e" providerId="ADAL" clId="{9F5CD523-AC6F-4AC0-9530-F521BCA7F1C5}" dt="2024-06-14T06:23:27.045" v="2582"/>
          <ac:cxnSpMkLst>
            <pc:docMk/>
            <pc:sldMk cId="2681829782" sldId="2147482684"/>
            <ac:cxnSpMk id="84" creationId="{7B9939CB-CB96-E4B3-5178-9B9A73EDE806}"/>
          </ac:cxnSpMkLst>
        </pc:cxnChg>
        <pc:cxnChg chg="add mod">
          <ac:chgData name="Gaurav Kesari" userId="5ab21388-baf7-4ff4-bc08-f69762d4b20e" providerId="ADAL" clId="{9F5CD523-AC6F-4AC0-9530-F521BCA7F1C5}" dt="2024-06-14T06:23:27.045" v="2582"/>
          <ac:cxnSpMkLst>
            <pc:docMk/>
            <pc:sldMk cId="2681829782" sldId="2147482684"/>
            <ac:cxnSpMk id="85" creationId="{859F65E9-D677-F344-7D3F-F2B5CEC2625A}"/>
          </ac:cxnSpMkLst>
        </pc:cxnChg>
      </pc:sldChg>
      <pc:sldChg chg="addSp delSp modSp new mod modAnim">
        <pc:chgData name="Gaurav Kesari" userId="5ab21388-baf7-4ff4-bc08-f69762d4b20e" providerId="ADAL" clId="{9F5CD523-AC6F-4AC0-9530-F521BCA7F1C5}" dt="2024-06-18T08:31:51.608" v="4887" actId="20577"/>
        <pc:sldMkLst>
          <pc:docMk/>
          <pc:sldMk cId="455564406" sldId="2147482685"/>
        </pc:sldMkLst>
        <pc:spChg chg="mod">
          <ac:chgData name="Gaurav Kesari" userId="5ab21388-baf7-4ff4-bc08-f69762d4b20e" providerId="ADAL" clId="{9F5CD523-AC6F-4AC0-9530-F521BCA7F1C5}" dt="2024-06-14T12:00:25.666" v="4286" actId="1076"/>
          <ac:spMkLst>
            <pc:docMk/>
            <pc:sldMk cId="455564406" sldId="2147482685"/>
            <ac:spMk id="2" creationId="{5F7CD58C-0080-BAE6-BC74-3F7E6A0196B2}"/>
          </ac:spMkLst>
        </pc:spChg>
        <pc:spChg chg="del">
          <ac:chgData name="Gaurav Kesari" userId="5ab21388-baf7-4ff4-bc08-f69762d4b20e" providerId="ADAL" clId="{9F5CD523-AC6F-4AC0-9530-F521BCA7F1C5}" dt="2024-06-14T08:21:33.639" v="2772" actId="478"/>
          <ac:spMkLst>
            <pc:docMk/>
            <pc:sldMk cId="455564406" sldId="2147482685"/>
            <ac:spMk id="3" creationId="{4823585A-6452-3FB0-BC93-16C237FF61E5}"/>
          </ac:spMkLst>
        </pc:spChg>
        <pc:spChg chg="del">
          <ac:chgData name="Gaurav Kesari" userId="5ab21388-baf7-4ff4-bc08-f69762d4b20e" providerId="ADAL" clId="{9F5CD523-AC6F-4AC0-9530-F521BCA7F1C5}" dt="2024-06-14T08:21:31.144" v="2771" actId="478"/>
          <ac:spMkLst>
            <pc:docMk/>
            <pc:sldMk cId="455564406" sldId="2147482685"/>
            <ac:spMk id="4" creationId="{F64CA9A1-D04B-32F4-2254-ED1EF0E0AE6C}"/>
          </ac:spMkLst>
        </pc:spChg>
        <pc:spChg chg="add mod">
          <ac:chgData name="Gaurav Kesari" userId="5ab21388-baf7-4ff4-bc08-f69762d4b20e" providerId="ADAL" clId="{9F5CD523-AC6F-4AC0-9530-F521BCA7F1C5}" dt="2024-06-14T08:22:15.100" v="2773"/>
          <ac:spMkLst>
            <pc:docMk/>
            <pc:sldMk cId="455564406" sldId="2147482685"/>
            <ac:spMk id="5" creationId="{5858D952-5A53-6F07-7382-E67411583463}"/>
          </ac:spMkLst>
        </pc:spChg>
        <pc:spChg chg="add del mod">
          <ac:chgData name="Gaurav Kesari" userId="5ab21388-baf7-4ff4-bc08-f69762d4b20e" providerId="ADAL" clId="{9F5CD523-AC6F-4AC0-9530-F521BCA7F1C5}" dt="2024-06-14T08:24:54.766" v="2855" actId="478"/>
          <ac:spMkLst>
            <pc:docMk/>
            <pc:sldMk cId="455564406" sldId="2147482685"/>
            <ac:spMk id="6" creationId="{59DF242C-2130-FC9E-2C9C-F4B841D33E99}"/>
          </ac:spMkLst>
        </pc:spChg>
        <pc:spChg chg="mod">
          <ac:chgData name="Gaurav Kesari" userId="5ab21388-baf7-4ff4-bc08-f69762d4b20e" providerId="ADAL" clId="{9F5CD523-AC6F-4AC0-9530-F521BCA7F1C5}" dt="2024-06-14T10:42:22.228" v="3624" actId="1076"/>
          <ac:spMkLst>
            <pc:docMk/>
            <pc:sldMk cId="455564406" sldId="2147482685"/>
            <ac:spMk id="8" creationId="{C9DC0F79-50B7-3A0E-8E86-4BA63B090B67}"/>
          </ac:spMkLst>
        </pc:spChg>
        <pc:spChg chg="add del mod">
          <ac:chgData name="Gaurav Kesari" userId="5ab21388-baf7-4ff4-bc08-f69762d4b20e" providerId="ADAL" clId="{9F5CD523-AC6F-4AC0-9530-F521BCA7F1C5}" dt="2024-06-14T10:42:35.157" v="3668" actId="1038"/>
          <ac:spMkLst>
            <pc:docMk/>
            <pc:sldMk cId="455564406" sldId="2147482685"/>
            <ac:spMk id="9" creationId="{C2C02DF8-1B80-4C06-DCE6-F0B196DFD655}"/>
          </ac:spMkLst>
        </pc:spChg>
        <pc:spChg chg="mod">
          <ac:chgData name="Gaurav Kesari" userId="5ab21388-baf7-4ff4-bc08-f69762d4b20e" providerId="ADAL" clId="{9F5CD523-AC6F-4AC0-9530-F521BCA7F1C5}" dt="2024-06-14T10:42:35.157" v="3668" actId="1038"/>
          <ac:spMkLst>
            <pc:docMk/>
            <pc:sldMk cId="455564406" sldId="2147482685"/>
            <ac:spMk id="10" creationId="{ABE200D0-2572-931B-2EAB-3D62CCB6A12A}"/>
          </ac:spMkLst>
        </pc:spChg>
        <pc:spChg chg="mod">
          <ac:chgData name="Gaurav Kesari" userId="5ab21388-baf7-4ff4-bc08-f69762d4b20e" providerId="ADAL" clId="{9F5CD523-AC6F-4AC0-9530-F521BCA7F1C5}" dt="2024-06-14T10:42:35.157" v="3668" actId="1038"/>
          <ac:spMkLst>
            <pc:docMk/>
            <pc:sldMk cId="455564406" sldId="2147482685"/>
            <ac:spMk id="12" creationId="{19848432-F9ED-93D4-5B9C-13C2FE5E1426}"/>
          </ac:spMkLst>
        </pc:spChg>
        <pc:spChg chg="mod">
          <ac:chgData name="Gaurav Kesari" userId="5ab21388-baf7-4ff4-bc08-f69762d4b20e" providerId="ADAL" clId="{9F5CD523-AC6F-4AC0-9530-F521BCA7F1C5}" dt="2024-06-14T09:11:46.267" v="3090" actId="1076"/>
          <ac:spMkLst>
            <pc:docMk/>
            <pc:sldMk cId="455564406" sldId="2147482685"/>
            <ac:spMk id="14" creationId="{A1CFD15C-E325-5AB3-A513-55B5DF0B0B98}"/>
          </ac:spMkLst>
        </pc:spChg>
        <pc:spChg chg="mod">
          <ac:chgData name="Gaurav Kesari" userId="5ab21388-baf7-4ff4-bc08-f69762d4b20e" providerId="ADAL" clId="{9F5CD523-AC6F-4AC0-9530-F521BCA7F1C5}" dt="2024-06-14T08:22:23.778" v="2774"/>
          <ac:spMkLst>
            <pc:docMk/>
            <pc:sldMk cId="455564406" sldId="2147482685"/>
            <ac:spMk id="16" creationId="{016C4EA6-2E37-B3F5-5A65-5194625CD137}"/>
          </ac:spMkLst>
        </pc:spChg>
        <pc:spChg chg="mod">
          <ac:chgData name="Gaurav Kesari" userId="5ab21388-baf7-4ff4-bc08-f69762d4b20e" providerId="ADAL" clId="{9F5CD523-AC6F-4AC0-9530-F521BCA7F1C5}" dt="2024-06-14T10:42:35.157" v="3668" actId="1038"/>
          <ac:spMkLst>
            <pc:docMk/>
            <pc:sldMk cId="455564406" sldId="2147482685"/>
            <ac:spMk id="19" creationId="{AA0C60EB-2EB0-120F-1706-5D158D624DF5}"/>
          </ac:spMkLst>
        </pc:spChg>
        <pc:spChg chg="del mod">
          <ac:chgData name="Gaurav Kesari" userId="5ab21388-baf7-4ff4-bc08-f69762d4b20e" providerId="ADAL" clId="{9F5CD523-AC6F-4AC0-9530-F521BCA7F1C5}" dt="2024-06-14T08:22:36.039" v="2776" actId="478"/>
          <ac:spMkLst>
            <pc:docMk/>
            <pc:sldMk cId="455564406" sldId="2147482685"/>
            <ac:spMk id="20" creationId="{796EBAA8-403A-7D8B-5106-CC2B3CC7BC16}"/>
          </ac:spMkLst>
        </pc:spChg>
        <pc:spChg chg="mod">
          <ac:chgData name="Gaurav Kesari" userId="5ab21388-baf7-4ff4-bc08-f69762d4b20e" providerId="ADAL" clId="{9F5CD523-AC6F-4AC0-9530-F521BCA7F1C5}" dt="2024-06-14T09:16:31.070" v="3145" actId="14100"/>
          <ac:spMkLst>
            <pc:docMk/>
            <pc:sldMk cId="455564406" sldId="2147482685"/>
            <ac:spMk id="21" creationId="{676343B2-4204-6327-D31E-E54CEA414AC9}"/>
          </ac:spMkLst>
        </pc:spChg>
        <pc:spChg chg="del mod">
          <ac:chgData name="Gaurav Kesari" userId="5ab21388-baf7-4ff4-bc08-f69762d4b20e" providerId="ADAL" clId="{9F5CD523-AC6F-4AC0-9530-F521BCA7F1C5}" dt="2024-06-14T08:22:50.599" v="2780" actId="478"/>
          <ac:spMkLst>
            <pc:docMk/>
            <pc:sldMk cId="455564406" sldId="2147482685"/>
            <ac:spMk id="25" creationId="{274DD9FB-C09F-828C-5CBD-CE14A41479CA}"/>
          </ac:spMkLst>
        </pc:spChg>
        <pc:spChg chg="add del mod">
          <ac:chgData name="Gaurav Kesari" userId="5ab21388-baf7-4ff4-bc08-f69762d4b20e" providerId="ADAL" clId="{9F5CD523-AC6F-4AC0-9530-F521BCA7F1C5}" dt="2024-06-14T08:22:33.532" v="2775" actId="478"/>
          <ac:spMkLst>
            <pc:docMk/>
            <pc:sldMk cId="455564406" sldId="2147482685"/>
            <ac:spMk id="26" creationId="{66ADEE2E-F162-03EA-3576-ACDECD48811D}"/>
          </ac:spMkLst>
        </pc:spChg>
        <pc:spChg chg="add del mod">
          <ac:chgData name="Gaurav Kesari" userId="5ab21388-baf7-4ff4-bc08-f69762d4b20e" providerId="ADAL" clId="{9F5CD523-AC6F-4AC0-9530-F521BCA7F1C5}" dt="2024-06-14T08:22:33.532" v="2775" actId="478"/>
          <ac:spMkLst>
            <pc:docMk/>
            <pc:sldMk cId="455564406" sldId="2147482685"/>
            <ac:spMk id="27" creationId="{61053B73-1D7D-2166-5899-0B0E54C3563C}"/>
          </ac:spMkLst>
        </pc:spChg>
        <pc:spChg chg="add mod">
          <ac:chgData name="Gaurav Kesari" userId="5ab21388-baf7-4ff4-bc08-f69762d4b20e" providerId="ADAL" clId="{9F5CD523-AC6F-4AC0-9530-F521BCA7F1C5}" dt="2024-06-14T10:52:25.044" v="3687" actId="1076"/>
          <ac:spMkLst>
            <pc:docMk/>
            <pc:sldMk cId="455564406" sldId="2147482685"/>
            <ac:spMk id="36" creationId="{25FC2682-13F9-C5F9-FE26-A7AAE0E20103}"/>
          </ac:spMkLst>
        </pc:spChg>
        <pc:spChg chg="add mod">
          <ac:chgData name="Gaurav Kesari" userId="5ab21388-baf7-4ff4-bc08-f69762d4b20e" providerId="ADAL" clId="{9F5CD523-AC6F-4AC0-9530-F521BCA7F1C5}" dt="2024-06-14T09:16:42.516" v="3146"/>
          <ac:spMkLst>
            <pc:docMk/>
            <pc:sldMk cId="455564406" sldId="2147482685"/>
            <ac:spMk id="37" creationId="{6DDD9DE6-8BAB-9876-6532-1A993AB08086}"/>
          </ac:spMkLst>
        </pc:spChg>
        <pc:spChg chg="add del mod">
          <ac:chgData name="Gaurav Kesari" userId="5ab21388-baf7-4ff4-bc08-f69762d4b20e" providerId="ADAL" clId="{9F5CD523-AC6F-4AC0-9530-F521BCA7F1C5}" dt="2024-06-14T12:00:30.689" v="4288" actId="478"/>
          <ac:spMkLst>
            <pc:docMk/>
            <pc:sldMk cId="455564406" sldId="2147482685"/>
            <ac:spMk id="38" creationId="{42C922B5-4E2C-DD26-38EE-13F39342911E}"/>
          </ac:spMkLst>
        </pc:spChg>
        <pc:spChg chg="add mod">
          <ac:chgData name="Gaurav Kesari" userId="5ab21388-baf7-4ff4-bc08-f69762d4b20e" providerId="ADAL" clId="{9F5CD523-AC6F-4AC0-9530-F521BCA7F1C5}" dt="2024-06-14T11:58:19.299" v="4230" actId="1037"/>
          <ac:spMkLst>
            <pc:docMk/>
            <pc:sldMk cId="455564406" sldId="2147482685"/>
            <ac:spMk id="45" creationId="{28629EB4-49D1-D3FD-BA57-3E0B9249EFF2}"/>
          </ac:spMkLst>
        </pc:spChg>
        <pc:spChg chg="add mod">
          <ac:chgData name="Gaurav Kesari" userId="5ab21388-baf7-4ff4-bc08-f69762d4b20e" providerId="ADAL" clId="{9F5CD523-AC6F-4AC0-9530-F521BCA7F1C5}" dt="2024-06-14T12:00:28.905" v="4287" actId="1076"/>
          <ac:spMkLst>
            <pc:docMk/>
            <pc:sldMk cId="455564406" sldId="2147482685"/>
            <ac:spMk id="46" creationId="{2183C2B1-B6A8-B572-1954-59C25F7AC8BD}"/>
          </ac:spMkLst>
        </pc:spChg>
        <pc:spChg chg="add mod">
          <ac:chgData name="Gaurav Kesari" userId="5ab21388-baf7-4ff4-bc08-f69762d4b20e" providerId="ADAL" clId="{9F5CD523-AC6F-4AC0-9530-F521BCA7F1C5}" dt="2024-06-17T08:56:44.360" v="4556" actId="14100"/>
          <ac:spMkLst>
            <pc:docMk/>
            <pc:sldMk cId="455564406" sldId="2147482685"/>
            <ac:spMk id="47" creationId="{42A4D393-B383-8B3F-A9E8-ADE15E2F03C8}"/>
          </ac:spMkLst>
        </pc:spChg>
        <pc:spChg chg="add mod">
          <ac:chgData name="Gaurav Kesari" userId="5ab21388-baf7-4ff4-bc08-f69762d4b20e" providerId="ADAL" clId="{9F5CD523-AC6F-4AC0-9530-F521BCA7F1C5}" dt="2024-06-14T10:41:50.479" v="3619" actId="207"/>
          <ac:spMkLst>
            <pc:docMk/>
            <pc:sldMk cId="455564406" sldId="2147482685"/>
            <ac:spMk id="48" creationId="{0CCEAC44-70C0-00DD-2A9D-447B6FF5C15C}"/>
          </ac:spMkLst>
        </pc:spChg>
        <pc:spChg chg="add mod">
          <ac:chgData name="Gaurav Kesari" userId="5ab21388-baf7-4ff4-bc08-f69762d4b20e" providerId="ADAL" clId="{9F5CD523-AC6F-4AC0-9530-F521BCA7F1C5}" dt="2024-06-14T10:43:45.743" v="3676" actId="14100"/>
          <ac:spMkLst>
            <pc:docMk/>
            <pc:sldMk cId="455564406" sldId="2147482685"/>
            <ac:spMk id="49" creationId="{855D8439-29C8-29A5-6AA5-5A56F5707CC0}"/>
          </ac:spMkLst>
        </pc:spChg>
        <pc:spChg chg="add mod">
          <ac:chgData name="Gaurav Kesari" userId="5ab21388-baf7-4ff4-bc08-f69762d4b20e" providerId="ADAL" clId="{9F5CD523-AC6F-4AC0-9530-F521BCA7F1C5}" dt="2024-06-14T10:52:31.166" v="3689" actId="14100"/>
          <ac:spMkLst>
            <pc:docMk/>
            <pc:sldMk cId="455564406" sldId="2147482685"/>
            <ac:spMk id="54" creationId="{D0AAE7AF-6FDB-F89D-AD33-E95224F28EF6}"/>
          </ac:spMkLst>
        </pc:spChg>
        <pc:spChg chg="add mod">
          <ac:chgData name="Gaurav Kesari" userId="5ab21388-baf7-4ff4-bc08-f69762d4b20e" providerId="ADAL" clId="{9F5CD523-AC6F-4AC0-9530-F521BCA7F1C5}" dt="2024-06-17T08:57:17.785" v="4590" actId="20577"/>
          <ac:spMkLst>
            <pc:docMk/>
            <pc:sldMk cId="455564406" sldId="2147482685"/>
            <ac:spMk id="55" creationId="{80C95384-A152-2FCC-930F-8F6036AF1C84}"/>
          </ac:spMkLst>
        </pc:spChg>
        <pc:spChg chg="add mod">
          <ac:chgData name="Gaurav Kesari" userId="5ab21388-baf7-4ff4-bc08-f69762d4b20e" providerId="ADAL" clId="{9F5CD523-AC6F-4AC0-9530-F521BCA7F1C5}" dt="2024-06-17T08:56:00.329" v="4555" actId="14100"/>
          <ac:spMkLst>
            <pc:docMk/>
            <pc:sldMk cId="455564406" sldId="2147482685"/>
            <ac:spMk id="56" creationId="{B9DA0587-F3DC-92BB-14D4-F554DABE37E7}"/>
          </ac:spMkLst>
        </pc:spChg>
        <pc:spChg chg="del topLvl">
          <ac:chgData name="Gaurav Kesari" userId="5ab21388-baf7-4ff4-bc08-f69762d4b20e" providerId="ADAL" clId="{9F5CD523-AC6F-4AC0-9530-F521BCA7F1C5}" dt="2024-06-18T08:30:29.113" v="4879" actId="478"/>
          <ac:spMkLst>
            <pc:docMk/>
            <pc:sldMk cId="455564406" sldId="2147482685"/>
            <ac:spMk id="64" creationId="{CFBFFBAE-6D24-59DF-7DD1-B4EA7A99AB51}"/>
          </ac:spMkLst>
        </pc:spChg>
        <pc:spChg chg="del topLvl">
          <ac:chgData name="Gaurav Kesari" userId="5ab21388-baf7-4ff4-bc08-f69762d4b20e" providerId="ADAL" clId="{9F5CD523-AC6F-4AC0-9530-F521BCA7F1C5}" dt="2024-06-18T08:30:27.569" v="4878" actId="478"/>
          <ac:spMkLst>
            <pc:docMk/>
            <pc:sldMk cId="455564406" sldId="2147482685"/>
            <ac:spMk id="65" creationId="{EA9DA4AC-44C2-344D-293A-0F09DF878192}"/>
          </ac:spMkLst>
        </pc:spChg>
        <pc:spChg chg="del topLvl">
          <ac:chgData name="Gaurav Kesari" userId="5ab21388-baf7-4ff4-bc08-f69762d4b20e" providerId="ADAL" clId="{9F5CD523-AC6F-4AC0-9530-F521BCA7F1C5}" dt="2024-06-18T08:30:24.236" v="4876" actId="478"/>
          <ac:spMkLst>
            <pc:docMk/>
            <pc:sldMk cId="455564406" sldId="2147482685"/>
            <ac:spMk id="68" creationId="{172C38D7-3C5B-E744-7A59-3927383D2C73}"/>
          </ac:spMkLst>
        </pc:spChg>
        <pc:spChg chg="del topLvl">
          <ac:chgData name="Gaurav Kesari" userId="5ab21388-baf7-4ff4-bc08-f69762d4b20e" providerId="ADAL" clId="{9F5CD523-AC6F-4AC0-9530-F521BCA7F1C5}" dt="2024-06-18T08:30:25.947" v="4877" actId="478"/>
          <ac:spMkLst>
            <pc:docMk/>
            <pc:sldMk cId="455564406" sldId="2147482685"/>
            <ac:spMk id="69" creationId="{9F15FEEA-D0E9-D47D-C7A5-5CA76C0D5F69}"/>
          </ac:spMkLst>
        </pc:spChg>
        <pc:spChg chg="del topLvl">
          <ac:chgData name="Gaurav Kesari" userId="5ab21388-baf7-4ff4-bc08-f69762d4b20e" providerId="ADAL" clId="{9F5CD523-AC6F-4AC0-9530-F521BCA7F1C5}" dt="2024-06-18T08:30:20.098" v="4874" actId="478"/>
          <ac:spMkLst>
            <pc:docMk/>
            <pc:sldMk cId="455564406" sldId="2147482685"/>
            <ac:spMk id="72" creationId="{D8F97793-8D33-EE88-B0BD-1F924401056A}"/>
          </ac:spMkLst>
        </pc:spChg>
        <pc:spChg chg="del topLvl">
          <ac:chgData name="Gaurav Kesari" userId="5ab21388-baf7-4ff4-bc08-f69762d4b20e" providerId="ADAL" clId="{9F5CD523-AC6F-4AC0-9530-F521BCA7F1C5}" dt="2024-06-18T08:30:22.525" v="4875" actId="478"/>
          <ac:spMkLst>
            <pc:docMk/>
            <pc:sldMk cId="455564406" sldId="2147482685"/>
            <ac:spMk id="73" creationId="{A2B5C9E5-F099-A60A-92E9-6974CBF4B82A}"/>
          </ac:spMkLst>
        </pc:spChg>
        <pc:spChg chg="mod">
          <ac:chgData name="Gaurav Kesari" userId="5ab21388-baf7-4ff4-bc08-f69762d4b20e" providerId="ADAL" clId="{9F5CD523-AC6F-4AC0-9530-F521BCA7F1C5}" dt="2024-06-18T08:31:51.608" v="4887" actId="20577"/>
          <ac:spMkLst>
            <pc:docMk/>
            <pc:sldMk cId="455564406" sldId="2147482685"/>
            <ac:spMk id="144" creationId="{31EBF27D-799E-E91C-985B-8A7F25C774EE}"/>
          </ac:spMkLst>
        </pc:spChg>
        <pc:grpChg chg="add del mod">
          <ac:chgData name="Gaurav Kesari" userId="5ab21388-baf7-4ff4-bc08-f69762d4b20e" providerId="ADAL" clId="{9F5CD523-AC6F-4AC0-9530-F521BCA7F1C5}" dt="2024-06-14T12:01:05.674" v="4294" actId="478"/>
          <ac:grpSpMkLst>
            <pc:docMk/>
            <pc:sldMk cId="455564406" sldId="2147482685"/>
            <ac:grpSpMk id="7" creationId="{95576AFC-D3FE-3C75-6B06-0A2B1060E9A6}"/>
          </ac:grpSpMkLst>
        </pc:grpChg>
        <pc:grpChg chg="del">
          <ac:chgData name="Gaurav Kesari" userId="5ab21388-baf7-4ff4-bc08-f69762d4b20e" providerId="ADAL" clId="{9F5CD523-AC6F-4AC0-9530-F521BCA7F1C5}" dt="2024-06-18T08:30:20.098" v="4874" actId="478"/>
          <ac:grpSpMkLst>
            <pc:docMk/>
            <pc:sldMk cId="455564406" sldId="2147482685"/>
            <ac:grpSpMk id="115" creationId="{1AA53E4E-2E0F-A5CD-AD04-759BEB655159}"/>
          </ac:grpSpMkLst>
        </pc:grpChg>
        <pc:grpChg chg="del">
          <ac:chgData name="Gaurav Kesari" userId="5ab21388-baf7-4ff4-bc08-f69762d4b20e" providerId="ADAL" clId="{9F5CD523-AC6F-4AC0-9530-F521BCA7F1C5}" dt="2024-06-18T08:30:24.236" v="4876" actId="478"/>
          <ac:grpSpMkLst>
            <pc:docMk/>
            <pc:sldMk cId="455564406" sldId="2147482685"/>
            <ac:grpSpMk id="116" creationId="{EC8BE481-C5E5-A006-E057-F8B7F4DCB422}"/>
          </ac:grpSpMkLst>
        </pc:grpChg>
        <pc:grpChg chg="del">
          <ac:chgData name="Gaurav Kesari" userId="5ab21388-baf7-4ff4-bc08-f69762d4b20e" providerId="ADAL" clId="{9F5CD523-AC6F-4AC0-9530-F521BCA7F1C5}" dt="2024-06-18T08:30:27.569" v="4878" actId="478"/>
          <ac:grpSpMkLst>
            <pc:docMk/>
            <pc:sldMk cId="455564406" sldId="2147482685"/>
            <ac:grpSpMk id="117" creationId="{02CF2B70-407F-0AC5-BAD4-9A99DA8F3649}"/>
          </ac:grpSpMkLst>
        </pc:grpChg>
        <pc:picChg chg="mod">
          <ac:chgData name="Gaurav Kesari" userId="5ab21388-baf7-4ff4-bc08-f69762d4b20e" providerId="ADAL" clId="{9F5CD523-AC6F-4AC0-9530-F521BCA7F1C5}" dt="2024-06-14T10:42:35.157" v="3668" actId="1038"/>
          <ac:picMkLst>
            <pc:docMk/>
            <pc:sldMk cId="455564406" sldId="2147482685"/>
            <ac:picMk id="11" creationId="{AAAF7E24-C4B1-E9A1-D180-C8758F4696AC}"/>
          </ac:picMkLst>
        </pc:picChg>
        <pc:picChg chg="mod">
          <ac:chgData name="Gaurav Kesari" userId="5ab21388-baf7-4ff4-bc08-f69762d4b20e" providerId="ADAL" clId="{9F5CD523-AC6F-4AC0-9530-F521BCA7F1C5}" dt="2024-06-14T09:11:44.169" v="3089" actId="1076"/>
          <ac:picMkLst>
            <pc:docMk/>
            <pc:sldMk cId="455564406" sldId="2147482685"/>
            <ac:picMk id="13" creationId="{B7D11158-0B77-E380-9A00-9BBEF197AC88}"/>
          </ac:picMkLst>
        </pc:picChg>
        <pc:picChg chg="mod">
          <ac:chgData name="Gaurav Kesari" userId="5ab21388-baf7-4ff4-bc08-f69762d4b20e" providerId="ADAL" clId="{9F5CD523-AC6F-4AC0-9530-F521BCA7F1C5}" dt="2024-06-14T08:22:23.778" v="2774"/>
          <ac:picMkLst>
            <pc:docMk/>
            <pc:sldMk cId="455564406" sldId="2147482685"/>
            <ac:picMk id="15" creationId="{274B8032-9F7A-6917-9FFA-12CFF79F45A1}"/>
          </ac:picMkLst>
        </pc:picChg>
        <pc:picChg chg="add del mod">
          <ac:chgData name="Gaurav Kesari" userId="5ab21388-baf7-4ff4-bc08-f69762d4b20e" providerId="ADAL" clId="{9F5CD523-AC6F-4AC0-9530-F521BCA7F1C5}" dt="2024-06-14T08:22:33.532" v="2775" actId="478"/>
          <ac:picMkLst>
            <pc:docMk/>
            <pc:sldMk cId="455564406" sldId="2147482685"/>
            <ac:picMk id="28" creationId="{495DAD10-E751-9E1B-3CE1-65DAFB650330}"/>
          </ac:picMkLst>
        </pc:picChg>
        <pc:cxnChg chg="mod">
          <ac:chgData name="Gaurav Kesari" userId="5ab21388-baf7-4ff4-bc08-f69762d4b20e" providerId="ADAL" clId="{9F5CD523-AC6F-4AC0-9530-F521BCA7F1C5}" dt="2024-06-14T08:22:58.077" v="2782" actId="14100"/>
          <ac:cxnSpMkLst>
            <pc:docMk/>
            <pc:sldMk cId="455564406" sldId="2147482685"/>
            <ac:cxnSpMk id="17" creationId="{DE7C4C02-3EB2-6A9A-D68D-373E0E5AA7FF}"/>
          </ac:cxnSpMkLst>
        </pc:cxnChg>
        <pc:cxnChg chg="mod">
          <ac:chgData name="Gaurav Kesari" userId="5ab21388-baf7-4ff4-bc08-f69762d4b20e" providerId="ADAL" clId="{9F5CD523-AC6F-4AC0-9530-F521BCA7F1C5}" dt="2024-06-14T09:51:25.305" v="3375" actId="1076"/>
          <ac:cxnSpMkLst>
            <pc:docMk/>
            <pc:sldMk cId="455564406" sldId="2147482685"/>
            <ac:cxnSpMk id="18" creationId="{EE19D5F0-4EEA-64B1-D3EE-45335E0A7667}"/>
          </ac:cxnSpMkLst>
        </pc:cxnChg>
        <pc:cxnChg chg="mod">
          <ac:chgData name="Gaurav Kesari" userId="5ab21388-baf7-4ff4-bc08-f69762d4b20e" providerId="ADAL" clId="{9F5CD523-AC6F-4AC0-9530-F521BCA7F1C5}" dt="2024-06-14T10:42:17.818" v="3623" actId="14100"/>
          <ac:cxnSpMkLst>
            <pc:docMk/>
            <pc:sldMk cId="455564406" sldId="2147482685"/>
            <ac:cxnSpMk id="22" creationId="{7B818090-6B59-FD19-029D-C5178176704F}"/>
          </ac:cxnSpMkLst>
        </pc:cxnChg>
        <pc:cxnChg chg="mod">
          <ac:chgData name="Gaurav Kesari" userId="5ab21388-baf7-4ff4-bc08-f69762d4b20e" providerId="ADAL" clId="{9F5CD523-AC6F-4AC0-9530-F521BCA7F1C5}" dt="2024-06-14T09:22:56.146" v="3369" actId="14100"/>
          <ac:cxnSpMkLst>
            <pc:docMk/>
            <pc:sldMk cId="455564406" sldId="2147482685"/>
            <ac:cxnSpMk id="23" creationId="{47017F24-42E5-AFE4-1F73-2C49B05ECDD5}"/>
          </ac:cxnSpMkLst>
        </pc:cxnChg>
        <pc:cxnChg chg="mod">
          <ac:chgData name="Gaurav Kesari" userId="5ab21388-baf7-4ff4-bc08-f69762d4b20e" providerId="ADAL" clId="{9F5CD523-AC6F-4AC0-9530-F521BCA7F1C5}" dt="2024-06-14T09:49:41.445" v="3372" actId="14100"/>
          <ac:cxnSpMkLst>
            <pc:docMk/>
            <pc:sldMk cId="455564406" sldId="2147482685"/>
            <ac:cxnSpMk id="24" creationId="{D523ECB1-0E4A-B5C5-2883-1DA51365AFF0}"/>
          </ac:cxnSpMkLst>
        </pc:cxnChg>
        <pc:cxnChg chg="add del mod">
          <ac:chgData name="Gaurav Kesari" userId="5ab21388-baf7-4ff4-bc08-f69762d4b20e" providerId="ADAL" clId="{9F5CD523-AC6F-4AC0-9530-F521BCA7F1C5}" dt="2024-06-14T11:54:48.977" v="4182" actId="478"/>
          <ac:cxnSpMkLst>
            <pc:docMk/>
            <pc:sldMk cId="455564406" sldId="2147482685"/>
            <ac:cxnSpMk id="51" creationId="{C4323C94-A1E7-8573-6064-C4BB0EDA69FD}"/>
          </ac:cxnSpMkLst>
        </pc:cxnChg>
        <pc:cxnChg chg="del">
          <ac:chgData name="Gaurav Kesari" userId="5ab21388-baf7-4ff4-bc08-f69762d4b20e" providerId="ADAL" clId="{9F5CD523-AC6F-4AC0-9530-F521BCA7F1C5}" dt="2024-06-18T08:30:30.162" v="4880" actId="478"/>
          <ac:cxnSpMkLst>
            <pc:docMk/>
            <pc:sldMk cId="455564406" sldId="2147482685"/>
            <ac:cxnSpMk id="70" creationId="{971777FC-34D3-DD8E-A306-79318ED56F8D}"/>
          </ac:cxnSpMkLst>
        </pc:cxnChg>
        <pc:cxnChg chg="del">
          <ac:chgData name="Gaurav Kesari" userId="5ab21388-baf7-4ff4-bc08-f69762d4b20e" providerId="ADAL" clId="{9F5CD523-AC6F-4AC0-9530-F521BCA7F1C5}" dt="2024-06-18T08:30:16.907" v="4873" actId="478"/>
          <ac:cxnSpMkLst>
            <pc:docMk/>
            <pc:sldMk cId="455564406" sldId="2147482685"/>
            <ac:cxnSpMk id="74" creationId="{3C9D87F6-03CA-E987-2152-7E9C95CD9B0F}"/>
          </ac:cxnSpMkLst>
        </pc:cxnChg>
        <pc:cxnChg chg="mod">
          <ac:chgData name="Gaurav Kesari" userId="5ab21388-baf7-4ff4-bc08-f69762d4b20e" providerId="ADAL" clId="{9F5CD523-AC6F-4AC0-9530-F521BCA7F1C5}" dt="2024-06-18T08:29:09.255" v="4872" actId="208"/>
          <ac:cxnSpMkLst>
            <pc:docMk/>
            <pc:sldMk cId="455564406" sldId="2147482685"/>
            <ac:cxnSpMk id="164" creationId="{8B011A1E-E521-D131-D8C9-B4DE2CB8A939}"/>
          </ac:cxnSpMkLst>
        </pc:cxnChg>
      </pc:sldChg>
      <pc:sldChg chg="addSp delSp modSp new del mod">
        <pc:chgData name="Gaurav Kesari" userId="5ab21388-baf7-4ff4-bc08-f69762d4b20e" providerId="ADAL" clId="{9F5CD523-AC6F-4AC0-9530-F521BCA7F1C5}" dt="2024-06-14T11:21:39.462" v="3869" actId="47"/>
        <pc:sldMkLst>
          <pc:docMk/>
          <pc:sldMk cId="2527600130" sldId="2147482686"/>
        </pc:sldMkLst>
        <pc:spChg chg="del">
          <ac:chgData name="Gaurav Kesari" userId="5ab21388-baf7-4ff4-bc08-f69762d4b20e" providerId="ADAL" clId="{9F5CD523-AC6F-4AC0-9530-F521BCA7F1C5}" dt="2024-06-14T11:11:24.097" v="3756" actId="478"/>
          <ac:spMkLst>
            <pc:docMk/>
            <pc:sldMk cId="2527600130" sldId="2147482686"/>
            <ac:spMk id="2" creationId="{BEA148AD-A770-AF8B-D664-649847C40D81}"/>
          </ac:spMkLst>
        </pc:spChg>
        <pc:spChg chg="del">
          <ac:chgData name="Gaurav Kesari" userId="5ab21388-baf7-4ff4-bc08-f69762d4b20e" providerId="ADAL" clId="{9F5CD523-AC6F-4AC0-9530-F521BCA7F1C5}" dt="2024-06-14T11:11:25.431" v="3757" actId="478"/>
          <ac:spMkLst>
            <pc:docMk/>
            <pc:sldMk cId="2527600130" sldId="2147482686"/>
            <ac:spMk id="4" creationId="{5C65DBBF-68A4-2A04-FC2C-0A54B2A83BA8}"/>
          </ac:spMkLst>
        </pc:spChg>
        <pc:spChg chg="add mod">
          <ac:chgData name="Gaurav Kesari" userId="5ab21388-baf7-4ff4-bc08-f69762d4b20e" providerId="ADAL" clId="{9F5CD523-AC6F-4AC0-9530-F521BCA7F1C5}" dt="2024-06-14T11:11:10.678" v="3752"/>
          <ac:spMkLst>
            <pc:docMk/>
            <pc:sldMk cId="2527600130" sldId="2147482686"/>
            <ac:spMk id="5" creationId="{BD10F46A-7B1A-AFC1-B6F1-6BE2869507FC}"/>
          </ac:spMkLst>
        </pc:spChg>
        <pc:spChg chg="add mod">
          <ac:chgData name="Gaurav Kesari" userId="5ab21388-baf7-4ff4-bc08-f69762d4b20e" providerId="ADAL" clId="{9F5CD523-AC6F-4AC0-9530-F521BCA7F1C5}" dt="2024-06-14T11:18:18.351" v="3815" actId="6549"/>
          <ac:spMkLst>
            <pc:docMk/>
            <pc:sldMk cId="2527600130" sldId="2147482686"/>
            <ac:spMk id="7" creationId="{58274123-2D2F-4A05-571A-3326F96230AC}"/>
          </ac:spMkLst>
        </pc:spChg>
        <pc:picChg chg="add del mod">
          <ac:chgData name="Gaurav Kesari" userId="5ab21388-baf7-4ff4-bc08-f69762d4b20e" providerId="ADAL" clId="{9F5CD523-AC6F-4AC0-9530-F521BCA7F1C5}" dt="2024-06-14T11:18:14.763" v="3814" actId="478"/>
          <ac:picMkLst>
            <pc:docMk/>
            <pc:sldMk cId="2527600130" sldId="2147482686"/>
            <ac:picMk id="8" creationId="{ACC0B658-618B-A57E-E934-F3122CC3D0F2}"/>
          </ac:picMkLst>
        </pc:picChg>
        <pc:picChg chg="add mod">
          <ac:chgData name="Gaurav Kesari" userId="5ab21388-baf7-4ff4-bc08-f69762d4b20e" providerId="ADAL" clId="{9F5CD523-AC6F-4AC0-9530-F521BCA7F1C5}" dt="2024-06-14T11:11:47.602" v="3762"/>
          <ac:picMkLst>
            <pc:docMk/>
            <pc:sldMk cId="2527600130" sldId="2147482686"/>
            <ac:picMk id="10" creationId="{F905D0DB-3964-8479-0C26-D9F61A598165}"/>
          </ac:picMkLst>
        </pc:picChg>
        <pc:cxnChg chg="add mod">
          <ac:chgData name="Gaurav Kesari" userId="5ab21388-baf7-4ff4-bc08-f69762d4b20e" providerId="ADAL" clId="{9F5CD523-AC6F-4AC0-9530-F521BCA7F1C5}" dt="2024-06-14T11:11:47.602" v="3762"/>
          <ac:cxnSpMkLst>
            <pc:docMk/>
            <pc:sldMk cId="2527600130" sldId="2147482686"/>
            <ac:cxnSpMk id="9" creationId="{150183EB-4E83-1392-2E6D-C5D839129D92}"/>
          </ac:cxnSpMkLst>
        </pc:cxnChg>
        <pc:cxnChg chg="add mod">
          <ac:chgData name="Gaurav Kesari" userId="5ab21388-baf7-4ff4-bc08-f69762d4b20e" providerId="ADAL" clId="{9F5CD523-AC6F-4AC0-9530-F521BCA7F1C5}" dt="2024-06-14T11:11:47.602" v="3762"/>
          <ac:cxnSpMkLst>
            <pc:docMk/>
            <pc:sldMk cId="2527600130" sldId="2147482686"/>
            <ac:cxnSpMk id="11" creationId="{A57314F0-D919-6189-6D14-182A4B4A9A2A}"/>
          </ac:cxnSpMkLst>
        </pc:cxnChg>
      </pc:sldChg>
      <pc:sldChg chg="new del">
        <pc:chgData name="Gaurav Kesari" userId="5ab21388-baf7-4ff4-bc08-f69762d4b20e" providerId="ADAL" clId="{9F5CD523-AC6F-4AC0-9530-F521BCA7F1C5}" dt="2024-06-14T11:04:48.484" v="3742" actId="47"/>
        <pc:sldMkLst>
          <pc:docMk/>
          <pc:sldMk cId="2869062050" sldId="2147482686"/>
        </pc:sldMkLst>
      </pc:sldChg>
      <pc:sldChg chg="new del">
        <pc:chgData name="Gaurav Kesari" userId="5ab21388-baf7-4ff4-bc08-f69762d4b20e" providerId="ADAL" clId="{9F5CD523-AC6F-4AC0-9530-F521BCA7F1C5}" dt="2024-06-14T11:12:30.074" v="3774" actId="47"/>
        <pc:sldMkLst>
          <pc:docMk/>
          <pc:sldMk cId="2192496751" sldId="2147482687"/>
        </pc:sldMkLst>
      </pc:sldChg>
      <pc:sldChg chg="addSp delSp modSp add mod delCm">
        <pc:chgData name="Gaurav Kesari" userId="5ab21388-baf7-4ff4-bc08-f69762d4b20e" providerId="ADAL" clId="{9F5CD523-AC6F-4AC0-9530-F521BCA7F1C5}" dt="2024-06-18T12:58:56.668" v="5272"/>
        <pc:sldMkLst>
          <pc:docMk/>
          <pc:sldMk cId="2138237778" sldId="2147482688"/>
        </pc:sldMkLst>
        <pc:spChg chg="mod">
          <ac:chgData name="Gaurav Kesari" userId="5ab21388-baf7-4ff4-bc08-f69762d4b20e" providerId="ADAL" clId="{9F5CD523-AC6F-4AC0-9530-F521BCA7F1C5}" dt="2024-06-14T11:15:27.116" v="3783"/>
          <ac:spMkLst>
            <pc:docMk/>
            <pc:sldMk cId="2138237778" sldId="2147482688"/>
            <ac:spMk id="2" creationId="{F2F39935-05AF-A634-27A8-499EB349F9AF}"/>
          </ac:spMkLst>
        </pc:spChg>
        <pc:spChg chg="add del">
          <ac:chgData name="Gaurav Kesari" userId="5ab21388-baf7-4ff4-bc08-f69762d4b20e" providerId="ADAL" clId="{9F5CD523-AC6F-4AC0-9530-F521BCA7F1C5}" dt="2024-06-14T11:15:34.217" v="3786" actId="22"/>
          <ac:spMkLst>
            <pc:docMk/>
            <pc:sldMk cId="2138237778" sldId="2147482688"/>
            <ac:spMk id="7" creationId="{AD100498-6BA2-ED1C-8885-4219FEA7A907}"/>
          </ac:spMkLst>
        </pc:spChg>
        <pc:spChg chg="mod">
          <ac:chgData name="Gaurav Kesari" userId="5ab21388-baf7-4ff4-bc08-f69762d4b20e" providerId="ADAL" clId="{9F5CD523-AC6F-4AC0-9530-F521BCA7F1C5}" dt="2024-06-14T11:13:22.255" v="3776" actId="14100"/>
          <ac:spMkLst>
            <pc:docMk/>
            <pc:sldMk cId="2138237778" sldId="2147482688"/>
            <ac:spMk id="10" creationId="{21F4F1D9-4FA1-BD69-D258-0AE30C4B8C96}"/>
          </ac:spMkLst>
        </pc:spChg>
        <pc:spChg chg="mod">
          <ac:chgData name="Gaurav Kesari" userId="5ab21388-baf7-4ff4-bc08-f69762d4b20e" providerId="ADAL" clId="{9F5CD523-AC6F-4AC0-9530-F521BCA7F1C5}" dt="2024-06-18T08:25:59.433" v="4856" actId="20577"/>
          <ac:spMkLst>
            <pc:docMk/>
            <pc:sldMk cId="2138237778" sldId="2147482688"/>
            <ac:spMk id="11" creationId="{D787A82D-1BBD-44E3-E00C-7A60A41F2676}"/>
          </ac:spMkLst>
        </pc:spChg>
        <pc:spChg chg="mod">
          <ac:chgData name="Gaurav Kesari" userId="5ab21388-baf7-4ff4-bc08-f69762d4b20e" providerId="ADAL" clId="{9F5CD523-AC6F-4AC0-9530-F521BCA7F1C5}" dt="2024-06-14T11:14:37.777" v="3778"/>
          <ac:spMkLst>
            <pc:docMk/>
            <pc:sldMk cId="2138237778" sldId="2147482688"/>
            <ac:spMk id="16" creationId="{486D42F5-D0C2-F935-47D5-DFEC4DBBFC96}"/>
          </ac:spMkLst>
        </pc:spChg>
        <pc:picChg chg="add mod">
          <ac:chgData name="Gaurav Kesari" userId="5ab21388-baf7-4ff4-bc08-f69762d4b20e" providerId="ADAL" clId="{9F5CD523-AC6F-4AC0-9530-F521BCA7F1C5}" dt="2024-06-14T11:14:47.525" v="3781" actId="1076"/>
          <ac:picMkLst>
            <pc:docMk/>
            <pc:sldMk cId="2138237778" sldId="2147482688"/>
            <ac:picMk id="3" creationId="{5A54BAF6-D939-3CB5-884E-6847817B03E1}"/>
          </ac:picMkLst>
        </pc:picChg>
        <pc:picChg chg="del">
          <ac:chgData name="Gaurav Kesari" userId="5ab21388-baf7-4ff4-bc08-f69762d4b20e" providerId="ADAL" clId="{9F5CD523-AC6F-4AC0-9530-F521BCA7F1C5}" dt="2024-06-14T11:14:41.775" v="3779" actId="478"/>
          <ac:picMkLst>
            <pc:docMk/>
            <pc:sldMk cId="2138237778" sldId="2147482688"/>
            <ac:picMk id="5" creationId="{A9656D44-9747-1DD1-2787-0D5295B45033}"/>
          </ac:picMkLst>
        </pc:picChg>
        <pc:extLst>
          <p:ext xmlns:p="http://schemas.openxmlformats.org/presentationml/2006/main" uri="{D6D511B9-2390-475A-947B-AFAB55BFBCF1}">
            <pc226:cmChg xmlns:pc226="http://schemas.microsoft.com/office/powerpoint/2022/06/main/command" chg="del">
              <pc226:chgData name="Gaurav Kesari" userId="5ab21388-baf7-4ff4-bc08-f69762d4b20e" providerId="ADAL" clId="{9F5CD523-AC6F-4AC0-9530-F521BCA7F1C5}" dt="2024-06-18T12:58:56.668" v="5272"/>
              <pc2:cmMkLst xmlns:pc2="http://schemas.microsoft.com/office/powerpoint/2019/9/main/command">
                <pc:docMk/>
                <pc:sldMk cId="2138237778" sldId="2147482688"/>
                <pc2:cmMk id="{C5B200B6-C8E9-4510-B92D-CA6874B86BF3}"/>
              </pc2:cmMkLst>
            </pc226:cmChg>
          </p:ext>
        </pc:extLst>
      </pc:sldChg>
      <pc:sldChg chg="new del">
        <pc:chgData name="Gaurav Kesari" userId="5ab21388-baf7-4ff4-bc08-f69762d4b20e" providerId="ADAL" clId="{9F5CD523-AC6F-4AC0-9530-F521BCA7F1C5}" dt="2024-06-14T11:15:38.823" v="3788" actId="47"/>
        <pc:sldMkLst>
          <pc:docMk/>
          <pc:sldMk cId="2505630485" sldId="2147482689"/>
        </pc:sldMkLst>
      </pc:sldChg>
      <pc:sldChg chg="addSp delSp modSp add mod delCm">
        <pc:chgData name="Gaurav Kesari" userId="5ab21388-baf7-4ff4-bc08-f69762d4b20e" providerId="ADAL" clId="{9F5CD523-AC6F-4AC0-9530-F521BCA7F1C5}" dt="2024-06-18T12:58:53.504" v="5271"/>
        <pc:sldMkLst>
          <pc:docMk/>
          <pc:sldMk cId="696271254" sldId="2147482690"/>
        </pc:sldMkLst>
        <pc:spChg chg="mod">
          <ac:chgData name="Gaurav Kesari" userId="5ab21388-baf7-4ff4-bc08-f69762d4b20e" providerId="ADAL" clId="{9F5CD523-AC6F-4AC0-9530-F521BCA7F1C5}" dt="2024-06-14T11:16:01.622" v="3791" actId="20577"/>
          <ac:spMkLst>
            <pc:docMk/>
            <pc:sldMk cId="696271254" sldId="2147482690"/>
            <ac:spMk id="2" creationId="{F2F39935-05AF-A634-27A8-499EB349F9AF}"/>
          </ac:spMkLst>
        </pc:spChg>
        <pc:spChg chg="add del">
          <ac:chgData name="Gaurav Kesari" userId="5ab21388-baf7-4ff4-bc08-f69762d4b20e" providerId="ADAL" clId="{9F5CD523-AC6F-4AC0-9530-F521BCA7F1C5}" dt="2024-06-14T11:18:42.524" v="3820" actId="478"/>
          <ac:spMkLst>
            <pc:docMk/>
            <pc:sldMk cId="696271254" sldId="2147482690"/>
            <ac:spMk id="7" creationId="{2BBE4E5F-7BB1-B846-ED80-55C253FC9CFA}"/>
          </ac:spMkLst>
        </pc:spChg>
        <pc:spChg chg="add del">
          <ac:chgData name="Gaurav Kesari" userId="5ab21388-baf7-4ff4-bc08-f69762d4b20e" providerId="ADAL" clId="{9F5CD523-AC6F-4AC0-9530-F521BCA7F1C5}" dt="2024-06-14T11:18:39.848" v="3819" actId="478"/>
          <ac:spMkLst>
            <pc:docMk/>
            <pc:sldMk cId="696271254" sldId="2147482690"/>
            <ac:spMk id="9" creationId="{AFEE4C9F-9020-921A-4CBD-1ED7601547A8}"/>
          </ac:spMkLst>
        </pc:spChg>
        <pc:spChg chg="mod">
          <ac:chgData name="Gaurav Kesari" userId="5ab21388-baf7-4ff4-bc08-f69762d4b20e" providerId="ADAL" clId="{9F5CD523-AC6F-4AC0-9530-F521BCA7F1C5}" dt="2024-06-14T11:17:17.700" v="3811" actId="14100"/>
          <ac:spMkLst>
            <pc:docMk/>
            <pc:sldMk cId="696271254" sldId="2147482690"/>
            <ac:spMk id="10" creationId="{21F4F1D9-4FA1-BD69-D258-0AE30C4B8C96}"/>
          </ac:spMkLst>
        </pc:spChg>
        <pc:spChg chg="mod">
          <ac:chgData name="Gaurav Kesari" userId="5ab21388-baf7-4ff4-bc08-f69762d4b20e" providerId="ADAL" clId="{9F5CD523-AC6F-4AC0-9530-F521BCA7F1C5}" dt="2024-06-18T08:26:04.816" v="4857" actId="20577"/>
          <ac:spMkLst>
            <pc:docMk/>
            <pc:sldMk cId="696271254" sldId="2147482690"/>
            <ac:spMk id="12" creationId="{19C0C884-3059-4215-650A-8F27A7C3DD77}"/>
          </ac:spMkLst>
        </pc:spChg>
        <pc:spChg chg="mod">
          <ac:chgData name="Gaurav Kesari" userId="5ab21388-baf7-4ff4-bc08-f69762d4b20e" providerId="ADAL" clId="{9F5CD523-AC6F-4AC0-9530-F521BCA7F1C5}" dt="2024-06-14T11:18:06.992" v="3813"/>
          <ac:spMkLst>
            <pc:docMk/>
            <pc:sldMk cId="696271254" sldId="2147482690"/>
            <ac:spMk id="16" creationId="{486D42F5-D0C2-F935-47D5-DFEC4DBBFC96}"/>
          </ac:spMkLst>
        </pc:spChg>
        <pc:picChg chg="del">
          <ac:chgData name="Gaurav Kesari" userId="5ab21388-baf7-4ff4-bc08-f69762d4b20e" providerId="ADAL" clId="{9F5CD523-AC6F-4AC0-9530-F521BCA7F1C5}" dt="2024-06-14T11:16:11.745" v="3792" actId="478"/>
          <ac:picMkLst>
            <pc:docMk/>
            <pc:sldMk cId="696271254" sldId="2147482690"/>
            <ac:picMk id="3" creationId="{5A54BAF6-D939-3CB5-884E-6847817B03E1}"/>
          </ac:picMkLst>
        </pc:picChg>
        <pc:picChg chg="add mod">
          <ac:chgData name="Gaurav Kesari" userId="5ab21388-baf7-4ff4-bc08-f69762d4b20e" providerId="ADAL" clId="{9F5CD523-AC6F-4AC0-9530-F521BCA7F1C5}" dt="2024-06-14T11:17:22.631" v="3812" actId="1076"/>
          <ac:picMkLst>
            <pc:docMk/>
            <pc:sldMk cId="696271254" sldId="2147482690"/>
            <ac:picMk id="5" creationId="{77B2C34F-8D4E-3779-CC73-79E29610CBFC}"/>
          </ac:picMkLst>
        </pc:picChg>
        <pc:extLst>
          <p:ext xmlns:p="http://schemas.openxmlformats.org/presentationml/2006/main" uri="{D6D511B9-2390-475A-947B-AFAB55BFBCF1}">
            <pc226:cmChg xmlns:pc226="http://schemas.microsoft.com/office/powerpoint/2022/06/main/command" chg="del">
              <pc226:chgData name="Gaurav Kesari" userId="5ab21388-baf7-4ff4-bc08-f69762d4b20e" providerId="ADAL" clId="{9F5CD523-AC6F-4AC0-9530-F521BCA7F1C5}" dt="2024-06-18T12:58:53.504" v="5271"/>
              <pc2:cmMkLst xmlns:pc2="http://schemas.microsoft.com/office/powerpoint/2019/9/main/command">
                <pc:docMk/>
                <pc:sldMk cId="696271254" sldId="2147482690"/>
                <pc2:cmMk id="{8B9FC3A9-6B8F-4936-A66D-C5BF20AF0CEB}"/>
              </pc2:cmMkLst>
            </pc226:cmChg>
          </p:ext>
        </pc:extLst>
      </pc:sldChg>
      <pc:sldChg chg="new del">
        <pc:chgData name="Gaurav Kesari" userId="5ab21388-baf7-4ff4-bc08-f69762d4b20e" providerId="ADAL" clId="{9F5CD523-AC6F-4AC0-9530-F521BCA7F1C5}" dt="2024-06-14T11:21:40.624" v="3870" actId="47"/>
        <pc:sldMkLst>
          <pc:docMk/>
          <pc:sldMk cId="3570152250" sldId="2147482691"/>
        </pc:sldMkLst>
      </pc:sldChg>
      <pc:sldChg chg="addSp delSp modSp add mod delCm">
        <pc:chgData name="Gaurav Kesari" userId="5ab21388-baf7-4ff4-bc08-f69762d4b20e" providerId="ADAL" clId="{9F5CD523-AC6F-4AC0-9530-F521BCA7F1C5}" dt="2024-06-18T12:58:50.268" v="5270"/>
        <pc:sldMkLst>
          <pc:docMk/>
          <pc:sldMk cId="2936270770" sldId="2147482692"/>
        </pc:sldMkLst>
        <pc:spChg chg="mod">
          <ac:chgData name="Gaurav Kesari" userId="5ab21388-baf7-4ff4-bc08-f69762d4b20e" providerId="ADAL" clId="{9F5CD523-AC6F-4AC0-9530-F521BCA7F1C5}" dt="2024-06-14T11:18:51.852" v="3823" actId="20577"/>
          <ac:spMkLst>
            <pc:docMk/>
            <pc:sldMk cId="2936270770" sldId="2147482692"/>
            <ac:spMk id="2" creationId="{F2F39935-05AF-A634-27A8-499EB349F9AF}"/>
          </ac:spMkLst>
        </pc:spChg>
        <pc:spChg chg="mod">
          <ac:chgData name="Gaurav Kesari" userId="5ab21388-baf7-4ff4-bc08-f69762d4b20e" providerId="ADAL" clId="{9F5CD523-AC6F-4AC0-9530-F521BCA7F1C5}" dt="2024-06-14T11:20:32.668" v="3868"/>
          <ac:spMkLst>
            <pc:docMk/>
            <pc:sldMk cId="2936270770" sldId="2147482692"/>
            <ac:spMk id="10" creationId="{21F4F1D9-4FA1-BD69-D258-0AE30C4B8C96}"/>
          </ac:spMkLst>
        </pc:spChg>
        <pc:spChg chg="mod">
          <ac:chgData name="Gaurav Kesari" userId="5ab21388-baf7-4ff4-bc08-f69762d4b20e" providerId="ADAL" clId="{9F5CD523-AC6F-4AC0-9530-F521BCA7F1C5}" dt="2024-06-18T08:26:12.537" v="4858" actId="20577"/>
          <ac:spMkLst>
            <pc:docMk/>
            <pc:sldMk cId="2936270770" sldId="2147482692"/>
            <ac:spMk id="12" creationId="{A03AD86B-F71D-BBB9-0AE1-834EBF760FE8}"/>
          </ac:spMkLst>
        </pc:spChg>
        <pc:spChg chg="mod">
          <ac:chgData name="Gaurav Kesari" userId="5ab21388-baf7-4ff4-bc08-f69762d4b20e" providerId="ADAL" clId="{9F5CD523-AC6F-4AC0-9530-F521BCA7F1C5}" dt="2024-06-14T11:20:21.910" v="3867"/>
          <ac:spMkLst>
            <pc:docMk/>
            <pc:sldMk cId="2936270770" sldId="2147482692"/>
            <ac:spMk id="16" creationId="{486D42F5-D0C2-F935-47D5-DFEC4DBBFC96}"/>
          </ac:spMkLst>
        </pc:spChg>
        <pc:picChg chg="add mod">
          <ac:chgData name="Gaurav Kesari" userId="5ab21388-baf7-4ff4-bc08-f69762d4b20e" providerId="ADAL" clId="{9F5CD523-AC6F-4AC0-9530-F521BCA7F1C5}" dt="2024-06-14T11:19:28.690" v="3830" actId="1076"/>
          <ac:picMkLst>
            <pc:docMk/>
            <pc:sldMk cId="2936270770" sldId="2147482692"/>
            <ac:picMk id="3" creationId="{71C94A1B-A3E5-7F41-A031-5E9BC35B99D6}"/>
          </ac:picMkLst>
        </pc:picChg>
        <pc:picChg chg="del">
          <ac:chgData name="Gaurav Kesari" userId="5ab21388-baf7-4ff4-bc08-f69762d4b20e" providerId="ADAL" clId="{9F5CD523-AC6F-4AC0-9530-F521BCA7F1C5}" dt="2024-06-14T11:19:10.228" v="3824" actId="478"/>
          <ac:picMkLst>
            <pc:docMk/>
            <pc:sldMk cId="2936270770" sldId="2147482692"/>
            <ac:picMk id="5" creationId="{77B2C34F-8D4E-3779-CC73-79E29610CBFC}"/>
          </ac:picMkLst>
        </pc:picChg>
        <pc:extLst>
          <p:ext xmlns:p="http://schemas.openxmlformats.org/presentationml/2006/main" uri="{D6D511B9-2390-475A-947B-AFAB55BFBCF1}">
            <pc226:cmChg xmlns:pc226="http://schemas.microsoft.com/office/powerpoint/2022/06/main/command" chg="del">
              <pc226:chgData name="Gaurav Kesari" userId="5ab21388-baf7-4ff4-bc08-f69762d4b20e" providerId="ADAL" clId="{9F5CD523-AC6F-4AC0-9530-F521BCA7F1C5}" dt="2024-06-18T12:58:50.268" v="5270"/>
              <pc2:cmMkLst xmlns:pc2="http://schemas.microsoft.com/office/powerpoint/2019/9/main/command">
                <pc:docMk/>
                <pc:sldMk cId="2936270770" sldId="2147482692"/>
                <pc2:cmMk id="{42651B5C-0AF2-4505-8160-E45FA84FBFA5}"/>
              </pc2:cmMkLst>
            </pc226:cmChg>
          </p:ext>
        </pc:extLst>
      </pc:sldChg>
      <pc:sldChg chg="addSp delSp modSp new del mod">
        <pc:chgData name="Gaurav Kesari" userId="5ab21388-baf7-4ff4-bc08-f69762d4b20e" providerId="ADAL" clId="{9F5CD523-AC6F-4AC0-9530-F521BCA7F1C5}" dt="2024-06-14T11:27:30.966" v="3906" actId="47"/>
        <pc:sldMkLst>
          <pc:docMk/>
          <pc:sldMk cId="1975358649" sldId="2147482693"/>
        </pc:sldMkLst>
        <pc:spChg chg="mod">
          <ac:chgData name="Gaurav Kesari" userId="5ab21388-baf7-4ff4-bc08-f69762d4b20e" providerId="ADAL" clId="{9F5CD523-AC6F-4AC0-9530-F521BCA7F1C5}" dt="2024-06-14T11:22:50.851" v="3894" actId="20577"/>
          <ac:spMkLst>
            <pc:docMk/>
            <pc:sldMk cId="1975358649" sldId="2147482693"/>
            <ac:spMk id="2" creationId="{3BEFFE80-E9CF-1674-350C-96E15369C64D}"/>
          </ac:spMkLst>
        </pc:spChg>
        <pc:spChg chg="del">
          <ac:chgData name="Gaurav Kesari" userId="5ab21388-baf7-4ff4-bc08-f69762d4b20e" providerId="ADAL" clId="{9F5CD523-AC6F-4AC0-9530-F521BCA7F1C5}" dt="2024-06-14T11:25:43.318" v="3895" actId="478"/>
          <ac:spMkLst>
            <pc:docMk/>
            <pc:sldMk cId="1975358649" sldId="2147482693"/>
            <ac:spMk id="4" creationId="{4C3152B3-AAAB-5805-E5E8-ABF517D2E3B7}"/>
          </ac:spMkLst>
        </pc:spChg>
        <pc:spChg chg="add mod">
          <ac:chgData name="Gaurav Kesari" userId="5ab21388-baf7-4ff4-bc08-f69762d4b20e" providerId="ADAL" clId="{9F5CD523-AC6F-4AC0-9530-F521BCA7F1C5}" dt="2024-06-14T11:25:59.292" v="3898" actId="14100"/>
          <ac:spMkLst>
            <pc:docMk/>
            <pc:sldMk cId="1975358649" sldId="2147482693"/>
            <ac:spMk id="5" creationId="{12F0619A-8D18-6A20-CBFF-716402A99EDD}"/>
          </ac:spMkLst>
        </pc:spChg>
      </pc:sldChg>
      <pc:sldChg chg="delSp modSp add del mod ord">
        <pc:chgData name="Gaurav Kesari" userId="5ab21388-baf7-4ff4-bc08-f69762d4b20e" providerId="ADAL" clId="{9F5CD523-AC6F-4AC0-9530-F521BCA7F1C5}" dt="2024-06-18T12:59:47.414" v="5288" actId="47"/>
        <pc:sldMkLst>
          <pc:docMk/>
          <pc:sldMk cId="2846337546" sldId="2147482693"/>
        </pc:sldMkLst>
        <pc:spChg chg="mod">
          <ac:chgData name="Gaurav Kesari" userId="5ab21388-baf7-4ff4-bc08-f69762d4b20e" providerId="ADAL" clId="{9F5CD523-AC6F-4AC0-9530-F521BCA7F1C5}" dt="2024-06-14T11:29:06.755" v="4043" actId="20577"/>
          <ac:spMkLst>
            <pc:docMk/>
            <pc:sldMk cId="2846337546" sldId="2147482693"/>
            <ac:spMk id="2" creationId="{6AC12E71-8344-700C-2D85-D021B891B0B4}"/>
          </ac:spMkLst>
        </pc:spChg>
        <pc:spChg chg="mod">
          <ac:chgData name="Gaurav Kesari" userId="5ab21388-baf7-4ff4-bc08-f69762d4b20e" providerId="ADAL" clId="{9F5CD523-AC6F-4AC0-9530-F521BCA7F1C5}" dt="2024-06-14T11:28:48.684" v="4021" actId="1037"/>
          <ac:spMkLst>
            <pc:docMk/>
            <pc:sldMk cId="2846337546" sldId="2147482693"/>
            <ac:spMk id="3" creationId="{2A90B303-4826-B369-6BCA-9F541524CDA5}"/>
          </ac:spMkLst>
        </pc:spChg>
        <pc:spChg chg="del">
          <ac:chgData name="Gaurav Kesari" userId="5ab21388-baf7-4ff4-bc08-f69762d4b20e" providerId="ADAL" clId="{9F5CD523-AC6F-4AC0-9530-F521BCA7F1C5}" dt="2024-06-14T11:27:48.151" v="3909" actId="478"/>
          <ac:spMkLst>
            <pc:docMk/>
            <pc:sldMk cId="2846337546" sldId="2147482693"/>
            <ac:spMk id="14" creationId="{BB1C5F77-CF31-7986-3178-BD584F9921C6}"/>
          </ac:spMkLst>
        </pc:spChg>
        <pc:spChg chg="mod">
          <ac:chgData name="Gaurav Kesari" userId="5ab21388-baf7-4ff4-bc08-f69762d4b20e" providerId="ADAL" clId="{9F5CD523-AC6F-4AC0-9530-F521BCA7F1C5}" dt="2024-06-14T11:28:41.070" v="4000" actId="1037"/>
          <ac:spMkLst>
            <pc:docMk/>
            <pc:sldMk cId="2846337546" sldId="2147482693"/>
            <ac:spMk id="15" creationId="{8D63703C-994B-80E0-C535-1BA7E8C724BF}"/>
          </ac:spMkLst>
        </pc:spChg>
        <pc:spChg chg="del">
          <ac:chgData name="Gaurav Kesari" userId="5ab21388-baf7-4ff4-bc08-f69762d4b20e" providerId="ADAL" clId="{9F5CD523-AC6F-4AC0-9530-F521BCA7F1C5}" dt="2024-06-14T11:27:51.682" v="3912" actId="478"/>
          <ac:spMkLst>
            <pc:docMk/>
            <pc:sldMk cId="2846337546" sldId="2147482693"/>
            <ac:spMk id="16" creationId="{C5708BDD-5E67-2077-C395-C7BC7A9C69AB}"/>
          </ac:spMkLst>
        </pc:spChg>
        <pc:spChg chg="mod">
          <ac:chgData name="Gaurav Kesari" userId="5ab21388-baf7-4ff4-bc08-f69762d4b20e" providerId="ADAL" clId="{9F5CD523-AC6F-4AC0-9530-F521BCA7F1C5}" dt="2024-06-14T11:28:41.070" v="4000" actId="1037"/>
          <ac:spMkLst>
            <pc:docMk/>
            <pc:sldMk cId="2846337546" sldId="2147482693"/>
            <ac:spMk id="17" creationId="{5237B493-81AF-5D65-6801-1C32A4B77466}"/>
          </ac:spMkLst>
        </pc:spChg>
        <pc:spChg chg="del">
          <ac:chgData name="Gaurav Kesari" userId="5ab21388-baf7-4ff4-bc08-f69762d4b20e" providerId="ADAL" clId="{9F5CD523-AC6F-4AC0-9530-F521BCA7F1C5}" dt="2024-06-14T11:27:48.904" v="3910" actId="478"/>
          <ac:spMkLst>
            <pc:docMk/>
            <pc:sldMk cId="2846337546" sldId="2147482693"/>
            <ac:spMk id="18" creationId="{CB58475A-AD87-2328-5882-2223CDFF0A4B}"/>
          </ac:spMkLst>
        </pc:spChg>
        <pc:spChg chg="mod">
          <ac:chgData name="Gaurav Kesari" userId="5ab21388-baf7-4ff4-bc08-f69762d4b20e" providerId="ADAL" clId="{9F5CD523-AC6F-4AC0-9530-F521BCA7F1C5}" dt="2024-06-14T11:28:41.070" v="4000" actId="1037"/>
          <ac:spMkLst>
            <pc:docMk/>
            <pc:sldMk cId="2846337546" sldId="2147482693"/>
            <ac:spMk id="19" creationId="{6DC1DC46-AABD-45DB-B5BF-1A77E65D5095}"/>
          </ac:spMkLst>
        </pc:spChg>
        <pc:spChg chg="del">
          <ac:chgData name="Gaurav Kesari" userId="5ab21388-baf7-4ff4-bc08-f69762d4b20e" providerId="ADAL" clId="{9F5CD523-AC6F-4AC0-9530-F521BCA7F1C5}" dt="2024-06-14T11:27:52.877" v="3913" actId="478"/>
          <ac:spMkLst>
            <pc:docMk/>
            <pc:sldMk cId="2846337546" sldId="2147482693"/>
            <ac:spMk id="20" creationId="{32F24BB3-6462-FD41-DA52-90806E7FD672}"/>
          </ac:spMkLst>
        </pc:spChg>
        <pc:spChg chg="mod">
          <ac:chgData name="Gaurav Kesari" userId="5ab21388-baf7-4ff4-bc08-f69762d4b20e" providerId="ADAL" clId="{9F5CD523-AC6F-4AC0-9530-F521BCA7F1C5}" dt="2024-06-14T11:28:41.070" v="4000" actId="1037"/>
          <ac:spMkLst>
            <pc:docMk/>
            <pc:sldMk cId="2846337546" sldId="2147482693"/>
            <ac:spMk id="21" creationId="{82E6B9F2-4FEB-7890-3AF6-79D81498DDCB}"/>
          </ac:spMkLst>
        </pc:spChg>
        <pc:spChg chg="mod">
          <ac:chgData name="Gaurav Kesari" userId="5ab21388-baf7-4ff4-bc08-f69762d4b20e" providerId="ADAL" clId="{9F5CD523-AC6F-4AC0-9530-F521BCA7F1C5}" dt="2024-06-14T11:28:48.684" v="4021" actId="1037"/>
          <ac:spMkLst>
            <pc:docMk/>
            <pc:sldMk cId="2846337546" sldId="2147482693"/>
            <ac:spMk id="24" creationId="{85F4B4C2-F8FB-EB2E-91EE-3E639F516E6E}"/>
          </ac:spMkLst>
        </pc:spChg>
        <pc:spChg chg="mod">
          <ac:chgData name="Gaurav Kesari" userId="5ab21388-baf7-4ff4-bc08-f69762d4b20e" providerId="ADAL" clId="{9F5CD523-AC6F-4AC0-9530-F521BCA7F1C5}" dt="2024-06-14T11:28:48.684" v="4021" actId="1037"/>
          <ac:spMkLst>
            <pc:docMk/>
            <pc:sldMk cId="2846337546" sldId="2147482693"/>
            <ac:spMk id="25" creationId="{C301EA52-2085-FB44-BBC3-1A6512330813}"/>
          </ac:spMkLst>
        </pc:spChg>
        <pc:spChg chg="mod">
          <ac:chgData name="Gaurav Kesari" userId="5ab21388-baf7-4ff4-bc08-f69762d4b20e" providerId="ADAL" clId="{9F5CD523-AC6F-4AC0-9530-F521BCA7F1C5}" dt="2024-06-14T11:28:48.684" v="4021" actId="1037"/>
          <ac:spMkLst>
            <pc:docMk/>
            <pc:sldMk cId="2846337546" sldId="2147482693"/>
            <ac:spMk id="29" creationId="{B098C853-6F5C-C982-7B75-B6125078DF8B}"/>
          </ac:spMkLst>
        </pc:spChg>
        <pc:picChg chg="del">
          <ac:chgData name="Gaurav Kesari" userId="5ab21388-baf7-4ff4-bc08-f69762d4b20e" providerId="ADAL" clId="{9F5CD523-AC6F-4AC0-9530-F521BCA7F1C5}" dt="2024-06-14T11:27:49.932" v="3911" actId="478"/>
          <ac:picMkLst>
            <pc:docMk/>
            <pc:sldMk cId="2846337546" sldId="2147482693"/>
            <ac:picMk id="32" creationId="{0FA7CA82-D6D6-998A-A558-2CFB08C3C637}"/>
          </ac:picMkLst>
        </pc:picChg>
        <pc:picChg chg="mod">
          <ac:chgData name="Gaurav Kesari" userId="5ab21388-baf7-4ff4-bc08-f69762d4b20e" providerId="ADAL" clId="{9F5CD523-AC6F-4AC0-9530-F521BCA7F1C5}" dt="2024-06-14T11:28:41.070" v="4000" actId="1037"/>
          <ac:picMkLst>
            <pc:docMk/>
            <pc:sldMk cId="2846337546" sldId="2147482693"/>
            <ac:picMk id="33" creationId="{504C48AF-B42B-38D7-B327-E70748BBA0CB}"/>
          </ac:picMkLst>
        </pc:picChg>
        <pc:picChg chg="mod">
          <ac:chgData name="Gaurav Kesari" userId="5ab21388-baf7-4ff4-bc08-f69762d4b20e" providerId="ADAL" clId="{9F5CD523-AC6F-4AC0-9530-F521BCA7F1C5}" dt="2024-06-14T11:28:48.684" v="4021" actId="1037"/>
          <ac:picMkLst>
            <pc:docMk/>
            <pc:sldMk cId="2846337546" sldId="2147482693"/>
            <ac:picMk id="34" creationId="{1243032F-FE55-2518-BC97-5E4E492FD440}"/>
          </ac:picMkLst>
        </pc:picChg>
      </pc:sldChg>
      <pc:sldChg chg="addSp delSp modSp new mod">
        <pc:chgData name="Gaurav Kesari" userId="5ab21388-baf7-4ff4-bc08-f69762d4b20e" providerId="ADAL" clId="{9F5CD523-AC6F-4AC0-9530-F521BCA7F1C5}" dt="2024-06-18T06:55:11.137" v="4699" actId="1076"/>
        <pc:sldMkLst>
          <pc:docMk/>
          <pc:sldMk cId="3176830293" sldId="2147482694"/>
        </pc:sldMkLst>
        <pc:spChg chg="del">
          <ac:chgData name="Gaurav Kesari" userId="5ab21388-baf7-4ff4-bc08-f69762d4b20e" providerId="ADAL" clId="{9F5CD523-AC6F-4AC0-9530-F521BCA7F1C5}" dt="2024-06-14T11:34:14.865" v="4064" actId="478"/>
          <ac:spMkLst>
            <pc:docMk/>
            <pc:sldMk cId="3176830293" sldId="2147482694"/>
            <ac:spMk id="2" creationId="{2E91B9B4-FD2C-CD23-8682-EB8C5AD75837}"/>
          </ac:spMkLst>
        </pc:spChg>
        <pc:spChg chg="del">
          <ac:chgData name="Gaurav Kesari" userId="5ab21388-baf7-4ff4-bc08-f69762d4b20e" providerId="ADAL" clId="{9F5CD523-AC6F-4AC0-9530-F521BCA7F1C5}" dt="2024-06-14T11:34:33.377" v="4070" actId="478"/>
          <ac:spMkLst>
            <pc:docMk/>
            <pc:sldMk cId="3176830293" sldId="2147482694"/>
            <ac:spMk id="3" creationId="{9CAFB5E4-D97B-4FAA-7B45-7AA2D98BDC70}"/>
          </ac:spMkLst>
        </pc:spChg>
        <pc:spChg chg="del">
          <ac:chgData name="Gaurav Kesari" userId="5ab21388-baf7-4ff4-bc08-f69762d4b20e" providerId="ADAL" clId="{9F5CD523-AC6F-4AC0-9530-F521BCA7F1C5}" dt="2024-06-14T11:34:13.628" v="4063" actId="478"/>
          <ac:spMkLst>
            <pc:docMk/>
            <pc:sldMk cId="3176830293" sldId="2147482694"/>
            <ac:spMk id="4" creationId="{63C1147F-E936-B6D5-1C17-37F474D976B3}"/>
          </ac:spMkLst>
        </pc:spChg>
        <pc:spChg chg="add mod">
          <ac:chgData name="Gaurav Kesari" userId="5ab21388-baf7-4ff4-bc08-f69762d4b20e" providerId="ADAL" clId="{9F5CD523-AC6F-4AC0-9530-F521BCA7F1C5}" dt="2024-06-14T11:43:23.439" v="4146" actId="20577"/>
          <ac:spMkLst>
            <pc:docMk/>
            <pc:sldMk cId="3176830293" sldId="2147482694"/>
            <ac:spMk id="8" creationId="{3784AB29-BEBE-554C-C89C-3B8C9F3982DA}"/>
          </ac:spMkLst>
        </pc:spChg>
        <pc:picChg chg="add mod modCrop">
          <ac:chgData name="Gaurav Kesari" userId="5ab21388-baf7-4ff4-bc08-f69762d4b20e" providerId="ADAL" clId="{9F5CD523-AC6F-4AC0-9530-F521BCA7F1C5}" dt="2024-06-18T06:55:11.137" v="4699" actId="1076"/>
          <ac:picMkLst>
            <pc:docMk/>
            <pc:sldMk cId="3176830293" sldId="2147482694"/>
            <ac:picMk id="5" creationId="{F819D1D2-C04E-4FB6-D5A9-11C15ED00F73}"/>
          </ac:picMkLst>
        </pc:picChg>
        <pc:picChg chg="add mod modCrop">
          <ac:chgData name="Gaurav Kesari" userId="5ab21388-baf7-4ff4-bc08-f69762d4b20e" providerId="ADAL" clId="{9F5CD523-AC6F-4AC0-9530-F521BCA7F1C5}" dt="2024-06-14T11:36:54.798" v="4107" actId="1076"/>
          <ac:picMkLst>
            <pc:docMk/>
            <pc:sldMk cId="3176830293" sldId="2147482694"/>
            <ac:picMk id="6" creationId="{82C2B958-CFF6-D846-9D72-C17047DFFCAC}"/>
          </ac:picMkLst>
        </pc:picChg>
      </pc:sldChg>
      <pc:sldChg chg="new del">
        <pc:chgData name="Gaurav Kesari" userId="5ab21388-baf7-4ff4-bc08-f69762d4b20e" providerId="ADAL" clId="{9F5CD523-AC6F-4AC0-9530-F521BCA7F1C5}" dt="2024-06-14T11:27:32.118" v="3907" actId="47"/>
        <pc:sldMkLst>
          <pc:docMk/>
          <pc:sldMk cId="4217152504" sldId="2147482694"/>
        </pc:sldMkLst>
      </pc:sldChg>
      <pc:sldChg chg="addSp delSp modSp new mod">
        <pc:chgData name="Gaurav Kesari" userId="5ab21388-baf7-4ff4-bc08-f69762d4b20e" providerId="ADAL" clId="{9F5CD523-AC6F-4AC0-9530-F521BCA7F1C5}" dt="2024-06-14T11:43:55.384" v="4150" actId="20577"/>
        <pc:sldMkLst>
          <pc:docMk/>
          <pc:sldMk cId="3428016675" sldId="2147482695"/>
        </pc:sldMkLst>
        <pc:spChg chg="del">
          <ac:chgData name="Gaurav Kesari" userId="5ab21388-baf7-4ff4-bc08-f69762d4b20e" providerId="ADAL" clId="{9F5CD523-AC6F-4AC0-9530-F521BCA7F1C5}" dt="2024-06-14T11:43:45.873" v="4147" actId="478"/>
          <ac:spMkLst>
            <pc:docMk/>
            <pc:sldMk cId="3428016675" sldId="2147482695"/>
            <ac:spMk id="2" creationId="{7FC0CFBF-F5FA-D008-1227-BAA86E518616}"/>
          </ac:spMkLst>
        </pc:spChg>
        <pc:spChg chg="add mod">
          <ac:chgData name="Gaurav Kesari" userId="5ab21388-baf7-4ff4-bc08-f69762d4b20e" providerId="ADAL" clId="{9F5CD523-AC6F-4AC0-9530-F521BCA7F1C5}" dt="2024-06-14T11:43:55.384" v="4150" actId="20577"/>
          <ac:spMkLst>
            <pc:docMk/>
            <pc:sldMk cId="3428016675" sldId="2147482695"/>
            <ac:spMk id="7" creationId="{047AA72F-859E-5D6B-D611-E5316AA200D2}"/>
          </ac:spMkLst>
        </pc:spChg>
        <pc:picChg chg="add mod modCrop">
          <ac:chgData name="Gaurav Kesari" userId="5ab21388-baf7-4ff4-bc08-f69762d4b20e" providerId="ADAL" clId="{9F5CD523-AC6F-4AC0-9530-F521BCA7F1C5}" dt="2024-06-14T11:42:47.359" v="4137" actId="14100"/>
          <ac:picMkLst>
            <pc:docMk/>
            <pc:sldMk cId="3428016675" sldId="2147482695"/>
            <ac:picMk id="5" creationId="{1430011A-3C4E-0157-06B6-AE4A2F708FFA}"/>
          </ac:picMkLst>
        </pc:picChg>
        <pc:picChg chg="add mod modCrop">
          <ac:chgData name="Gaurav Kesari" userId="5ab21388-baf7-4ff4-bc08-f69762d4b20e" providerId="ADAL" clId="{9F5CD523-AC6F-4AC0-9530-F521BCA7F1C5}" dt="2024-06-14T11:38:08.647" v="4118" actId="1076"/>
          <ac:picMkLst>
            <pc:docMk/>
            <pc:sldMk cId="3428016675" sldId="2147482695"/>
            <ac:picMk id="6" creationId="{BBFB0FBF-C88B-A782-42BA-366810FAFFB2}"/>
          </ac:picMkLst>
        </pc:picChg>
      </pc:sldChg>
      <pc:sldChg chg="addSp delSp modSp mod">
        <pc:chgData name="Gaurav Kesari" userId="5ab21388-baf7-4ff4-bc08-f69762d4b20e" providerId="ADAL" clId="{9F5CD523-AC6F-4AC0-9530-F521BCA7F1C5}" dt="2024-06-18T09:05:46.521" v="5033" actId="1037"/>
        <pc:sldMkLst>
          <pc:docMk/>
          <pc:sldMk cId="2757249485" sldId="2147482696"/>
        </pc:sldMkLst>
        <pc:spChg chg="mod">
          <ac:chgData name="Gaurav Kesari" userId="5ab21388-baf7-4ff4-bc08-f69762d4b20e" providerId="ADAL" clId="{9F5CD523-AC6F-4AC0-9530-F521BCA7F1C5}" dt="2024-06-18T08:26:21.633" v="4869" actId="20577"/>
          <ac:spMkLst>
            <pc:docMk/>
            <pc:sldMk cId="2757249485" sldId="2147482696"/>
            <ac:spMk id="2" creationId="{6AC12E71-8344-700C-2D85-D021B891B0B4}"/>
          </ac:spMkLst>
        </pc:spChg>
        <pc:spChg chg="mod">
          <ac:chgData name="Gaurav Kesari" userId="5ab21388-baf7-4ff4-bc08-f69762d4b20e" providerId="ADAL" clId="{9F5CD523-AC6F-4AC0-9530-F521BCA7F1C5}" dt="2024-06-18T06:50:47.416" v="4654" actId="1037"/>
          <ac:spMkLst>
            <pc:docMk/>
            <pc:sldMk cId="2757249485" sldId="2147482696"/>
            <ac:spMk id="4" creationId="{6F35135D-537E-44C5-821D-DB9B72A9C25E}"/>
          </ac:spMkLst>
        </pc:spChg>
        <pc:spChg chg="mod">
          <ac:chgData name="Gaurav Kesari" userId="5ab21388-baf7-4ff4-bc08-f69762d4b20e" providerId="ADAL" clId="{9F5CD523-AC6F-4AC0-9530-F521BCA7F1C5}" dt="2024-06-18T06:51:42.463" v="4689" actId="1038"/>
          <ac:spMkLst>
            <pc:docMk/>
            <pc:sldMk cId="2757249485" sldId="2147482696"/>
            <ac:spMk id="5" creationId="{D1DE037F-5CD1-E11A-C36C-D9CE8A2C5CBB}"/>
          </ac:spMkLst>
        </pc:spChg>
        <pc:spChg chg="mod">
          <ac:chgData name="Gaurav Kesari" userId="5ab21388-baf7-4ff4-bc08-f69762d4b20e" providerId="ADAL" clId="{9F5CD523-AC6F-4AC0-9530-F521BCA7F1C5}" dt="2024-06-18T07:27:08.682" v="4820" actId="20577"/>
          <ac:spMkLst>
            <pc:docMk/>
            <pc:sldMk cId="2757249485" sldId="2147482696"/>
            <ac:spMk id="6" creationId="{28D38A64-277A-620F-5B3F-08A85C17FDD9}"/>
          </ac:spMkLst>
        </pc:spChg>
        <pc:spChg chg="mod">
          <ac:chgData name="Gaurav Kesari" userId="5ab21388-baf7-4ff4-bc08-f69762d4b20e" providerId="ADAL" clId="{9F5CD523-AC6F-4AC0-9530-F521BCA7F1C5}" dt="2024-06-18T06:51:42.463" v="4689" actId="1038"/>
          <ac:spMkLst>
            <pc:docMk/>
            <pc:sldMk cId="2757249485" sldId="2147482696"/>
            <ac:spMk id="7" creationId="{6E3F18E9-447D-837E-2A60-DB79B223FDAE}"/>
          </ac:spMkLst>
        </pc:spChg>
        <pc:spChg chg="mod">
          <ac:chgData name="Gaurav Kesari" userId="5ab21388-baf7-4ff4-bc08-f69762d4b20e" providerId="ADAL" clId="{9F5CD523-AC6F-4AC0-9530-F521BCA7F1C5}" dt="2024-06-18T06:48:24.596" v="4620" actId="1038"/>
          <ac:spMkLst>
            <pc:docMk/>
            <pc:sldMk cId="2757249485" sldId="2147482696"/>
            <ac:spMk id="8" creationId="{BB5A874E-5D61-F2D9-A31D-34299D780CEF}"/>
          </ac:spMkLst>
        </pc:spChg>
        <pc:spChg chg="del mod">
          <ac:chgData name="Gaurav Kesari" userId="5ab21388-baf7-4ff4-bc08-f69762d4b20e" providerId="ADAL" clId="{9F5CD523-AC6F-4AC0-9530-F521BCA7F1C5}" dt="2024-06-18T06:51:02.495" v="4662" actId="478"/>
          <ac:spMkLst>
            <pc:docMk/>
            <pc:sldMk cId="2757249485" sldId="2147482696"/>
            <ac:spMk id="10" creationId="{432C3809-B1CE-BB95-D370-750C002FA7C0}"/>
          </ac:spMkLst>
        </pc:spChg>
        <pc:spChg chg="mod">
          <ac:chgData name="Gaurav Kesari" userId="5ab21388-baf7-4ff4-bc08-f69762d4b20e" providerId="ADAL" clId="{9F5CD523-AC6F-4AC0-9530-F521BCA7F1C5}" dt="2024-06-18T06:51:42.463" v="4689" actId="1038"/>
          <ac:spMkLst>
            <pc:docMk/>
            <pc:sldMk cId="2757249485" sldId="2147482696"/>
            <ac:spMk id="12" creationId="{589D6113-933C-6FE9-CEF1-4AAD598CA776}"/>
          </ac:spMkLst>
        </pc:spChg>
        <pc:spChg chg="mod">
          <ac:chgData name="Gaurav Kesari" userId="5ab21388-baf7-4ff4-bc08-f69762d4b20e" providerId="ADAL" clId="{9F5CD523-AC6F-4AC0-9530-F521BCA7F1C5}" dt="2024-06-18T07:26:51.135" v="4811" actId="20577"/>
          <ac:spMkLst>
            <pc:docMk/>
            <pc:sldMk cId="2757249485" sldId="2147482696"/>
            <ac:spMk id="14" creationId="{EB65436E-FD2D-3AD4-1387-643D436FEB6B}"/>
          </ac:spMkLst>
        </pc:spChg>
        <pc:spChg chg="del">
          <ac:chgData name="Gaurav Kesari" userId="5ab21388-baf7-4ff4-bc08-f69762d4b20e" providerId="ADAL" clId="{9F5CD523-AC6F-4AC0-9530-F521BCA7F1C5}" dt="2024-06-18T06:50:58.557" v="4659" actId="478"/>
          <ac:spMkLst>
            <pc:docMk/>
            <pc:sldMk cId="2757249485" sldId="2147482696"/>
            <ac:spMk id="15" creationId="{E1EEAE72-3EF8-00D9-E04A-0351DCA9DE13}"/>
          </ac:spMkLst>
        </pc:spChg>
        <pc:spChg chg="mod">
          <ac:chgData name="Gaurav Kesari" userId="5ab21388-baf7-4ff4-bc08-f69762d4b20e" providerId="ADAL" clId="{9F5CD523-AC6F-4AC0-9530-F521BCA7F1C5}" dt="2024-06-18T07:26:55.419" v="4819" actId="20577"/>
          <ac:spMkLst>
            <pc:docMk/>
            <pc:sldMk cId="2757249485" sldId="2147482696"/>
            <ac:spMk id="16" creationId="{D2E243DE-A19C-C8EA-D7F8-E2A7A6FD5B27}"/>
          </ac:spMkLst>
        </pc:spChg>
        <pc:spChg chg="mod">
          <ac:chgData name="Gaurav Kesari" userId="5ab21388-baf7-4ff4-bc08-f69762d4b20e" providerId="ADAL" clId="{9F5CD523-AC6F-4AC0-9530-F521BCA7F1C5}" dt="2024-06-18T06:51:42.463" v="4689" actId="1038"/>
          <ac:spMkLst>
            <pc:docMk/>
            <pc:sldMk cId="2757249485" sldId="2147482696"/>
            <ac:spMk id="18" creationId="{AFC41452-B01C-78B8-7C35-B7E04A534E56}"/>
          </ac:spMkLst>
        </pc:spChg>
        <pc:spChg chg="mod">
          <ac:chgData name="Gaurav Kesari" userId="5ab21388-baf7-4ff4-bc08-f69762d4b20e" providerId="ADAL" clId="{9F5CD523-AC6F-4AC0-9530-F521BCA7F1C5}" dt="2024-06-18T06:51:42.463" v="4689" actId="1038"/>
          <ac:spMkLst>
            <pc:docMk/>
            <pc:sldMk cId="2757249485" sldId="2147482696"/>
            <ac:spMk id="20" creationId="{F3E8DEC3-BEDF-86FB-7D57-B191522D10C1}"/>
          </ac:spMkLst>
        </pc:spChg>
        <pc:spChg chg="mod">
          <ac:chgData name="Gaurav Kesari" userId="5ab21388-baf7-4ff4-bc08-f69762d4b20e" providerId="ADAL" clId="{9F5CD523-AC6F-4AC0-9530-F521BCA7F1C5}" dt="2024-06-18T06:51:42.463" v="4689" actId="1038"/>
          <ac:spMkLst>
            <pc:docMk/>
            <pc:sldMk cId="2757249485" sldId="2147482696"/>
            <ac:spMk id="23" creationId="{967F088F-89C5-6BDB-482A-C4EB72F462B7}"/>
          </ac:spMkLst>
        </pc:spChg>
        <pc:spChg chg="mod">
          <ac:chgData name="Gaurav Kesari" userId="5ab21388-baf7-4ff4-bc08-f69762d4b20e" providerId="ADAL" clId="{9F5CD523-AC6F-4AC0-9530-F521BCA7F1C5}" dt="2024-06-18T09:02:30.828" v="4916" actId="1035"/>
          <ac:spMkLst>
            <pc:docMk/>
            <pc:sldMk cId="2757249485" sldId="2147482696"/>
            <ac:spMk id="26" creationId="{82409F0B-541C-2B5C-5FAD-31C3D3FDC411}"/>
          </ac:spMkLst>
        </pc:spChg>
        <pc:spChg chg="mod">
          <ac:chgData name="Gaurav Kesari" userId="5ab21388-baf7-4ff4-bc08-f69762d4b20e" providerId="ADAL" clId="{9F5CD523-AC6F-4AC0-9530-F521BCA7F1C5}" dt="2024-06-18T06:51:42.463" v="4689" actId="1038"/>
          <ac:spMkLst>
            <pc:docMk/>
            <pc:sldMk cId="2757249485" sldId="2147482696"/>
            <ac:spMk id="27" creationId="{DB7C7C37-660A-57BF-25E5-284DD18083B1}"/>
          </ac:spMkLst>
        </pc:spChg>
        <pc:spChg chg="mod">
          <ac:chgData name="Gaurav Kesari" userId="5ab21388-baf7-4ff4-bc08-f69762d4b20e" providerId="ADAL" clId="{9F5CD523-AC6F-4AC0-9530-F521BCA7F1C5}" dt="2024-06-18T07:27:32.583" v="4822" actId="20577"/>
          <ac:spMkLst>
            <pc:docMk/>
            <pc:sldMk cId="2757249485" sldId="2147482696"/>
            <ac:spMk id="28" creationId="{C20E93E0-CC64-77E0-DFBF-0DE8F1955ACD}"/>
          </ac:spMkLst>
        </pc:spChg>
        <pc:spChg chg="mod">
          <ac:chgData name="Gaurav Kesari" userId="5ab21388-baf7-4ff4-bc08-f69762d4b20e" providerId="ADAL" clId="{9F5CD523-AC6F-4AC0-9530-F521BCA7F1C5}" dt="2024-06-18T09:02:30.828" v="4916" actId="1035"/>
          <ac:spMkLst>
            <pc:docMk/>
            <pc:sldMk cId="2757249485" sldId="2147482696"/>
            <ac:spMk id="29" creationId="{5E52FEDA-A06A-7BD0-1F8E-32E0244FB90D}"/>
          </ac:spMkLst>
        </pc:spChg>
        <pc:spChg chg="mod">
          <ac:chgData name="Gaurav Kesari" userId="5ab21388-baf7-4ff4-bc08-f69762d4b20e" providerId="ADAL" clId="{9F5CD523-AC6F-4AC0-9530-F521BCA7F1C5}" dt="2024-06-18T07:27:44.978" v="4826" actId="20577"/>
          <ac:spMkLst>
            <pc:docMk/>
            <pc:sldMk cId="2757249485" sldId="2147482696"/>
            <ac:spMk id="30" creationId="{102E821F-32E9-44D5-1C76-5AB3A92D030C}"/>
          </ac:spMkLst>
        </pc:spChg>
        <pc:spChg chg="mod">
          <ac:chgData name="Gaurav Kesari" userId="5ab21388-baf7-4ff4-bc08-f69762d4b20e" providerId="ADAL" clId="{9F5CD523-AC6F-4AC0-9530-F521BCA7F1C5}" dt="2024-06-18T07:27:48.225" v="4829" actId="20577"/>
          <ac:spMkLst>
            <pc:docMk/>
            <pc:sldMk cId="2757249485" sldId="2147482696"/>
            <ac:spMk id="31" creationId="{6C112EA2-5B0D-EA68-73E9-C18807E4B12F}"/>
          </ac:spMkLst>
        </pc:spChg>
        <pc:spChg chg="mod">
          <ac:chgData name="Gaurav Kesari" userId="5ab21388-baf7-4ff4-bc08-f69762d4b20e" providerId="ADAL" clId="{9F5CD523-AC6F-4AC0-9530-F521BCA7F1C5}" dt="2024-06-18T06:51:42.463" v="4689" actId="1038"/>
          <ac:spMkLst>
            <pc:docMk/>
            <pc:sldMk cId="2757249485" sldId="2147482696"/>
            <ac:spMk id="32" creationId="{D04F5268-5632-A9F7-4DB9-BE91DD013562}"/>
          </ac:spMkLst>
        </pc:spChg>
        <pc:spChg chg="mod">
          <ac:chgData name="Gaurav Kesari" userId="5ab21388-baf7-4ff4-bc08-f69762d4b20e" providerId="ADAL" clId="{9F5CD523-AC6F-4AC0-9530-F521BCA7F1C5}" dt="2024-06-18T09:02:30.828" v="4916" actId="1035"/>
          <ac:spMkLst>
            <pc:docMk/>
            <pc:sldMk cId="2757249485" sldId="2147482696"/>
            <ac:spMk id="33" creationId="{D00E4C81-44D1-AA7D-1F66-8756C46608B5}"/>
          </ac:spMkLst>
        </pc:spChg>
        <pc:spChg chg="mod">
          <ac:chgData name="Gaurav Kesari" userId="5ab21388-baf7-4ff4-bc08-f69762d4b20e" providerId="ADAL" clId="{9F5CD523-AC6F-4AC0-9530-F521BCA7F1C5}" dt="2024-06-18T09:02:30.828" v="4916" actId="1035"/>
          <ac:spMkLst>
            <pc:docMk/>
            <pc:sldMk cId="2757249485" sldId="2147482696"/>
            <ac:spMk id="34" creationId="{D09A45C4-77FA-C003-FE36-A9D35D5DD3B0}"/>
          </ac:spMkLst>
        </pc:spChg>
        <pc:spChg chg="mod">
          <ac:chgData name="Gaurav Kesari" userId="5ab21388-baf7-4ff4-bc08-f69762d4b20e" providerId="ADAL" clId="{9F5CD523-AC6F-4AC0-9530-F521BCA7F1C5}" dt="2024-06-18T07:25:45.914" v="4778" actId="20577"/>
          <ac:spMkLst>
            <pc:docMk/>
            <pc:sldMk cId="2757249485" sldId="2147482696"/>
            <ac:spMk id="35" creationId="{8B5E3042-7CD9-BBFC-F902-E3541782CF71}"/>
          </ac:spMkLst>
        </pc:spChg>
        <pc:spChg chg="mod">
          <ac:chgData name="Gaurav Kesari" userId="5ab21388-baf7-4ff4-bc08-f69762d4b20e" providerId="ADAL" clId="{9F5CD523-AC6F-4AC0-9530-F521BCA7F1C5}" dt="2024-06-18T06:51:42.463" v="4689" actId="1038"/>
          <ac:spMkLst>
            <pc:docMk/>
            <pc:sldMk cId="2757249485" sldId="2147482696"/>
            <ac:spMk id="36" creationId="{1DE05400-0310-88C4-9F01-F05971ECFB4D}"/>
          </ac:spMkLst>
        </pc:spChg>
        <pc:spChg chg="del mod">
          <ac:chgData name="Gaurav Kesari" userId="5ab21388-baf7-4ff4-bc08-f69762d4b20e" providerId="ADAL" clId="{9F5CD523-AC6F-4AC0-9530-F521BCA7F1C5}" dt="2024-06-14T13:15:09.451" v="4358" actId="478"/>
          <ac:spMkLst>
            <pc:docMk/>
            <pc:sldMk cId="2757249485" sldId="2147482696"/>
            <ac:spMk id="37" creationId="{686F7B96-6246-7D05-E1FB-E71853C73A0A}"/>
          </ac:spMkLst>
        </pc:spChg>
        <pc:spChg chg="add mod">
          <ac:chgData name="Gaurav Kesari" userId="5ab21388-baf7-4ff4-bc08-f69762d4b20e" providerId="ADAL" clId="{9F5CD523-AC6F-4AC0-9530-F521BCA7F1C5}" dt="2024-06-18T06:51:42.463" v="4689" actId="1038"/>
          <ac:spMkLst>
            <pc:docMk/>
            <pc:sldMk cId="2757249485" sldId="2147482696"/>
            <ac:spMk id="43" creationId="{40AC95F8-ADBA-D4DD-4832-B40B6CD45394}"/>
          </ac:spMkLst>
        </pc:spChg>
        <pc:spChg chg="mod">
          <ac:chgData name="Gaurav Kesari" userId="5ab21388-baf7-4ff4-bc08-f69762d4b20e" providerId="ADAL" clId="{9F5CD523-AC6F-4AC0-9530-F521BCA7F1C5}" dt="2024-06-18T06:51:42.463" v="4689" actId="1038"/>
          <ac:spMkLst>
            <pc:docMk/>
            <pc:sldMk cId="2757249485" sldId="2147482696"/>
            <ac:spMk id="44" creationId="{429DB8D6-8992-A1A8-A753-63083B96E62D}"/>
          </ac:spMkLst>
        </pc:spChg>
        <pc:spChg chg="mod">
          <ac:chgData name="Gaurav Kesari" userId="5ab21388-baf7-4ff4-bc08-f69762d4b20e" providerId="ADAL" clId="{9F5CD523-AC6F-4AC0-9530-F521BCA7F1C5}" dt="2024-06-18T06:51:42.463" v="4689" actId="1038"/>
          <ac:spMkLst>
            <pc:docMk/>
            <pc:sldMk cId="2757249485" sldId="2147482696"/>
            <ac:spMk id="45" creationId="{FE1EDE70-BBC4-D33D-6B35-C9EDD0FEF43B}"/>
          </ac:spMkLst>
        </pc:spChg>
        <pc:spChg chg="add mod">
          <ac:chgData name="Gaurav Kesari" userId="5ab21388-baf7-4ff4-bc08-f69762d4b20e" providerId="ADAL" clId="{9F5CD523-AC6F-4AC0-9530-F521BCA7F1C5}" dt="2024-06-18T06:51:42.463" v="4689" actId="1038"/>
          <ac:spMkLst>
            <pc:docMk/>
            <pc:sldMk cId="2757249485" sldId="2147482696"/>
            <ac:spMk id="46" creationId="{746C3511-323B-DF5C-4A52-ADD0F862231A}"/>
          </ac:spMkLst>
        </pc:spChg>
        <pc:spChg chg="add mod">
          <ac:chgData name="Gaurav Kesari" userId="5ab21388-baf7-4ff4-bc08-f69762d4b20e" providerId="ADAL" clId="{9F5CD523-AC6F-4AC0-9530-F521BCA7F1C5}" dt="2024-06-18T07:26:00.251" v="4792" actId="20577"/>
          <ac:spMkLst>
            <pc:docMk/>
            <pc:sldMk cId="2757249485" sldId="2147482696"/>
            <ac:spMk id="47" creationId="{A9CFFDE9-115B-4770-E465-6D0B8E89F2C1}"/>
          </ac:spMkLst>
        </pc:spChg>
        <pc:spChg chg="mod">
          <ac:chgData name="Gaurav Kesari" userId="5ab21388-baf7-4ff4-bc08-f69762d4b20e" providerId="ADAL" clId="{9F5CD523-AC6F-4AC0-9530-F521BCA7F1C5}" dt="2024-06-18T09:02:30.828" v="4916" actId="1035"/>
          <ac:spMkLst>
            <pc:docMk/>
            <pc:sldMk cId="2757249485" sldId="2147482696"/>
            <ac:spMk id="50" creationId="{7747ED90-7D80-BE80-0505-D31B3A50B2AA}"/>
          </ac:spMkLst>
        </pc:spChg>
        <pc:spChg chg="mod">
          <ac:chgData name="Gaurav Kesari" userId="5ab21388-baf7-4ff4-bc08-f69762d4b20e" providerId="ADAL" clId="{9F5CD523-AC6F-4AC0-9530-F521BCA7F1C5}" dt="2024-06-18T09:02:30.828" v="4916" actId="1035"/>
          <ac:spMkLst>
            <pc:docMk/>
            <pc:sldMk cId="2757249485" sldId="2147482696"/>
            <ac:spMk id="51" creationId="{F28EFA05-900B-E56B-9A66-74498562A3A2}"/>
          </ac:spMkLst>
        </pc:spChg>
        <pc:spChg chg="mod">
          <ac:chgData name="Gaurav Kesari" userId="5ab21388-baf7-4ff4-bc08-f69762d4b20e" providerId="ADAL" clId="{9F5CD523-AC6F-4AC0-9530-F521BCA7F1C5}" dt="2024-06-18T09:02:30.828" v="4916" actId="1035"/>
          <ac:spMkLst>
            <pc:docMk/>
            <pc:sldMk cId="2757249485" sldId="2147482696"/>
            <ac:spMk id="54" creationId="{8574D753-7DF5-868A-C811-9E360AAC67FE}"/>
          </ac:spMkLst>
        </pc:spChg>
        <pc:spChg chg="mod">
          <ac:chgData name="Gaurav Kesari" userId="5ab21388-baf7-4ff4-bc08-f69762d4b20e" providerId="ADAL" clId="{9F5CD523-AC6F-4AC0-9530-F521BCA7F1C5}" dt="2024-06-18T09:02:30.828" v="4916" actId="1035"/>
          <ac:spMkLst>
            <pc:docMk/>
            <pc:sldMk cId="2757249485" sldId="2147482696"/>
            <ac:spMk id="55" creationId="{77EBE654-34AE-50D9-8EC5-FD873A3CF1B5}"/>
          </ac:spMkLst>
        </pc:spChg>
        <pc:spChg chg="mod">
          <ac:chgData name="Gaurav Kesari" userId="5ab21388-baf7-4ff4-bc08-f69762d4b20e" providerId="ADAL" clId="{9F5CD523-AC6F-4AC0-9530-F521BCA7F1C5}" dt="2024-06-18T09:02:30.828" v="4916" actId="1035"/>
          <ac:spMkLst>
            <pc:docMk/>
            <pc:sldMk cId="2757249485" sldId="2147482696"/>
            <ac:spMk id="56" creationId="{74330EEC-FA72-874E-C66C-BD68508FB9E4}"/>
          </ac:spMkLst>
        </pc:spChg>
        <pc:spChg chg="add mod">
          <ac:chgData name="Gaurav Kesari" userId="5ab21388-baf7-4ff4-bc08-f69762d4b20e" providerId="ADAL" clId="{9F5CD523-AC6F-4AC0-9530-F521BCA7F1C5}" dt="2024-06-18T07:27:36.652" v="4824" actId="20577"/>
          <ac:spMkLst>
            <pc:docMk/>
            <pc:sldMk cId="2757249485" sldId="2147482696"/>
            <ac:spMk id="65" creationId="{37E2B375-FC27-0B91-7201-5AE92536637C}"/>
          </ac:spMkLst>
        </pc:spChg>
        <pc:spChg chg="mod">
          <ac:chgData name="Gaurav Kesari" userId="5ab21388-baf7-4ff4-bc08-f69762d4b20e" providerId="ADAL" clId="{9F5CD523-AC6F-4AC0-9530-F521BCA7F1C5}" dt="2024-06-18T09:02:30.828" v="4916" actId="1035"/>
          <ac:spMkLst>
            <pc:docMk/>
            <pc:sldMk cId="2757249485" sldId="2147482696"/>
            <ac:spMk id="72" creationId="{B39439A0-D320-9156-0D7E-A16A2976F9DB}"/>
          </ac:spMkLst>
        </pc:spChg>
        <pc:spChg chg="mod">
          <ac:chgData name="Gaurav Kesari" userId="5ab21388-baf7-4ff4-bc08-f69762d4b20e" providerId="ADAL" clId="{9F5CD523-AC6F-4AC0-9530-F521BCA7F1C5}" dt="2024-06-18T09:02:30.828" v="4916" actId="1035"/>
          <ac:spMkLst>
            <pc:docMk/>
            <pc:sldMk cId="2757249485" sldId="2147482696"/>
            <ac:spMk id="73" creationId="{1959704B-7BDB-F320-C5C2-AF8F00906E45}"/>
          </ac:spMkLst>
        </pc:spChg>
        <pc:spChg chg="mod">
          <ac:chgData name="Gaurav Kesari" userId="5ab21388-baf7-4ff4-bc08-f69762d4b20e" providerId="ADAL" clId="{9F5CD523-AC6F-4AC0-9530-F521BCA7F1C5}" dt="2024-06-18T09:02:30.828" v="4916" actId="1035"/>
          <ac:spMkLst>
            <pc:docMk/>
            <pc:sldMk cId="2757249485" sldId="2147482696"/>
            <ac:spMk id="75" creationId="{1E04502D-F348-E924-F62F-0C53B6E14C2F}"/>
          </ac:spMkLst>
        </pc:spChg>
        <pc:spChg chg="mod">
          <ac:chgData name="Gaurav Kesari" userId="5ab21388-baf7-4ff4-bc08-f69762d4b20e" providerId="ADAL" clId="{9F5CD523-AC6F-4AC0-9530-F521BCA7F1C5}" dt="2024-06-18T09:02:30.828" v="4916" actId="1035"/>
          <ac:spMkLst>
            <pc:docMk/>
            <pc:sldMk cId="2757249485" sldId="2147482696"/>
            <ac:spMk id="77" creationId="{AB9E1041-0D9A-76AA-BA06-4C68774FE52D}"/>
          </ac:spMkLst>
        </pc:spChg>
        <pc:spChg chg="mod">
          <ac:chgData name="Gaurav Kesari" userId="5ab21388-baf7-4ff4-bc08-f69762d4b20e" providerId="ADAL" clId="{9F5CD523-AC6F-4AC0-9530-F521BCA7F1C5}" dt="2024-06-18T09:02:30.828" v="4916" actId="1035"/>
          <ac:spMkLst>
            <pc:docMk/>
            <pc:sldMk cId="2757249485" sldId="2147482696"/>
            <ac:spMk id="78" creationId="{1E22E132-F0D1-16DD-1A0A-4DB359B97EE0}"/>
          </ac:spMkLst>
        </pc:spChg>
        <pc:spChg chg="add mod">
          <ac:chgData name="Gaurav Kesari" userId="5ab21388-baf7-4ff4-bc08-f69762d4b20e" providerId="ADAL" clId="{9F5CD523-AC6F-4AC0-9530-F521BCA7F1C5}" dt="2024-06-18T06:48:24.596" v="4620" actId="1038"/>
          <ac:spMkLst>
            <pc:docMk/>
            <pc:sldMk cId="2757249485" sldId="2147482696"/>
            <ac:spMk id="79" creationId="{86A490E4-7155-D394-EBB9-CED0BD92C218}"/>
          </ac:spMkLst>
        </pc:spChg>
        <pc:spChg chg="mod">
          <ac:chgData name="Gaurav Kesari" userId="5ab21388-baf7-4ff4-bc08-f69762d4b20e" providerId="ADAL" clId="{9F5CD523-AC6F-4AC0-9530-F521BCA7F1C5}" dt="2024-06-18T09:02:30.828" v="4916" actId="1035"/>
          <ac:spMkLst>
            <pc:docMk/>
            <pc:sldMk cId="2757249485" sldId="2147482696"/>
            <ac:spMk id="81" creationId="{6A1FD5FB-A857-F79C-5989-45C341E45EE2}"/>
          </ac:spMkLst>
        </pc:spChg>
        <pc:spChg chg="add mod">
          <ac:chgData name="Gaurav Kesari" userId="5ab21388-baf7-4ff4-bc08-f69762d4b20e" providerId="ADAL" clId="{9F5CD523-AC6F-4AC0-9530-F521BCA7F1C5}" dt="2024-06-18T06:52:11.269" v="4694" actId="1076"/>
          <ac:spMkLst>
            <pc:docMk/>
            <pc:sldMk cId="2757249485" sldId="2147482696"/>
            <ac:spMk id="82" creationId="{93982115-6CC0-2004-221A-A20406E9D29B}"/>
          </ac:spMkLst>
        </pc:spChg>
        <pc:spChg chg="mod">
          <ac:chgData name="Gaurav Kesari" userId="5ab21388-baf7-4ff4-bc08-f69762d4b20e" providerId="ADAL" clId="{9F5CD523-AC6F-4AC0-9530-F521BCA7F1C5}" dt="2024-06-18T09:02:30.828" v="4916" actId="1035"/>
          <ac:spMkLst>
            <pc:docMk/>
            <pc:sldMk cId="2757249485" sldId="2147482696"/>
            <ac:spMk id="84" creationId="{DE6FC781-5612-9A9F-E162-9B8FA4C21869}"/>
          </ac:spMkLst>
        </pc:spChg>
        <pc:spChg chg="mod">
          <ac:chgData name="Gaurav Kesari" userId="5ab21388-baf7-4ff4-bc08-f69762d4b20e" providerId="ADAL" clId="{9F5CD523-AC6F-4AC0-9530-F521BCA7F1C5}" dt="2024-06-18T09:02:30.828" v="4916" actId="1035"/>
          <ac:spMkLst>
            <pc:docMk/>
            <pc:sldMk cId="2757249485" sldId="2147482696"/>
            <ac:spMk id="85" creationId="{322AB08F-FB7E-8258-11B2-F58B5F6FD49D}"/>
          </ac:spMkLst>
        </pc:spChg>
        <pc:spChg chg="mod">
          <ac:chgData name="Gaurav Kesari" userId="5ab21388-baf7-4ff4-bc08-f69762d4b20e" providerId="ADAL" clId="{9F5CD523-AC6F-4AC0-9530-F521BCA7F1C5}" dt="2024-06-18T09:02:30.828" v="4916" actId="1035"/>
          <ac:spMkLst>
            <pc:docMk/>
            <pc:sldMk cId="2757249485" sldId="2147482696"/>
            <ac:spMk id="86" creationId="{87251202-3453-2A61-8AC6-08E70276202D}"/>
          </ac:spMkLst>
        </pc:spChg>
        <pc:spChg chg="mod">
          <ac:chgData name="Gaurav Kesari" userId="5ab21388-baf7-4ff4-bc08-f69762d4b20e" providerId="ADAL" clId="{9F5CD523-AC6F-4AC0-9530-F521BCA7F1C5}" dt="2024-06-18T09:02:30.828" v="4916" actId="1035"/>
          <ac:spMkLst>
            <pc:docMk/>
            <pc:sldMk cId="2757249485" sldId="2147482696"/>
            <ac:spMk id="87" creationId="{A93706AF-247F-37A0-4DB2-0F2756B31785}"/>
          </ac:spMkLst>
        </pc:spChg>
        <pc:spChg chg="mod">
          <ac:chgData name="Gaurav Kesari" userId="5ab21388-baf7-4ff4-bc08-f69762d4b20e" providerId="ADAL" clId="{9F5CD523-AC6F-4AC0-9530-F521BCA7F1C5}" dt="2024-06-18T09:02:30.828" v="4916" actId="1035"/>
          <ac:spMkLst>
            <pc:docMk/>
            <pc:sldMk cId="2757249485" sldId="2147482696"/>
            <ac:spMk id="88" creationId="{24D5A2D1-1F8C-557F-B55D-9324B78B202B}"/>
          </ac:spMkLst>
        </pc:spChg>
        <pc:spChg chg="mod">
          <ac:chgData name="Gaurav Kesari" userId="5ab21388-baf7-4ff4-bc08-f69762d4b20e" providerId="ADAL" clId="{9F5CD523-AC6F-4AC0-9530-F521BCA7F1C5}" dt="2024-06-18T09:02:30.828" v="4916" actId="1035"/>
          <ac:spMkLst>
            <pc:docMk/>
            <pc:sldMk cId="2757249485" sldId="2147482696"/>
            <ac:spMk id="89" creationId="{1865AC7C-DC9F-BBBA-BD13-2C5D28113447}"/>
          </ac:spMkLst>
        </pc:spChg>
        <pc:spChg chg="mod">
          <ac:chgData name="Gaurav Kesari" userId="5ab21388-baf7-4ff4-bc08-f69762d4b20e" providerId="ADAL" clId="{9F5CD523-AC6F-4AC0-9530-F521BCA7F1C5}" dt="2024-06-18T09:02:30.828" v="4916" actId="1035"/>
          <ac:spMkLst>
            <pc:docMk/>
            <pc:sldMk cId="2757249485" sldId="2147482696"/>
            <ac:spMk id="91" creationId="{5F492E29-41E1-C9BE-D9FE-975B8E8D2C79}"/>
          </ac:spMkLst>
        </pc:spChg>
        <pc:spChg chg="mod">
          <ac:chgData name="Gaurav Kesari" userId="5ab21388-baf7-4ff4-bc08-f69762d4b20e" providerId="ADAL" clId="{9F5CD523-AC6F-4AC0-9530-F521BCA7F1C5}" dt="2024-06-18T09:02:30.828" v="4916" actId="1035"/>
          <ac:spMkLst>
            <pc:docMk/>
            <pc:sldMk cId="2757249485" sldId="2147482696"/>
            <ac:spMk id="95" creationId="{77322E23-9377-7B17-58B2-6E7D09FBA9E0}"/>
          </ac:spMkLst>
        </pc:spChg>
        <pc:spChg chg="mod">
          <ac:chgData name="Gaurav Kesari" userId="5ab21388-baf7-4ff4-bc08-f69762d4b20e" providerId="ADAL" clId="{9F5CD523-AC6F-4AC0-9530-F521BCA7F1C5}" dt="2024-06-18T09:02:30.828" v="4916" actId="1035"/>
          <ac:spMkLst>
            <pc:docMk/>
            <pc:sldMk cId="2757249485" sldId="2147482696"/>
            <ac:spMk id="96" creationId="{2C8803D5-FDE7-267F-1CD5-97738425872F}"/>
          </ac:spMkLst>
        </pc:spChg>
        <pc:spChg chg="add mod">
          <ac:chgData name="Gaurav Kesari" userId="5ab21388-baf7-4ff4-bc08-f69762d4b20e" providerId="ADAL" clId="{9F5CD523-AC6F-4AC0-9530-F521BCA7F1C5}" dt="2024-06-18T09:05:46.521" v="5033" actId="1037"/>
          <ac:spMkLst>
            <pc:docMk/>
            <pc:sldMk cId="2757249485" sldId="2147482696"/>
            <ac:spMk id="97" creationId="{6A78C20E-0728-62BC-197C-0A575A48B814}"/>
          </ac:spMkLst>
        </pc:spChg>
        <pc:spChg chg="add mod">
          <ac:chgData name="Gaurav Kesari" userId="5ab21388-baf7-4ff4-bc08-f69762d4b20e" providerId="ADAL" clId="{9F5CD523-AC6F-4AC0-9530-F521BCA7F1C5}" dt="2024-06-18T09:05:46.521" v="5033" actId="1037"/>
          <ac:spMkLst>
            <pc:docMk/>
            <pc:sldMk cId="2757249485" sldId="2147482696"/>
            <ac:spMk id="98" creationId="{4B6BB3AC-3EC7-5C2B-46C1-96FF823F0AAE}"/>
          </ac:spMkLst>
        </pc:spChg>
        <pc:spChg chg="add mod">
          <ac:chgData name="Gaurav Kesari" userId="5ab21388-baf7-4ff4-bc08-f69762d4b20e" providerId="ADAL" clId="{9F5CD523-AC6F-4AC0-9530-F521BCA7F1C5}" dt="2024-06-18T09:05:46.521" v="5033" actId="1037"/>
          <ac:spMkLst>
            <pc:docMk/>
            <pc:sldMk cId="2757249485" sldId="2147482696"/>
            <ac:spMk id="99" creationId="{1D6F012D-D410-46B6-B3EA-9DEDB1E250B2}"/>
          </ac:spMkLst>
        </pc:spChg>
        <pc:spChg chg="add mod">
          <ac:chgData name="Gaurav Kesari" userId="5ab21388-baf7-4ff4-bc08-f69762d4b20e" providerId="ADAL" clId="{9F5CD523-AC6F-4AC0-9530-F521BCA7F1C5}" dt="2024-06-18T09:05:46.521" v="5033" actId="1037"/>
          <ac:spMkLst>
            <pc:docMk/>
            <pc:sldMk cId="2757249485" sldId="2147482696"/>
            <ac:spMk id="100" creationId="{DFF665FE-2DA7-A20F-3D9A-B7D07806AE4F}"/>
          </ac:spMkLst>
        </pc:spChg>
        <pc:spChg chg="add mod">
          <ac:chgData name="Gaurav Kesari" userId="5ab21388-baf7-4ff4-bc08-f69762d4b20e" providerId="ADAL" clId="{9F5CD523-AC6F-4AC0-9530-F521BCA7F1C5}" dt="2024-06-18T09:05:46.521" v="5033" actId="1037"/>
          <ac:spMkLst>
            <pc:docMk/>
            <pc:sldMk cId="2757249485" sldId="2147482696"/>
            <ac:spMk id="101" creationId="{2E0E7734-B01A-77E4-042D-547E7ACAA673}"/>
          </ac:spMkLst>
        </pc:spChg>
        <pc:spChg chg="add mod">
          <ac:chgData name="Gaurav Kesari" userId="5ab21388-baf7-4ff4-bc08-f69762d4b20e" providerId="ADAL" clId="{9F5CD523-AC6F-4AC0-9530-F521BCA7F1C5}" dt="2024-06-18T09:05:46.521" v="5033" actId="1037"/>
          <ac:spMkLst>
            <pc:docMk/>
            <pc:sldMk cId="2757249485" sldId="2147482696"/>
            <ac:spMk id="103" creationId="{B3EFD171-7B95-887E-77CB-81C3711F7BF9}"/>
          </ac:spMkLst>
        </pc:spChg>
        <pc:grpChg chg="mod">
          <ac:chgData name="Gaurav Kesari" userId="5ab21388-baf7-4ff4-bc08-f69762d4b20e" providerId="ADAL" clId="{9F5CD523-AC6F-4AC0-9530-F521BCA7F1C5}" dt="2024-06-18T09:02:30.828" v="4916" actId="1035"/>
          <ac:grpSpMkLst>
            <pc:docMk/>
            <pc:sldMk cId="2757249485" sldId="2147482696"/>
            <ac:grpSpMk id="22" creationId="{09832109-DC6B-C654-815D-339D228D8BEB}"/>
          </ac:grpSpMkLst>
        </pc:grpChg>
        <pc:grpChg chg="mod">
          <ac:chgData name="Gaurav Kesari" userId="5ab21388-baf7-4ff4-bc08-f69762d4b20e" providerId="ADAL" clId="{9F5CD523-AC6F-4AC0-9530-F521BCA7F1C5}" dt="2024-06-18T09:02:30.828" v="4916" actId="1035"/>
          <ac:grpSpMkLst>
            <pc:docMk/>
            <pc:sldMk cId="2757249485" sldId="2147482696"/>
            <ac:grpSpMk id="38" creationId="{61D82690-8E32-CD9F-7398-463BB148A734}"/>
          </ac:grpSpMkLst>
        </pc:grpChg>
        <pc:grpChg chg="mod">
          <ac:chgData name="Gaurav Kesari" userId="5ab21388-baf7-4ff4-bc08-f69762d4b20e" providerId="ADAL" clId="{9F5CD523-AC6F-4AC0-9530-F521BCA7F1C5}" dt="2024-06-18T09:02:30.828" v="4916" actId="1035"/>
          <ac:grpSpMkLst>
            <pc:docMk/>
            <pc:sldMk cId="2757249485" sldId="2147482696"/>
            <ac:grpSpMk id="57" creationId="{DB90C75A-765C-6B8C-252A-ACDB2D1F5330}"/>
          </ac:grpSpMkLst>
        </pc:grpChg>
        <pc:grpChg chg="mod">
          <ac:chgData name="Gaurav Kesari" userId="5ab21388-baf7-4ff4-bc08-f69762d4b20e" providerId="ADAL" clId="{9F5CD523-AC6F-4AC0-9530-F521BCA7F1C5}" dt="2024-06-18T09:02:30.828" v="4916" actId="1035"/>
          <ac:grpSpMkLst>
            <pc:docMk/>
            <pc:sldMk cId="2757249485" sldId="2147482696"/>
            <ac:grpSpMk id="92" creationId="{91BD90C5-B07E-25D5-42F5-3F1AFD2ABFED}"/>
          </ac:grpSpMkLst>
        </pc:grpChg>
        <pc:picChg chg="mod">
          <ac:chgData name="Gaurav Kesari" userId="5ab21388-baf7-4ff4-bc08-f69762d4b20e" providerId="ADAL" clId="{9F5CD523-AC6F-4AC0-9530-F521BCA7F1C5}" dt="2024-06-18T09:02:30.828" v="4916" actId="1035"/>
          <ac:picMkLst>
            <pc:docMk/>
            <pc:sldMk cId="2757249485" sldId="2147482696"/>
            <ac:picMk id="37" creationId="{A76707C4-892A-549E-2E2B-5B95D93915EA}"/>
          </ac:picMkLst>
        </pc:picChg>
        <pc:picChg chg="mod">
          <ac:chgData name="Gaurav Kesari" userId="5ab21388-baf7-4ff4-bc08-f69762d4b20e" providerId="ADAL" clId="{9F5CD523-AC6F-4AC0-9530-F521BCA7F1C5}" dt="2024-06-18T09:02:30.828" v="4916" actId="1035"/>
          <ac:picMkLst>
            <pc:docMk/>
            <pc:sldMk cId="2757249485" sldId="2147482696"/>
            <ac:picMk id="52" creationId="{1B3EC3B4-3FA5-C98A-CF2D-70DA6530FAC3}"/>
          </ac:picMkLst>
        </pc:picChg>
        <pc:picChg chg="add mod">
          <ac:chgData name="Gaurav Kesari" userId="5ab21388-baf7-4ff4-bc08-f69762d4b20e" providerId="ADAL" clId="{9F5CD523-AC6F-4AC0-9530-F521BCA7F1C5}" dt="2024-06-18T06:50:47.416" v="4654" actId="1037"/>
          <ac:picMkLst>
            <pc:docMk/>
            <pc:sldMk cId="2757249485" sldId="2147482696"/>
            <ac:picMk id="66" creationId="{4AB3ABB4-4EE9-96AB-AF18-3312FF7632E4}"/>
          </ac:picMkLst>
        </pc:picChg>
        <pc:picChg chg="add mod">
          <ac:chgData name="Gaurav Kesari" userId="5ab21388-baf7-4ff4-bc08-f69762d4b20e" providerId="ADAL" clId="{9F5CD523-AC6F-4AC0-9530-F521BCA7F1C5}" dt="2024-06-14T13:21:10.196" v="4481"/>
          <ac:picMkLst>
            <pc:docMk/>
            <pc:sldMk cId="2757249485" sldId="2147482696"/>
            <ac:picMk id="68" creationId="{58D58874-747D-6AAE-2A4D-EBA2C27AEA5C}"/>
          </ac:picMkLst>
        </pc:picChg>
        <pc:picChg chg="add mod">
          <ac:chgData name="Gaurav Kesari" userId="5ab21388-baf7-4ff4-bc08-f69762d4b20e" providerId="ADAL" clId="{9F5CD523-AC6F-4AC0-9530-F521BCA7F1C5}" dt="2024-06-14T13:21:10.196" v="4481"/>
          <ac:picMkLst>
            <pc:docMk/>
            <pc:sldMk cId="2757249485" sldId="2147482696"/>
            <ac:picMk id="69" creationId="{B6BEDEAB-7231-0080-7DFC-067AC2B7AE1E}"/>
          </ac:picMkLst>
        </pc:picChg>
        <pc:picChg chg="add mod">
          <ac:chgData name="Gaurav Kesari" userId="5ab21388-baf7-4ff4-bc08-f69762d4b20e" providerId="ADAL" clId="{9F5CD523-AC6F-4AC0-9530-F521BCA7F1C5}" dt="2024-06-18T06:48:24.596" v="4620" actId="1038"/>
          <ac:picMkLst>
            <pc:docMk/>
            <pc:sldMk cId="2757249485" sldId="2147482696"/>
            <ac:picMk id="70" creationId="{72B01610-7958-43E2-8CE2-62FBDC265567}"/>
          </ac:picMkLst>
        </pc:picChg>
        <pc:picChg chg="add mod">
          <ac:chgData name="Gaurav Kesari" userId="5ab21388-baf7-4ff4-bc08-f69762d4b20e" providerId="ADAL" clId="{9F5CD523-AC6F-4AC0-9530-F521BCA7F1C5}" dt="2024-06-18T06:52:07.060" v="4693" actId="1076"/>
          <ac:picMkLst>
            <pc:docMk/>
            <pc:sldMk cId="2757249485" sldId="2147482696"/>
            <ac:picMk id="80" creationId="{4731BAC3-256A-890F-4404-AE43126F40DE}"/>
          </ac:picMkLst>
        </pc:picChg>
        <pc:picChg chg="mod">
          <ac:chgData name="Gaurav Kesari" userId="5ab21388-baf7-4ff4-bc08-f69762d4b20e" providerId="ADAL" clId="{9F5CD523-AC6F-4AC0-9530-F521BCA7F1C5}" dt="2024-06-18T09:02:30.828" v="4916" actId="1035"/>
          <ac:picMkLst>
            <pc:docMk/>
            <pc:sldMk cId="2757249485" sldId="2147482696"/>
            <ac:picMk id="90" creationId="{2AF1E680-0439-3313-AA0B-BD5E23438B23}"/>
          </ac:picMkLst>
        </pc:picChg>
        <pc:picChg chg="add mod">
          <ac:chgData name="Gaurav Kesari" userId="5ab21388-baf7-4ff4-bc08-f69762d4b20e" providerId="ADAL" clId="{9F5CD523-AC6F-4AC0-9530-F521BCA7F1C5}" dt="2024-06-18T09:05:46.521" v="5033" actId="1037"/>
          <ac:picMkLst>
            <pc:docMk/>
            <pc:sldMk cId="2757249485" sldId="2147482696"/>
            <ac:picMk id="102" creationId="{665C5EF5-EC3A-96E8-804B-C2467DF23363}"/>
          </ac:picMkLst>
        </pc:picChg>
        <pc:cxnChg chg="mod">
          <ac:chgData name="Gaurav Kesari" userId="5ab21388-baf7-4ff4-bc08-f69762d4b20e" providerId="ADAL" clId="{9F5CD523-AC6F-4AC0-9530-F521BCA7F1C5}" dt="2024-06-18T06:51:42.463" v="4689" actId="1038"/>
          <ac:cxnSpMkLst>
            <pc:docMk/>
            <pc:sldMk cId="2757249485" sldId="2147482696"/>
            <ac:cxnSpMk id="39" creationId="{16F27527-1F19-DCB8-1809-AA82639011F2}"/>
          </ac:cxnSpMkLst>
        </pc:cxnChg>
        <pc:cxnChg chg="mod">
          <ac:chgData name="Gaurav Kesari" userId="5ab21388-baf7-4ff4-bc08-f69762d4b20e" providerId="ADAL" clId="{9F5CD523-AC6F-4AC0-9530-F521BCA7F1C5}" dt="2024-06-18T06:51:42.463" v="4689" actId="1038"/>
          <ac:cxnSpMkLst>
            <pc:docMk/>
            <pc:sldMk cId="2757249485" sldId="2147482696"/>
            <ac:cxnSpMk id="40" creationId="{8FCE2267-FF4E-7E6A-6078-9DEF61ADEBCE}"/>
          </ac:cxnSpMkLst>
        </pc:cxnChg>
        <pc:cxnChg chg="mod">
          <ac:chgData name="Gaurav Kesari" userId="5ab21388-baf7-4ff4-bc08-f69762d4b20e" providerId="ADAL" clId="{9F5CD523-AC6F-4AC0-9530-F521BCA7F1C5}" dt="2024-06-18T06:51:11.072" v="4663" actId="14100"/>
          <ac:cxnSpMkLst>
            <pc:docMk/>
            <pc:sldMk cId="2757249485" sldId="2147482696"/>
            <ac:cxnSpMk id="48" creationId="{8A784486-0E82-9078-F843-F160AA1B1389}"/>
          </ac:cxnSpMkLst>
        </pc:cxnChg>
        <pc:cxnChg chg="mod">
          <ac:chgData name="Gaurav Kesari" userId="5ab21388-baf7-4ff4-bc08-f69762d4b20e" providerId="ADAL" clId="{9F5CD523-AC6F-4AC0-9530-F521BCA7F1C5}" dt="2024-06-18T06:51:42.463" v="4689" actId="1038"/>
          <ac:cxnSpMkLst>
            <pc:docMk/>
            <pc:sldMk cId="2757249485" sldId="2147482696"/>
            <ac:cxnSpMk id="49" creationId="{3B3ADA1A-C0A9-7E6A-F419-A473BFD8B24A}"/>
          </ac:cxnSpMkLst>
        </pc:cxnChg>
        <pc:cxnChg chg="add del mod">
          <ac:chgData name="Gaurav Kesari" userId="5ab21388-baf7-4ff4-bc08-f69762d4b20e" providerId="ADAL" clId="{9F5CD523-AC6F-4AC0-9530-F521BCA7F1C5}" dt="2024-06-14T13:16:49.584" v="4391" actId="478"/>
          <ac:cxnSpMkLst>
            <pc:docMk/>
            <pc:sldMk cId="2757249485" sldId="2147482696"/>
            <ac:cxnSpMk id="52" creationId="{FC609AEC-9910-448D-B220-9D34A70B3B7F}"/>
          </ac:cxnSpMkLst>
        </pc:cxnChg>
        <pc:cxnChg chg="add mod">
          <ac:chgData name="Gaurav Kesari" userId="5ab21388-baf7-4ff4-bc08-f69762d4b20e" providerId="ADAL" clId="{9F5CD523-AC6F-4AC0-9530-F521BCA7F1C5}" dt="2024-06-18T06:51:42.463" v="4689" actId="1038"/>
          <ac:cxnSpMkLst>
            <pc:docMk/>
            <pc:sldMk cId="2757249485" sldId="2147482696"/>
            <ac:cxnSpMk id="53" creationId="{90755292-C6EC-AA22-BACB-5193B2E4381B}"/>
          </ac:cxnSpMkLst>
        </pc:cxnChg>
        <pc:cxnChg chg="add del mod">
          <ac:chgData name="Gaurav Kesari" userId="5ab21388-baf7-4ff4-bc08-f69762d4b20e" providerId="ADAL" clId="{9F5CD523-AC6F-4AC0-9530-F521BCA7F1C5}" dt="2024-06-14T13:16:48.012" v="4389" actId="478"/>
          <ac:cxnSpMkLst>
            <pc:docMk/>
            <pc:sldMk cId="2757249485" sldId="2147482696"/>
            <ac:cxnSpMk id="54" creationId="{A41C615F-DEA5-5787-94D7-5F3929EF1B8C}"/>
          </ac:cxnSpMkLst>
        </pc:cxnChg>
        <pc:cxnChg chg="add del mod">
          <ac:chgData name="Gaurav Kesari" userId="5ab21388-baf7-4ff4-bc08-f69762d4b20e" providerId="ADAL" clId="{9F5CD523-AC6F-4AC0-9530-F521BCA7F1C5}" dt="2024-06-14T13:16:48.726" v="4390" actId="478"/>
          <ac:cxnSpMkLst>
            <pc:docMk/>
            <pc:sldMk cId="2757249485" sldId="2147482696"/>
            <ac:cxnSpMk id="55" creationId="{A92C888F-E3C0-4BC4-219C-37E9C43BEA6A}"/>
          </ac:cxnSpMkLst>
        </pc:cxnChg>
        <pc:cxnChg chg="add mod">
          <ac:chgData name="Gaurav Kesari" userId="5ab21388-baf7-4ff4-bc08-f69762d4b20e" providerId="ADAL" clId="{9F5CD523-AC6F-4AC0-9530-F521BCA7F1C5}" dt="2024-06-18T06:51:34.125" v="4669" actId="14100"/>
          <ac:cxnSpMkLst>
            <pc:docMk/>
            <pc:sldMk cId="2757249485" sldId="2147482696"/>
            <ac:cxnSpMk id="74" creationId="{77110FD0-CD84-D845-50B2-5DCDC6B73456}"/>
          </ac:cxnSpMkLst>
        </pc:cxnChg>
        <pc:cxnChg chg="add mod">
          <ac:chgData name="Gaurav Kesari" userId="5ab21388-baf7-4ff4-bc08-f69762d4b20e" providerId="ADAL" clId="{9F5CD523-AC6F-4AC0-9530-F521BCA7F1C5}" dt="2024-06-18T06:48:24.596" v="4620" actId="1038"/>
          <ac:cxnSpMkLst>
            <pc:docMk/>
            <pc:sldMk cId="2757249485" sldId="2147482696"/>
            <ac:cxnSpMk id="76" creationId="{C74AECD7-2044-9213-FE09-FD341AFEB56B}"/>
          </ac:cxnSpMkLst>
        </pc:cxnChg>
        <pc:cxnChg chg="add mod">
          <ac:chgData name="Gaurav Kesari" userId="5ab21388-baf7-4ff4-bc08-f69762d4b20e" providerId="ADAL" clId="{9F5CD523-AC6F-4AC0-9530-F521BCA7F1C5}" dt="2024-06-18T06:51:59.664" v="4692" actId="14100"/>
          <ac:cxnSpMkLst>
            <pc:docMk/>
            <pc:sldMk cId="2757249485" sldId="2147482696"/>
            <ac:cxnSpMk id="83" creationId="{F9F73EC1-2E19-906D-B81D-704E182E4556}"/>
          </ac:cxnSpMkLst>
        </pc:cxnChg>
      </pc:sldChg>
      <pc:sldChg chg="modSp add mod">
        <pc:chgData name="Gaurav Kesari" userId="5ab21388-baf7-4ff4-bc08-f69762d4b20e" providerId="ADAL" clId="{9F5CD523-AC6F-4AC0-9530-F521BCA7F1C5}" dt="2024-06-18T12:56:58.850" v="5230" actId="1035"/>
        <pc:sldMkLst>
          <pc:docMk/>
          <pc:sldMk cId="2671930539" sldId="2147482697"/>
        </pc:sldMkLst>
        <pc:spChg chg="mod">
          <ac:chgData name="Gaurav Kesari" userId="5ab21388-baf7-4ff4-bc08-f69762d4b20e" providerId="ADAL" clId="{9F5CD523-AC6F-4AC0-9530-F521BCA7F1C5}" dt="2024-06-18T12:56:42.997" v="5227" actId="113"/>
          <ac:spMkLst>
            <pc:docMk/>
            <pc:sldMk cId="2671930539" sldId="2147482697"/>
            <ac:spMk id="2" creationId="{578C2C66-C0F5-EFEE-1F4A-C9C6247EABC9}"/>
          </ac:spMkLst>
        </pc:spChg>
        <pc:spChg chg="mod">
          <ac:chgData name="Gaurav Kesari" userId="5ab21388-baf7-4ff4-bc08-f69762d4b20e" providerId="ADAL" clId="{9F5CD523-AC6F-4AC0-9530-F521BCA7F1C5}" dt="2024-06-18T12:56:58.850" v="5230" actId="1035"/>
          <ac:spMkLst>
            <pc:docMk/>
            <pc:sldMk cId="2671930539" sldId="2147482697"/>
            <ac:spMk id="7" creationId="{9C92888C-CE4D-DE6A-86AD-2AE0BD6D1F1D}"/>
          </ac:spMkLst>
        </pc:spChg>
      </pc:sldChg>
      <pc:sldChg chg="modSp add mod">
        <pc:chgData name="Gaurav Kesari" userId="5ab21388-baf7-4ff4-bc08-f69762d4b20e" providerId="ADAL" clId="{9F5CD523-AC6F-4AC0-9530-F521BCA7F1C5}" dt="2024-06-18T12:57:52.287" v="5263" actId="20577"/>
        <pc:sldMkLst>
          <pc:docMk/>
          <pc:sldMk cId="3258640965" sldId="2147482698"/>
        </pc:sldMkLst>
        <pc:spChg chg="mod">
          <ac:chgData name="Gaurav Kesari" userId="5ab21388-baf7-4ff4-bc08-f69762d4b20e" providerId="ADAL" clId="{9F5CD523-AC6F-4AC0-9530-F521BCA7F1C5}" dt="2024-06-18T12:57:52.287" v="5263" actId="20577"/>
          <ac:spMkLst>
            <pc:docMk/>
            <pc:sldMk cId="3258640965" sldId="2147482698"/>
            <ac:spMk id="2" creationId="{578C2C66-C0F5-EFEE-1F4A-C9C6247EABC9}"/>
          </ac:spMkLst>
        </pc:spChg>
        <pc:spChg chg="mod">
          <ac:chgData name="Gaurav Kesari" userId="5ab21388-baf7-4ff4-bc08-f69762d4b20e" providerId="ADAL" clId="{9F5CD523-AC6F-4AC0-9530-F521BCA7F1C5}" dt="2024-06-18T12:57:21.649" v="5232" actId="1076"/>
          <ac:spMkLst>
            <pc:docMk/>
            <pc:sldMk cId="3258640965" sldId="2147482698"/>
            <ac:spMk id="7" creationId="{9C92888C-CE4D-DE6A-86AD-2AE0BD6D1F1D}"/>
          </ac:spMkLst>
        </pc:spChg>
      </pc:sldChg>
      <pc:sldChg chg="modSp add mod">
        <pc:chgData name="Gaurav Kesari" userId="5ab21388-baf7-4ff4-bc08-f69762d4b20e" providerId="ADAL" clId="{9F5CD523-AC6F-4AC0-9530-F521BCA7F1C5}" dt="2024-06-18T12:58:31.594" v="5268" actId="113"/>
        <pc:sldMkLst>
          <pc:docMk/>
          <pc:sldMk cId="3614030901" sldId="2147482699"/>
        </pc:sldMkLst>
        <pc:spChg chg="mod">
          <ac:chgData name="Gaurav Kesari" userId="5ab21388-baf7-4ff4-bc08-f69762d4b20e" providerId="ADAL" clId="{9F5CD523-AC6F-4AC0-9530-F521BCA7F1C5}" dt="2024-06-18T12:58:31.594" v="5268" actId="113"/>
          <ac:spMkLst>
            <pc:docMk/>
            <pc:sldMk cId="3614030901" sldId="2147482699"/>
            <ac:spMk id="2" creationId="{578C2C66-C0F5-EFEE-1F4A-C9C6247EABC9}"/>
          </ac:spMkLst>
        </pc:spChg>
        <pc:spChg chg="mod">
          <ac:chgData name="Gaurav Kesari" userId="5ab21388-baf7-4ff4-bc08-f69762d4b20e" providerId="ADAL" clId="{9F5CD523-AC6F-4AC0-9530-F521BCA7F1C5}" dt="2024-06-18T12:58:26.254" v="5267" actId="1076"/>
          <ac:spMkLst>
            <pc:docMk/>
            <pc:sldMk cId="3614030901" sldId="2147482699"/>
            <ac:spMk id="7" creationId="{9C92888C-CE4D-DE6A-86AD-2AE0BD6D1F1D}"/>
          </ac:spMkLst>
        </pc:spChg>
      </pc:sldChg>
      <pc:sldChg chg="add del">
        <pc:chgData name="Gaurav Kesari" userId="5ab21388-baf7-4ff4-bc08-f69762d4b20e" providerId="ADAL" clId="{9F5CD523-AC6F-4AC0-9530-F521BCA7F1C5}" dt="2024-06-18T12:58:02.297" v="5264" actId="47"/>
        <pc:sldMkLst>
          <pc:docMk/>
          <pc:sldMk cId="3659920587" sldId="2147482699"/>
        </pc:sldMkLst>
      </pc:sldChg>
    </pc:docChg>
  </pc:docChgLst>
  <pc:docChgLst>
    <pc:chgData name="Sai Arvind" userId="4be58695-eae9-4703-8993-7d37aad53b21" providerId="ADAL" clId="{996FF9A9-C974-443F-8618-837E1F831A03}"/>
    <pc:docChg chg="undo custSel addSld delSld modSld modSection">
      <pc:chgData name="Sai Arvind" userId="4be58695-eae9-4703-8993-7d37aad53b21" providerId="ADAL" clId="{996FF9A9-C974-443F-8618-837E1F831A03}" dt="2024-06-18T07:46:55.022" v="4087" actId="47"/>
      <pc:docMkLst>
        <pc:docMk/>
      </pc:docMkLst>
      <pc:sldChg chg="addSp delSp modSp mod modClrScheme chgLayout">
        <pc:chgData name="Sai Arvind" userId="4be58695-eae9-4703-8993-7d37aad53b21" providerId="ADAL" clId="{996FF9A9-C974-443F-8618-837E1F831A03}" dt="2024-06-17T10:20:30.285" v="1216"/>
        <pc:sldMkLst>
          <pc:docMk/>
          <pc:sldMk cId="2319494498" sldId="334"/>
        </pc:sldMkLst>
        <pc:spChg chg="mod">
          <ac:chgData name="Sai Arvind" userId="4be58695-eae9-4703-8993-7d37aad53b21" providerId="ADAL" clId="{996FF9A9-C974-443F-8618-837E1F831A03}" dt="2024-06-17T09:54:52.463" v="11" actId="164"/>
          <ac:spMkLst>
            <pc:docMk/>
            <pc:sldMk cId="2319494498" sldId="334"/>
            <ac:spMk id="2" creationId="{847AD753-8BC5-C6EC-F718-C3CDA66DB4A3}"/>
          </ac:spMkLst>
        </pc:spChg>
        <pc:spChg chg="mod">
          <ac:chgData name="Sai Arvind" userId="4be58695-eae9-4703-8993-7d37aad53b21" providerId="ADAL" clId="{996FF9A9-C974-443F-8618-837E1F831A03}" dt="2024-06-17T09:54:52.463" v="11" actId="164"/>
          <ac:spMkLst>
            <pc:docMk/>
            <pc:sldMk cId="2319494498" sldId="334"/>
            <ac:spMk id="3" creationId="{18C8CA88-5AEE-5F18-E326-853F78F61066}"/>
          </ac:spMkLst>
        </pc:spChg>
        <pc:spChg chg="mod">
          <ac:chgData name="Sai Arvind" userId="4be58695-eae9-4703-8993-7d37aad53b21" providerId="ADAL" clId="{996FF9A9-C974-443F-8618-837E1F831A03}" dt="2024-06-17T09:54:52.463" v="11" actId="164"/>
          <ac:spMkLst>
            <pc:docMk/>
            <pc:sldMk cId="2319494498" sldId="334"/>
            <ac:spMk id="4" creationId="{97588B8E-71AF-EAB6-B551-066F33A5CF85}"/>
          </ac:spMkLst>
        </pc:spChg>
        <pc:spChg chg="mod ord">
          <ac:chgData name="Sai Arvind" userId="4be58695-eae9-4703-8993-7d37aad53b21" providerId="ADAL" clId="{996FF9A9-C974-443F-8618-837E1F831A03}" dt="2024-06-17T09:56:11.895" v="50" actId="139"/>
          <ac:spMkLst>
            <pc:docMk/>
            <pc:sldMk cId="2319494498" sldId="334"/>
            <ac:spMk id="5" creationId="{E213826C-8B83-A229-3461-601581E9102F}"/>
          </ac:spMkLst>
        </pc:spChg>
        <pc:spChg chg="mod">
          <ac:chgData name="Sai Arvind" userId="4be58695-eae9-4703-8993-7d37aad53b21" providerId="ADAL" clId="{996FF9A9-C974-443F-8618-837E1F831A03}" dt="2024-06-17T09:54:52.463" v="11" actId="164"/>
          <ac:spMkLst>
            <pc:docMk/>
            <pc:sldMk cId="2319494498" sldId="334"/>
            <ac:spMk id="6" creationId="{57C43A15-0105-9CAB-4C11-90A02CD47FBD}"/>
          </ac:spMkLst>
        </pc:spChg>
        <pc:spChg chg="mod">
          <ac:chgData name="Sai Arvind" userId="4be58695-eae9-4703-8993-7d37aad53b21" providerId="ADAL" clId="{996FF9A9-C974-443F-8618-837E1F831A03}" dt="2024-06-17T09:54:52.463" v="11" actId="164"/>
          <ac:spMkLst>
            <pc:docMk/>
            <pc:sldMk cId="2319494498" sldId="334"/>
            <ac:spMk id="7" creationId="{C2DA006A-239E-8436-215C-7EC7C0966F23}"/>
          </ac:spMkLst>
        </pc:spChg>
        <pc:spChg chg="mod">
          <ac:chgData name="Sai Arvind" userId="4be58695-eae9-4703-8993-7d37aad53b21" providerId="ADAL" clId="{996FF9A9-C974-443F-8618-837E1F831A03}" dt="2024-06-17T09:54:52.463" v="11" actId="164"/>
          <ac:spMkLst>
            <pc:docMk/>
            <pc:sldMk cId="2319494498" sldId="334"/>
            <ac:spMk id="8" creationId="{20D6F218-6771-FBFB-0DE9-9A6949F3B791}"/>
          </ac:spMkLst>
        </pc:spChg>
        <pc:spChg chg="mod">
          <ac:chgData name="Sai Arvind" userId="4be58695-eae9-4703-8993-7d37aad53b21" providerId="ADAL" clId="{996FF9A9-C974-443F-8618-837E1F831A03}" dt="2024-06-17T09:54:52.463" v="11" actId="164"/>
          <ac:spMkLst>
            <pc:docMk/>
            <pc:sldMk cId="2319494498" sldId="334"/>
            <ac:spMk id="9" creationId="{D8F3E355-F5EF-F8A1-F41A-67ECD60DAD5C}"/>
          </ac:spMkLst>
        </pc:spChg>
        <pc:spChg chg="mod topLvl">
          <ac:chgData name="Sai Arvind" userId="4be58695-eae9-4703-8993-7d37aad53b21" providerId="ADAL" clId="{996FF9A9-C974-443F-8618-837E1F831A03}" dt="2024-06-17T10:18:12.596" v="1152" actId="1035"/>
          <ac:spMkLst>
            <pc:docMk/>
            <pc:sldMk cId="2319494498" sldId="334"/>
            <ac:spMk id="10" creationId="{2652A6CB-32B7-9795-8C2A-FB115E098F1E}"/>
          </ac:spMkLst>
        </pc:spChg>
        <pc:spChg chg="mod ord">
          <ac:chgData name="Sai Arvind" userId="4be58695-eae9-4703-8993-7d37aad53b21" providerId="ADAL" clId="{996FF9A9-C974-443F-8618-837E1F831A03}" dt="2024-06-17T10:19:49.226" v="1189" actId="20577"/>
          <ac:spMkLst>
            <pc:docMk/>
            <pc:sldMk cId="2319494498" sldId="334"/>
            <ac:spMk id="11" creationId="{AEF6EAE3-7DD3-2A68-5524-7E4B648FCC11}"/>
          </ac:spMkLst>
        </pc:spChg>
        <pc:spChg chg="mod">
          <ac:chgData name="Sai Arvind" userId="4be58695-eae9-4703-8993-7d37aad53b21" providerId="ADAL" clId="{996FF9A9-C974-443F-8618-837E1F831A03}" dt="2024-06-17T09:54:52.463" v="11" actId="164"/>
          <ac:spMkLst>
            <pc:docMk/>
            <pc:sldMk cId="2319494498" sldId="334"/>
            <ac:spMk id="12" creationId="{70255827-A68F-E376-0416-B75E1EB4464C}"/>
          </ac:spMkLst>
        </pc:spChg>
        <pc:spChg chg="add del mod">
          <ac:chgData name="Sai Arvind" userId="4be58695-eae9-4703-8993-7d37aad53b21" providerId="ADAL" clId="{996FF9A9-C974-443F-8618-837E1F831A03}" dt="2024-06-17T09:54:43.733" v="8" actId="6264"/>
          <ac:spMkLst>
            <pc:docMk/>
            <pc:sldMk cId="2319494498" sldId="334"/>
            <ac:spMk id="13" creationId="{500C7593-190B-26A0-4FA3-FA47ADDA1FAD}"/>
          </ac:spMkLst>
        </pc:spChg>
        <pc:spChg chg="mod">
          <ac:chgData name="Sai Arvind" userId="4be58695-eae9-4703-8993-7d37aad53b21" providerId="ADAL" clId="{996FF9A9-C974-443F-8618-837E1F831A03}" dt="2024-06-17T09:54:52.463" v="11" actId="164"/>
          <ac:spMkLst>
            <pc:docMk/>
            <pc:sldMk cId="2319494498" sldId="334"/>
            <ac:spMk id="14" creationId="{E1762D22-97DD-497B-9967-5257A0757933}"/>
          </ac:spMkLst>
        </pc:spChg>
        <pc:spChg chg="add del mod">
          <ac:chgData name="Sai Arvind" userId="4be58695-eae9-4703-8993-7d37aad53b21" providerId="ADAL" clId="{996FF9A9-C974-443F-8618-837E1F831A03}" dt="2024-06-17T09:54:43.733" v="8" actId="6264"/>
          <ac:spMkLst>
            <pc:docMk/>
            <pc:sldMk cId="2319494498" sldId="334"/>
            <ac:spMk id="15" creationId="{34E281A8-1258-13B3-4B4B-3A2D063D3192}"/>
          </ac:spMkLst>
        </pc:spChg>
        <pc:spChg chg="mod">
          <ac:chgData name="Sai Arvind" userId="4be58695-eae9-4703-8993-7d37aad53b21" providerId="ADAL" clId="{996FF9A9-C974-443F-8618-837E1F831A03}" dt="2024-06-17T09:54:52.463" v="11" actId="164"/>
          <ac:spMkLst>
            <pc:docMk/>
            <pc:sldMk cId="2319494498" sldId="334"/>
            <ac:spMk id="16" creationId="{39DFB07A-D614-A195-07C8-4C6E3342037A}"/>
          </ac:spMkLst>
        </pc:spChg>
        <pc:spChg chg="mod">
          <ac:chgData name="Sai Arvind" userId="4be58695-eae9-4703-8993-7d37aad53b21" providerId="ADAL" clId="{996FF9A9-C974-443F-8618-837E1F831A03}" dt="2024-06-17T09:54:52.463" v="11" actId="164"/>
          <ac:spMkLst>
            <pc:docMk/>
            <pc:sldMk cId="2319494498" sldId="334"/>
            <ac:spMk id="18" creationId="{78B46B6B-6A73-3018-2B93-9CDCEC2673F2}"/>
          </ac:spMkLst>
        </pc:spChg>
        <pc:spChg chg="add mod ord topLvl">
          <ac:chgData name="Sai Arvind" userId="4be58695-eae9-4703-8993-7d37aad53b21" providerId="ADAL" clId="{996FF9A9-C974-443F-8618-837E1F831A03}" dt="2024-06-17T10:18:12.596" v="1152" actId="1035"/>
          <ac:spMkLst>
            <pc:docMk/>
            <pc:sldMk cId="2319494498" sldId="334"/>
            <ac:spMk id="19" creationId="{46FDFFB9-612A-13F9-F6C8-25E28011C566}"/>
          </ac:spMkLst>
        </pc:spChg>
        <pc:spChg chg="mod">
          <ac:chgData name="Sai Arvind" userId="4be58695-eae9-4703-8993-7d37aad53b21" providerId="ADAL" clId="{996FF9A9-C974-443F-8618-837E1F831A03}" dt="2024-06-17T09:54:52.463" v="11" actId="164"/>
          <ac:spMkLst>
            <pc:docMk/>
            <pc:sldMk cId="2319494498" sldId="334"/>
            <ac:spMk id="20" creationId="{0A2C7BB1-7101-FC88-F865-A7CABBD24A1D}"/>
          </ac:spMkLst>
        </pc:spChg>
        <pc:spChg chg="add mod ord topLvl">
          <ac:chgData name="Sai Arvind" userId="4be58695-eae9-4703-8993-7d37aad53b21" providerId="ADAL" clId="{996FF9A9-C974-443F-8618-837E1F831A03}" dt="2024-06-17T10:18:12.596" v="1152" actId="1035"/>
          <ac:spMkLst>
            <pc:docMk/>
            <pc:sldMk cId="2319494498" sldId="334"/>
            <ac:spMk id="21" creationId="{022552F7-49D8-69BB-3201-829BABDD8C55}"/>
          </ac:spMkLst>
        </pc:spChg>
        <pc:spChg chg="mod">
          <ac:chgData name="Sai Arvind" userId="4be58695-eae9-4703-8993-7d37aad53b21" providerId="ADAL" clId="{996FF9A9-C974-443F-8618-837E1F831A03}" dt="2024-06-17T09:54:52.463" v="11" actId="164"/>
          <ac:spMkLst>
            <pc:docMk/>
            <pc:sldMk cId="2319494498" sldId="334"/>
            <ac:spMk id="22" creationId="{491B2D59-1927-7968-E84E-49B971D601CA}"/>
          </ac:spMkLst>
        </pc:spChg>
        <pc:spChg chg="add mod topLvl">
          <ac:chgData name="Sai Arvind" userId="4be58695-eae9-4703-8993-7d37aad53b21" providerId="ADAL" clId="{996FF9A9-C974-443F-8618-837E1F831A03}" dt="2024-06-17T10:18:12.596" v="1152" actId="1035"/>
          <ac:spMkLst>
            <pc:docMk/>
            <pc:sldMk cId="2319494498" sldId="334"/>
            <ac:spMk id="25" creationId="{7EFA16F1-0675-84A4-5E4A-413B0136AECF}"/>
          </ac:spMkLst>
        </pc:spChg>
        <pc:spChg chg="mod">
          <ac:chgData name="Sai Arvind" userId="4be58695-eae9-4703-8993-7d37aad53b21" providerId="ADAL" clId="{996FF9A9-C974-443F-8618-837E1F831A03}" dt="2024-06-17T09:54:52.463" v="11" actId="164"/>
          <ac:spMkLst>
            <pc:docMk/>
            <pc:sldMk cId="2319494498" sldId="334"/>
            <ac:spMk id="26" creationId="{B7ABEF5D-8BE3-D1C3-AD54-01EA3C842915}"/>
          </ac:spMkLst>
        </pc:spChg>
        <pc:spChg chg="add mod topLvl">
          <ac:chgData name="Sai Arvind" userId="4be58695-eae9-4703-8993-7d37aad53b21" providerId="ADAL" clId="{996FF9A9-C974-443F-8618-837E1F831A03}" dt="2024-06-17T10:18:12.596" v="1152" actId="1035"/>
          <ac:spMkLst>
            <pc:docMk/>
            <pc:sldMk cId="2319494498" sldId="334"/>
            <ac:spMk id="27" creationId="{CA8A861D-6198-1B4E-0997-6B832D371058}"/>
          </ac:spMkLst>
        </pc:spChg>
        <pc:spChg chg="mod">
          <ac:chgData name="Sai Arvind" userId="4be58695-eae9-4703-8993-7d37aad53b21" providerId="ADAL" clId="{996FF9A9-C974-443F-8618-837E1F831A03}" dt="2024-06-17T09:54:52.463" v="11" actId="164"/>
          <ac:spMkLst>
            <pc:docMk/>
            <pc:sldMk cId="2319494498" sldId="334"/>
            <ac:spMk id="28" creationId="{C270A4C2-9D18-9A0B-38A7-1782B3438FAC}"/>
          </ac:spMkLst>
        </pc:spChg>
        <pc:spChg chg="mod">
          <ac:chgData name="Sai Arvind" userId="4be58695-eae9-4703-8993-7d37aad53b21" providerId="ADAL" clId="{996FF9A9-C974-443F-8618-837E1F831A03}" dt="2024-06-17T09:54:52.463" v="11" actId="164"/>
          <ac:spMkLst>
            <pc:docMk/>
            <pc:sldMk cId="2319494498" sldId="334"/>
            <ac:spMk id="30" creationId="{3272B211-9C07-4EF4-D1B7-45579D603221}"/>
          </ac:spMkLst>
        </pc:spChg>
        <pc:spChg chg="add del mod">
          <ac:chgData name="Sai Arvind" userId="4be58695-eae9-4703-8993-7d37aad53b21" providerId="ADAL" clId="{996FF9A9-C974-443F-8618-837E1F831A03}" dt="2024-06-17T10:00:24.787" v="136" actId="478"/>
          <ac:spMkLst>
            <pc:docMk/>
            <pc:sldMk cId="2319494498" sldId="334"/>
            <ac:spMk id="31" creationId="{66F42941-5A45-2958-423B-93F7B1B3EEBC}"/>
          </ac:spMkLst>
        </pc:spChg>
        <pc:spChg chg="mod">
          <ac:chgData name="Sai Arvind" userId="4be58695-eae9-4703-8993-7d37aad53b21" providerId="ADAL" clId="{996FF9A9-C974-443F-8618-837E1F831A03}" dt="2024-06-17T09:54:52.463" v="11" actId="164"/>
          <ac:spMkLst>
            <pc:docMk/>
            <pc:sldMk cId="2319494498" sldId="334"/>
            <ac:spMk id="32" creationId="{D7DB36F0-EE8F-55EC-6425-5C42CF3980AF}"/>
          </ac:spMkLst>
        </pc:spChg>
        <pc:spChg chg="add del mod">
          <ac:chgData name="Sai Arvind" userId="4be58695-eae9-4703-8993-7d37aad53b21" providerId="ADAL" clId="{996FF9A9-C974-443F-8618-837E1F831A03}" dt="2024-06-17T10:00:24.787" v="136" actId="478"/>
          <ac:spMkLst>
            <pc:docMk/>
            <pc:sldMk cId="2319494498" sldId="334"/>
            <ac:spMk id="33" creationId="{747A3C20-00A0-E379-D1F4-83B1707B42C1}"/>
          </ac:spMkLst>
        </pc:spChg>
        <pc:spChg chg="mod">
          <ac:chgData name="Sai Arvind" userId="4be58695-eae9-4703-8993-7d37aad53b21" providerId="ADAL" clId="{996FF9A9-C974-443F-8618-837E1F831A03}" dt="2024-06-17T09:54:52.463" v="11" actId="164"/>
          <ac:spMkLst>
            <pc:docMk/>
            <pc:sldMk cId="2319494498" sldId="334"/>
            <ac:spMk id="34" creationId="{1D9AB50F-C30C-A48F-421F-F19ABB8BBDC5}"/>
          </ac:spMkLst>
        </pc:spChg>
        <pc:spChg chg="add mod ord topLvl">
          <ac:chgData name="Sai Arvind" userId="4be58695-eae9-4703-8993-7d37aad53b21" providerId="ADAL" clId="{996FF9A9-C974-443F-8618-837E1F831A03}" dt="2024-06-17T10:18:12.596" v="1152" actId="1035"/>
          <ac:spMkLst>
            <pc:docMk/>
            <pc:sldMk cId="2319494498" sldId="334"/>
            <ac:spMk id="35" creationId="{D5ACF1F0-4B97-1B55-B4EF-5F8C297014AF}"/>
          </ac:spMkLst>
        </pc:spChg>
        <pc:spChg chg="mod">
          <ac:chgData name="Sai Arvind" userId="4be58695-eae9-4703-8993-7d37aad53b21" providerId="ADAL" clId="{996FF9A9-C974-443F-8618-837E1F831A03}" dt="2024-06-17T09:54:52.463" v="11" actId="164"/>
          <ac:spMkLst>
            <pc:docMk/>
            <pc:sldMk cId="2319494498" sldId="334"/>
            <ac:spMk id="36" creationId="{512225C2-B1A1-EE38-D5E1-BD63DDA9ADE2}"/>
          </ac:spMkLst>
        </pc:spChg>
        <pc:spChg chg="mod">
          <ac:chgData name="Sai Arvind" userId="4be58695-eae9-4703-8993-7d37aad53b21" providerId="ADAL" clId="{996FF9A9-C974-443F-8618-837E1F831A03}" dt="2024-06-17T09:54:52.463" v="11" actId="164"/>
          <ac:spMkLst>
            <pc:docMk/>
            <pc:sldMk cId="2319494498" sldId="334"/>
            <ac:spMk id="37" creationId="{3F31CE2F-0516-0A24-2D85-DB94F2B7E743}"/>
          </ac:spMkLst>
        </pc:spChg>
        <pc:spChg chg="add mod ord topLvl">
          <ac:chgData name="Sai Arvind" userId="4be58695-eae9-4703-8993-7d37aad53b21" providerId="ADAL" clId="{996FF9A9-C974-443F-8618-837E1F831A03}" dt="2024-06-17T10:18:12.596" v="1152" actId="1035"/>
          <ac:spMkLst>
            <pc:docMk/>
            <pc:sldMk cId="2319494498" sldId="334"/>
            <ac:spMk id="38" creationId="{3430FBA6-39A2-A909-BA09-4507E702B866}"/>
          </ac:spMkLst>
        </pc:spChg>
        <pc:spChg chg="add mod topLvl">
          <ac:chgData name="Sai Arvind" userId="4be58695-eae9-4703-8993-7d37aad53b21" providerId="ADAL" clId="{996FF9A9-C974-443F-8618-837E1F831A03}" dt="2024-06-17T10:18:12.596" v="1152" actId="1035"/>
          <ac:spMkLst>
            <pc:docMk/>
            <pc:sldMk cId="2319494498" sldId="334"/>
            <ac:spMk id="39" creationId="{7A900E7A-219F-9B14-F6B2-E070C50F6E59}"/>
          </ac:spMkLst>
        </pc:spChg>
        <pc:spChg chg="add mod topLvl">
          <ac:chgData name="Sai Arvind" userId="4be58695-eae9-4703-8993-7d37aad53b21" providerId="ADAL" clId="{996FF9A9-C974-443F-8618-837E1F831A03}" dt="2024-06-17T10:18:12.596" v="1152" actId="1035"/>
          <ac:spMkLst>
            <pc:docMk/>
            <pc:sldMk cId="2319494498" sldId="334"/>
            <ac:spMk id="40" creationId="{88951714-F2C8-0D8C-36EE-3EC03677B514}"/>
          </ac:spMkLst>
        </pc:spChg>
        <pc:spChg chg="add mod topLvl">
          <ac:chgData name="Sai Arvind" userId="4be58695-eae9-4703-8993-7d37aad53b21" providerId="ADAL" clId="{996FF9A9-C974-443F-8618-837E1F831A03}" dt="2024-06-17T10:18:12.596" v="1152" actId="1035"/>
          <ac:spMkLst>
            <pc:docMk/>
            <pc:sldMk cId="2319494498" sldId="334"/>
            <ac:spMk id="41" creationId="{B7F71C3C-0FDD-D413-9614-0F31EFD9F066}"/>
          </ac:spMkLst>
        </pc:spChg>
        <pc:spChg chg="add mod topLvl">
          <ac:chgData name="Sai Arvind" userId="4be58695-eae9-4703-8993-7d37aad53b21" providerId="ADAL" clId="{996FF9A9-C974-443F-8618-837E1F831A03}" dt="2024-06-17T10:18:12.596" v="1152" actId="1035"/>
          <ac:spMkLst>
            <pc:docMk/>
            <pc:sldMk cId="2319494498" sldId="334"/>
            <ac:spMk id="42" creationId="{2248FC4E-CA67-05E6-4676-2F5D2D712AFB}"/>
          </ac:spMkLst>
        </pc:spChg>
        <pc:spChg chg="add mod topLvl">
          <ac:chgData name="Sai Arvind" userId="4be58695-eae9-4703-8993-7d37aad53b21" providerId="ADAL" clId="{996FF9A9-C974-443F-8618-837E1F831A03}" dt="2024-06-17T10:18:12.596" v="1152" actId="1035"/>
          <ac:spMkLst>
            <pc:docMk/>
            <pc:sldMk cId="2319494498" sldId="334"/>
            <ac:spMk id="43" creationId="{B00A4E85-1C51-407C-4587-E253117B49F3}"/>
          </ac:spMkLst>
        </pc:spChg>
        <pc:spChg chg="add mod topLvl">
          <ac:chgData name="Sai Arvind" userId="4be58695-eae9-4703-8993-7d37aad53b21" providerId="ADAL" clId="{996FF9A9-C974-443F-8618-837E1F831A03}" dt="2024-06-17T10:18:12.596" v="1152" actId="1035"/>
          <ac:spMkLst>
            <pc:docMk/>
            <pc:sldMk cId="2319494498" sldId="334"/>
            <ac:spMk id="44" creationId="{2ED4F8F1-A63C-29E7-0DD1-8485E06472F5}"/>
          </ac:spMkLst>
        </pc:spChg>
        <pc:spChg chg="add mod topLvl">
          <ac:chgData name="Sai Arvind" userId="4be58695-eae9-4703-8993-7d37aad53b21" providerId="ADAL" clId="{996FF9A9-C974-443F-8618-837E1F831A03}" dt="2024-06-17T10:18:12.596" v="1152" actId="1035"/>
          <ac:spMkLst>
            <pc:docMk/>
            <pc:sldMk cId="2319494498" sldId="334"/>
            <ac:spMk id="45" creationId="{B07CCB23-F591-1C2B-6C5D-60EC64A09C27}"/>
          </ac:spMkLst>
        </pc:spChg>
        <pc:spChg chg="add mod topLvl">
          <ac:chgData name="Sai Arvind" userId="4be58695-eae9-4703-8993-7d37aad53b21" providerId="ADAL" clId="{996FF9A9-C974-443F-8618-837E1F831A03}" dt="2024-06-17T10:18:12.596" v="1152" actId="1035"/>
          <ac:spMkLst>
            <pc:docMk/>
            <pc:sldMk cId="2319494498" sldId="334"/>
            <ac:spMk id="47" creationId="{4D5CCCE8-4B8F-ECA3-08FA-6F417CC20126}"/>
          </ac:spMkLst>
        </pc:spChg>
        <pc:spChg chg="add mod topLvl">
          <ac:chgData name="Sai Arvind" userId="4be58695-eae9-4703-8993-7d37aad53b21" providerId="ADAL" clId="{996FF9A9-C974-443F-8618-837E1F831A03}" dt="2024-06-17T10:18:12.596" v="1152" actId="1035"/>
          <ac:spMkLst>
            <pc:docMk/>
            <pc:sldMk cId="2319494498" sldId="334"/>
            <ac:spMk id="50" creationId="{981127EA-8DA4-EEC7-AFE7-6EAC93467125}"/>
          </ac:spMkLst>
        </pc:spChg>
        <pc:spChg chg="add mod topLvl">
          <ac:chgData name="Sai Arvind" userId="4be58695-eae9-4703-8993-7d37aad53b21" providerId="ADAL" clId="{996FF9A9-C974-443F-8618-837E1F831A03}" dt="2024-06-17T10:18:12.596" v="1152" actId="1035"/>
          <ac:spMkLst>
            <pc:docMk/>
            <pc:sldMk cId="2319494498" sldId="334"/>
            <ac:spMk id="51" creationId="{D607B4B9-DC86-239C-7EE9-28972EE0E043}"/>
          </ac:spMkLst>
        </pc:spChg>
        <pc:spChg chg="add mod topLvl">
          <ac:chgData name="Sai Arvind" userId="4be58695-eae9-4703-8993-7d37aad53b21" providerId="ADAL" clId="{996FF9A9-C974-443F-8618-837E1F831A03}" dt="2024-06-17T10:18:12.596" v="1152" actId="1035"/>
          <ac:spMkLst>
            <pc:docMk/>
            <pc:sldMk cId="2319494498" sldId="334"/>
            <ac:spMk id="52" creationId="{76CB7F1B-D605-FAF8-8AB6-6842A4B4697D}"/>
          </ac:spMkLst>
        </pc:spChg>
        <pc:spChg chg="mod topLvl">
          <ac:chgData name="Sai Arvind" userId="4be58695-eae9-4703-8993-7d37aad53b21" providerId="ADAL" clId="{996FF9A9-C974-443F-8618-837E1F831A03}" dt="2024-06-17T09:58:17.523" v="89"/>
          <ac:spMkLst>
            <pc:docMk/>
            <pc:sldMk cId="2319494498" sldId="334"/>
            <ac:spMk id="53" creationId="{3CFF0C1B-9F2D-60E8-5689-9827C3F7F164}"/>
          </ac:spMkLst>
        </pc:spChg>
        <pc:spChg chg="add mod topLvl">
          <ac:chgData name="Sai Arvind" userId="4be58695-eae9-4703-8993-7d37aad53b21" providerId="ADAL" clId="{996FF9A9-C974-443F-8618-837E1F831A03}" dt="2024-06-17T10:18:12.596" v="1152" actId="1035"/>
          <ac:spMkLst>
            <pc:docMk/>
            <pc:sldMk cId="2319494498" sldId="334"/>
            <ac:spMk id="56" creationId="{B07DD75D-077E-48DC-1E0A-0F291FACB830}"/>
          </ac:spMkLst>
        </pc:spChg>
        <pc:spChg chg="add mod topLvl">
          <ac:chgData name="Sai Arvind" userId="4be58695-eae9-4703-8993-7d37aad53b21" providerId="ADAL" clId="{996FF9A9-C974-443F-8618-837E1F831A03}" dt="2024-06-17T10:18:12.596" v="1152" actId="1035"/>
          <ac:spMkLst>
            <pc:docMk/>
            <pc:sldMk cId="2319494498" sldId="334"/>
            <ac:spMk id="57" creationId="{C6BD3511-55EE-FB56-33E6-509A7DC9DC2B}"/>
          </ac:spMkLst>
        </pc:spChg>
        <pc:spChg chg="mod topLvl">
          <ac:chgData name="Sai Arvind" userId="4be58695-eae9-4703-8993-7d37aad53b21" providerId="ADAL" clId="{996FF9A9-C974-443F-8618-837E1F831A03}" dt="2024-06-17T10:18:12.596" v="1152" actId="1035"/>
          <ac:spMkLst>
            <pc:docMk/>
            <pc:sldMk cId="2319494498" sldId="334"/>
            <ac:spMk id="63" creationId="{C40CC5F8-DFF3-4AAA-F729-606AD8208FF8}"/>
          </ac:spMkLst>
        </pc:spChg>
        <pc:spChg chg="add mod topLvl">
          <ac:chgData name="Sai Arvind" userId="4be58695-eae9-4703-8993-7d37aad53b21" providerId="ADAL" clId="{996FF9A9-C974-443F-8618-837E1F831A03}" dt="2024-06-17T10:18:12.596" v="1152" actId="1035"/>
          <ac:spMkLst>
            <pc:docMk/>
            <pc:sldMk cId="2319494498" sldId="334"/>
            <ac:spMk id="64" creationId="{25C01B9C-49D1-54EE-99CA-618236B10018}"/>
          </ac:spMkLst>
        </pc:spChg>
        <pc:spChg chg="add mod topLvl">
          <ac:chgData name="Sai Arvind" userId="4be58695-eae9-4703-8993-7d37aad53b21" providerId="ADAL" clId="{996FF9A9-C974-443F-8618-837E1F831A03}" dt="2024-06-17T10:18:12.596" v="1152" actId="1035"/>
          <ac:spMkLst>
            <pc:docMk/>
            <pc:sldMk cId="2319494498" sldId="334"/>
            <ac:spMk id="65" creationId="{A2DFB32A-A43C-12F4-B1AA-7B83E9EF36C5}"/>
          </ac:spMkLst>
        </pc:spChg>
        <pc:spChg chg="add mod topLvl">
          <ac:chgData name="Sai Arvind" userId="4be58695-eae9-4703-8993-7d37aad53b21" providerId="ADAL" clId="{996FF9A9-C974-443F-8618-837E1F831A03}" dt="2024-06-17T10:18:12.596" v="1152" actId="1035"/>
          <ac:spMkLst>
            <pc:docMk/>
            <pc:sldMk cId="2319494498" sldId="334"/>
            <ac:spMk id="66" creationId="{58FEFE87-F22E-67EF-A457-6EA576244F2A}"/>
          </ac:spMkLst>
        </pc:spChg>
        <pc:spChg chg="add mod topLvl">
          <ac:chgData name="Sai Arvind" userId="4be58695-eae9-4703-8993-7d37aad53b21" providerId="ADAL" clId="{996FF9A9-C974-443F-8618-837E1F831A03}" dt="2024-06-17T10:18:12.596" v="1152" actId="1035"/>
          <ac:spMkLst>
            <pc:docMk/>
            <pc:sldMk cId="2319494498" sldId="334"/>
            <ac:spMk id="67" creationId="{FBC864AA-B8E1-31FC-3C7D-AED1AE16F44D}"/>
          </ac:spMkLst>
        </pc:spChg>
        <pc:spChg chg="add mod topLvl">
          <ac:chgData name="Sai Arvind" userId="4be58695-eae9-4703-8993-7d37aad53b21" providerId="ADAL" clId="{996FF9A9-C974-443F-8618-837E1F831A03}" dt="2024-06-17T10:18:12.596" v="1152" actId="1035"/>
          <ac:spMkLst>
            <pc:docMk/>
            <pc:sldMk cId="2319494498" sldId="334"/>
            <ac:spMk id="68" creationId="{8B3ED60A-7245-6715-5ECB-81228DD0C841}"/>
          </ac:spMkLst>
        </pc:spChg>
        <pc:spChg chg="add mod topLvl">
          <ac:chgData name="Sai Arvind" userId="4be58695-eae9-4703-8993-7d37aad53b21" providerId="ADAL" clId="{996FF9A9-C974-443F-8618-837E1F831A03}" dt="2024-06-17T10:20:30.285" v="1216"/>
          <ac:spMkLst>
            <pc:docMk/>
            <pc:sldMk cId="2319494498" sldId="334"/>
            <ac:spMk id="91" creationId="{F19F45BD-EAD1-7F6E-5A26-F3AB04406B00}"/>
          </ac:spMkLst>
        </pc:spChg>
        <pc:spChg chg="add mod topLvl">
          <ac:chgData name="Sai Arvind" userId="4be58695-eae9-4703-8993-7d37aad53b21" providerId="ADAL" clId="{996FF9A9-C974-443F-8618-837E1F831A03}" dt="2024-06-17T10:20:30.285" v="1216"/>
          <ac:spMkLst>
            <pc:docMk/>
            <pc:sldMk cId="2319494498" sldId="334"/>
            <ac:spMk id="92" creationId="{39E952B8-0911-93EF-4E8A-9E0C14F4715C}"/>
          </ac:spMkLst>
        </pc:spChg>
        <pc:spChg chg="mod topLvl">
          <ac:chgData name="Sai Arvind" userId="4be58695-eae9-4703-8993-7d37aad53b21" providerId="ADAL" clId="{996FF9A9-C974-443F-8618-837E1F831A03}" dt="2024-06-17T10:20:30.285" v="1216"/>
          <ac:spMkLst>
            <pc:docMk/>
            <pc:sldMk cId="2319494498" sldId="334"/>
            <ac:spMk id="95" creationId="{E901CD4E-4D6A-CDC7-B5F1-63C243AC1E4C}"/>
          </ac:spMkLst>
        </pc:spChg>
        <pc:spChg chg="mod topLvl">
          <ac:chgData name="Sai Arvind" userId="4be58695-eae9-4703-8993-7d37aad53b21" providerId="ADAL" clId="{996FF9A9-C974-443F-8618-837E1F831A03}" dt="2024-06-17T10:20:30.285" v="1216"/>
          <ac:spMkLst>
            <pc:docMk/>
            <pc:sldMk cId="2319494498" sldId="334"/>
            <ac:spMk id="96" creationId="{5AE24881-26D3-35D6-A272-F28CB6583CB2}"/>
          </ac:spMkLst>
        </pc:spChg>
        <pc:spChg chg="mod topLvl">
          <ac:chgData name="Sai Arvind" userId="4be58695-eae9-4703-8993-7d37aad53b21" providerId="ADAL" clId="{996FF9A9-C974-443F-8618-837E1F831A03}" dt="2024-06-17T10:20:30.285" v="1216"/>
          <ac:spMkLst>
            <pc:docMk/>
            <pc:sldMk cId="2319494498" sldId="334"/>
            <ac:spMk id="98" creationId="{B9ACD629-02EA-1C09-C9DC-369D5AA82B32}"/>
          </ac:spMkLst>
        </pc:spChg>
        <pc:spChg chg="mod topLvl">
          <ac:chgData name="Sai Arvind" userId="4be58695-eae9-4703-8993-7d37aad53b21" providerId="ADAL" clId="{996FF9A9-C974-443F-8618-837E1F831A03}" dt="2024-06-17T10:20:30.285" v="1216"/>
          <ac:spMkLst>
            <pc:docMk/>
            <pc:sldMk cId="2319494498" sldId="334"/>
            <ac:spMk id="99" creationId="{C1C07DC3-5724-5596-D88D-A626347D1B8B}"/>
          </ac:spMkLst>
        </pc:spChg>
        <pc:grpChg chg="add del mod">
          <ac:chgData name="Sai Arvind" userId="4be58695-eae9-4703-8993-7d37aad53b21" providerId="ADAL" clId="{996FF9A9-C974-443F-8618-837E1F831A03}" dt="2024-06-17T10:06:51.966" v="693" actId="478"/>
          <ac:grpSpMkLst>
            <pc:docMk/>
            <pc:sldMk cId="2319494498" sldId="334"/>
            <ac:grpSpMk id="17" creationId="{6AC03A2F-3B96-4E73-56FF-F3DDAFE97B31}"/>
          </ac:grpSpMkLst>
        </pc:grpChg>
        <pc:grpChg chg="add del mod">
          <ac:chgData name="Sai Arvind" userId="4be58695-eae9-4703-8993-7d37aad53b21" providerId="ADAL" clId="{996FF9A9-C974-443F-8618-837E1F831A03}" dt="2024-06-17T09:55:46.184" v="39"/>
          <ac:grpSpMkLst>
            <pc:docMk/>
            <pc:sldMk cId="2319494498" sldId="334"/>
            <ac:grpSpMk id="23" creationId="{BBAB0100-F3EF-D29A-B4E6-91B8F91EA86B}"/>
          </ac:grpSpMkLst>
        </pc:grpChg>
        <pc:grpChg chg="add del mod">
          <ac:chgData name="Sai Arvind" userId="4be58695-eae9-4703-8993-7d37aad53b21" providerId="ADAL" clId="{996FF9A9-C974-443F-8618-837E1F831A03}" dt="2024-06-17T09:58:17.523" v="89"/>
          <ac:grpSpMkLst>
            <pc:docMk/>
            <pc:sldMk cId="2319494498" sldId="334"/>
            <ac:grpSpMk id="24" creationId="{57053D0A-E411-E74F-3065-5C75023A60FF}"/>
          </ac:grpSpMkLst>
        </pc:grpChg>
        <pc:grpChg chg="add del mod">
          <ac:chgData name="Sai Arvind" userId="4be58695-eae9-4703-8993-7d37aad53b21" providerId="ADAL" clId="{996FF9A9-C974-443F-8618-837E1F831A03}" dt="2024-06-17T10:00:03.547" v="128"/>
          <ac:grpSpMkLst>
            <pc:docMk/>
            <pc:sldMk cId="2319494498" sldId="334"/>
            <ac:grpSpMk id="29" creationId="{59060035-F1A2-3FFF-46E7-4D219E8FC0F3}"/>
          </ac:grpSpMkLst>
        </pc:grpChg>
        <pc:grpChg chg="add del mod">
          <ac:chgData name="Sai Arvind" userId="4be58695-eae9-4703-8993-7d37aad53b21" providerId="ADAL" clId="{996FF9A9-C974-443F-8618-837E1F831A03}" dt="2024-06-17T10:02:46.728" v="234"/>
          <ac:grpSpMkLst>
            <pc:docMk/>
            <pc:sldMk cId="2319494498" sldId="334"/>
            <ac:grpSpMk id="46" creationId="{6AB308DE-522C-5A9D-7C49-F5F678BFD383}"/>
          </ac:grpSpMkLst>
        </pc:grpChg>
        <pc:grpChg chg="add del mod">
          <ac:chgData name="Sai Arvind" userId="4be58695-eae9-4703-8993-7d37aad53b21" providerId="ADAL" clId="{996FF9A9-C974-443F-8618-837E1F831A03}" dt="2024-06-17T10:03:48.443" v="365"/>
          <ac:grpSpMkLst>
            <pc:docMk/>
            <pc:sldMk cId="2319494498" sldId="334"/>
            <ac:grpSpMk id="48" creationId="{5F40B83D-D9D9-D315-0A95-4636CEBBC1EE}"/>
          </ac:grpSpMkLst>
        </pc:grpChg>
        <pc:grpChg chg="add del mod">
          <ac:chgData name="Sai Arvind" userId="4be58695-eae9-4703-8993-7d37aad53b21" providerId="ADAL" clId="{996FF9A9-C974-443F-8618-837E1F831A03}" dt="2024-06-17T10:04:11.622" v="433"/>
          <ac:grpSpMkLst>
            <pc:docMk/>
            <pc:sldMk cId="2319494498" sldId="334"/>
            <ac:grpSpMk id="49" creationId="{1F1CC463-1BD4-586E-D467-A0C70FF4DBC6}"/>
          </ac:grpSpMkLst>
        </pc:grpChg>
        <pc:grpChg chg="del">
          <ac:chgData name="Sai Arvind" userId="4be58695-eae9-4703-8993-7d37aad53b21" providerId="ADAL" clId="{996FF9A9-C974-443F-8618-837E1F831A03}" dt="2024-06-17T09:57:19.435" v="76"/>
          <ac:grpSpMkLst>
            <pc:docMk/>
            <pc:sldMk cId="2319494498" sldId="334"/>
            <ac:grpSpMk id="55" creationId="{2912F146-5807-83BB-E882-3F5A9BCA6AAB}"/>
          </ac:grpSpMkLst>
        </pc:grpChg>
        <pc:grpChg chg="add del mod">
          <ac:chgData name="Sai Arvind" userId="4be58695-eae9-4703-8993-7d37aad53b21" providerId="ADAL" clId="{996FF9A9-C974-443F-8618-837E1F831A03}" dt="2024-06-17T10:04:20.528" v="452"/>
          <ac:grpSpMkLst>
            <pc:docMk/>
            <pc:sldMk cId="2319494498" sldId="334"/>
            <ac:grpSpMk id="58" creationId="{AE82392F-8A04-A3EE-D089-E808216C8D8A}"/>
          </ac:grpSpMkLst>
        </pc:grpChg>
        <pc:grpChg chg="add del mod">
          <ac:chgData name="Sai Arvind" userId="4be58695-eae9-4703-8993-7d37aad53b21" providerId="ADAL" clId="{996FF9A9-C974-443F-8618-837E1F831A03}" dt="2024-06-17T10:04:26.958" v="476"/>
          <ac:grpSpMkLst>
            <pc:docMk/>
            <pc:sldMk cId="2319494498" sldId="334"/>
            <ac:grpSpMk id="59" creationId="{16D00573-FD9B-38D9-8330-22A6DF4520D5}"/>
          </ac:grpSpMkLst>
        </pc:grpChg>
        <pc:grpChg chg="add del mod">
          <ac:chgData name="Sai Arvind" userId="4be58695-eae9-4703-8993-7d37aad53b21" providerId="ADAL" clId="{996FF9A9-C974-443F-8618-837E1F831A03}" dt="2024-06-17T10:04:38.128" v="510"/>
          <ac:grpSpMkLst>
            <pc:docMk/>
            <pc:sldMk cId="2319494498" sldId="334"/>
            <ac:grpSpMk id="60" creationId="{E3DF957E-159E-9E31-4E18-221F42DDCD73}"/>
          </ac:grpSpMkLst>
        </pc:grpChg>
        <pc:grpChg chg="add del mod">
          <ac:chgData name="Sai Arvind" userId="4be58695-eae9-4703-8993-7d37aad53b21" providerId="ADAL" clId="{996FF9A9-C974-443F-8618-837E1F831A03}" dt="2024-06-17T10:08:00.582" v="784"/>
          <ac:grpSpMkLst>
            <pc:docMk/>
            <pc:sldMk cId="2319494498" sldId="334"/>
            <ac:grpSpMk id="61" creationId="{998F297E-603B-7AD8-5E96-4F971BC7EB07}"/>
          </ac:grpSpMkLst>
        </pc:grpChg>
        <pc:grpChg chg="add del mod">
          <ac:chgData name="Sai Arvind" userId="4be58695-eae9-4703-8993-7d37aad53b21" providerId="ADAL" clId="{996FF9A9-C974-443F-8618-837E1F831A03}" dt="2024-06-17T10:05:39.128" v="593"/>
          <ac:grpSpMkLst>
            <pc:docMk/>
            <pc:sldMk cId="2319494498" sldId="334"/>
            <ac:grpSpMk id="62" creationId="{756C863C-6FCC-768F-D016-63AB7F759634}"/>
          </ac:grpSpMkLst>
        </pc:grpChg>
        <pc:grpChg chg="add del mod">
          <ac:chgData name="Sai Arvind" userId="4be58695-eae9-4703-8993-7d37aad53b21" providerId="ADAL" clId="{996FF9A9-C974-443F-8618-837E1F831A03}" dt="2024-06-17T10:06:04.298" v="620"/>
          <ac:grpSpMkLst>
            <pc:docMk/>
            <pc:sldMk cId="2319494498" sldId="334"/>
            <ac:grpSpMk id="69" creationId="{4402BF44-A680-121F-9E89-740B7EE31EDE}"/>
          </ac:grpSpMkLst>
        </pc:grpChg>
        <pc:grpChg chg="add del mod">
          <ac:chgData name="Sai Arvind" userId="4be58695-eae9-4703-8993-7d37aad53b21" providerId="ADAL" clId="{996FF9A9-C974-443F-8618-837E1F831A03}" dt="2024-06-17T10:06:10.579" v="643"/>
          <ac:grpSpMkLst>
            <pc:docMk/>
            <pc:sldMk cId="2319494498" sldId="334"/>
            <ac:grpSpMk id="70" creationId="{10686AE4-FD49-39B0-F10E-2128AB252BC4}"/>
          </ac:grpSpMkLst>
        </pc:grpChg>
        <pc:grpChg chg="add del mod">
          <ac:chgData name="Sai Arvind" userId="4be58695-eae9-4703-8993-7d37aad53b21" providerId="ADAL" clId="{996FF9A9-C974-443F-8618-837E1F831A03}" dt="2024-06-17T10:06:23.568" v="679"/>
          <ac:grpSpMkLst>
            <pc:docMk/>
            <pc:sldMk cId="2319494498" sldId="334"/>
            <ac:grpSpMk id="71" creationId="{2B7AC76F-2B5A-9034-9691-3FA67987F99C}"/>
          </ac:grpSpMkLst>
        </pc:grpChg>
        <pc:grpChg chg="add del mod">
          <ac:chgData name="Sai Arvind" userId="4be58695-eae9-4703-8993-7d37aad53b21" providerId="ADAL" clId="{996FF9A9-C974-443F-8618-837E1F831A03}" dt="2024-06-17T10:07:03.529" v="720"/>
          <ac:grpSpMkLst>
            <pc:docMk/>
            <pc:sldMk cId="2319494498" sldId="334"/>
            <ac:grpSpMk id="72" creationId="{62CB122D-F7F5-DD35-F55E-3AF739E54ADA}"/>
          </ac:grpSpMkLst>
        </pc:grpChg>
        <pc:grpChg chg="add del mod">
          <ac:chgData name="Sai Arvind" userId="4be58695-eae9-4703-8993-7d37aad53b21" providerId="ADAL" clId="{996FF9A9-C974-443F-8618-837E1F831A03}" dt="2024-06-17T10:07:22.654" v="737"/>
          <ac:grpSpMkLst>
            <pc:docMk/>
            <pc:sldMk cId="2319494498" sldId="334"/>
            <ac:grpSpMk id="73" creationId="{E2F47258-74D7-C6FD-ACAD-2658190F0F2E}"/>
          </ac:grpSpMkLst>
        </pc:grpChg>
        <pc:grpChg chg="add del mod">
          <ac:chgData name="Sai Arvind" userId="4be58695-eae9-4703-8993-7d37aad53b21" providerId="ADAL" clId="{996FF9A9-C974-443F-8618-837E1F831A03}" dt="2024-06-17T10:07:40.074" v="768"/>
          <ac:grpSpMkLst>
            <pc:docMk/>
            <pc:sldMk cId="2319494498" sldId="334"/>
            <ac:grpSpMk id="74" creationId="{2681E653-EE88-49DE-962E-BA0187DB6920}"/>
          </ac:grpSpMkLst>
        </pc:grpChg>
        <pc:grpChg chg="add del mod">
          <ac:chgData name="Sai Arvind" userId="4be58695-eae9-4703-8993-7d37aad53b21" providerId="ADAL" clId="{996FF9A9-C974-443F-8618-837E1F831A03}" dt="2024-06-17T10:07:37.518" v="767"/>
          <ac:grpSpMkLst>
            <pc:docMk/>
            <pc:sldMk cId="2319494498" sldId="334"/>
            <ac:grpSpMk id="75" creationId="{D424CF64-E166-90D4-800C-355B7519DB05}"/>
          </ac:grpSpMkLst>
        </pc:grpChg>
        <pc:grpChg chg="add del mod">
          <ac:chgData name="Sai Arvind" userId="4be58695-eae9-4703-8993-7d37aad53b21" providerId="ADAL" clId="{996FF9A9-C974-443F-8618-837E1F831A03}" dt="2024-06-17T10:08:20.753" v="810"/>
          <ac:grpSpMkLst>
            <pc:docMk/>
            <pc:sldMk cId="2319494498" sldId="334"/>
            <ac:grpSpMk id="76" creationId="{CFEFE661-2BE4-4C11-BA50-699ACFC97DBF}"/>
          </ac:grpSpMkLst>
        </pc:grpChg>
        <pc:grpChg chg="add del mod">
          <ac:chgData name="Sai Arvind" userId="4be58695-eae9-4703-8993-7d37aad53b21" providerId="ADAL" clId="{996FF9A9-C974-443F-8618-837E1F831A03}" dt="2024-06-17T10:08:29.034" v="825"/>
          <ac:grpSpMkLst>
            <pc:docMk/>
            <pc:sldMk cId="2319494498" sldId="334"/>
            <ac:grpSpMk id="77" creationId="{8A990341-D022-1377-8170-B6B98FE26092}"/>
          </ac:grpSpMkLst>
        </pc:grpChg>
        <pc:grpChg chg="add del mod">
          <ac:chgData name="Sai Arvind" userId="4be58695-eae9-4703-8993-7d37aad53b21" providerId="ADAL" clId="{996FF9A9-C974-443F-8618-837E1F831A03}" dt="2024-06-17T10:13:41.889" v="854"/>
          <ac:grpSpMkLst>
            <pc:docMk/>
            <pc:sldMk cId="2319494498" sldId="334"/>
            <ac:grpSpMk id="78" creationId="{E7826C0A-50E3-8880-67C4-3E3DE3BF6E94}"/>
          </ac:grpSpMkLst>
        </pc:grpChg>
        <pc:grpChg chg="add del mod">
          <ac:chgData name="Sai Arvind" userId="4be58695-eae9-4703-8993-7d37aad53b21" providerId="ADAL" clId="{996FF9A9-C974-443F-8618-837E1F831A03}" dt="2024-06-17T10:15:04.764" v="905"/>
          <ac:grpSpMkLst>
            <pc:docMk/>
            <pc:sldMk cId="2319494498" sldId="334"/>
            <ac:grpSpMk id="79" creationId="{DBE9ECC9-7278-79D1-48DE-6A0A86C4E237}"/>
          </ac:grpSpMkLst>
        </pc:grpChg>
        <pc:grpChg chg="add del mod">
          <ac:chgData name="Sai Arvind" userId="4be58695-eae9-4703-8993-7d37aad53b21" providerId="ADAL" clId="{996FF9A9-C974-443F-8618-837E1F831A03}" dt="2024-06-17T10:15:13.494" v="949"/>
          <ac:grpSpMkLst>
            <pc:docMk/>
            <pc:sldMk cId="2319494498" sldId="334"/>
            <ac:grpSpMk id="80" creationId="{065C9DB6-630E-00A6-A9D1-C0185CD13072}"/>
          </ac:grpSpMkLst>
        </pc:grpChg>
        <pc:grpChg chg="add del mod">
          <ac:chgData name="Sai Arvind" userId="4be58695-eae9-4703-8993-7d37aad53b21" providerId="ADAL" clId="{996FF9A9-C974-443F-8618-837E1F831A03}" dt="2024-06-17T10:15:20.625" v="964"/>
          <ac:grpSpMkLst>
            <pc:docMk/>
            <pc:sldMk cId="2319494498" sldId="334"/>
            <ac:grpSpMk id="81" creationId="{8C5FEDA4-2EE6-032D-CDB3-0FEA65751E49}"/>
          </ac:grpSpMkLst>
        </pc:grpChg>
        <pc:grpChg chg="add del mod">
          <ac:chgData name="Sai Arvind" userId="4be58695-eae9-4703-8993-7d37aad53b21" providerId="ADAL" clId="{996FF9A9-C974-443F-8618-837E1F831A03}" dt="2024-06-17T10:15:45.304" v="1016"/>
          <ac:grpSpMkLst>
            <pc:docMk/>
            <pc:sldMk cId="2319494498" sldId="334"/>
            <ac:grpSpMk id="82" creationId="{64E403CC-40F1-A065-7051-2EAD741F1931}"/>
          </ac:grpSpMkLst>
        </pc:grpChg>
        <pc:grpChg chg="add del mod">
          <ac:chgData name="Sai Arvind" userId="4be58695-eae9-4703-8993-7d37aad53b21" providerId="ADAL" clId="{996FF9A9-C974-443F-8618-837E1F831A03}" dt="2024-06-17T10:15:43.464" v="1015"/>
          <ac:grpSpMkLst>
            <pc:docMk/>
            <pc:sldMk cId="2319494498" sldId="334"/>
            <ac:grpSpMk id="83" creationId="{FAC00DA3-E77B-336A-CEC6-9126B8AFD59A}"/>
          </ac:grpSpMkLst>
        </pc:grpChg>
        <pc:grpChg chg="add del mod">
          <ac:chgData name="Sai Arvind" userId="4be58695-eae9-4703-8993-7d37aad53b21" providerId="ADAL" clId="{996FF9A9-C974-443F-8618-837E1F831A03}" dt="2024-06-17T10:16:00.864" v="1020"/>
          <ac:grpSpMkLst>
            <pc:docMk/>
            <pc:sldMk cId="2319494498" sldId="334"/>
            <ac:grpSpMk id="84" creationId="{749A281E-C5E2-F325-CA2F-4B18707E519F}"/>
          </ac:grpSpMkLst>
        </pc:grpChg>
        <pc:grpChg chg="add del mod">
          <ac:chgData name="Sai Arvind" userId="4be58695-eae9-4703-8993-7d37aad53b21" providerId="ADAL" clId="{996FF9A9-C974-443F-8618-837E1F831A03}" dt="2024-06-17T10:16:52.989" v="1067"/>
          <ac:grpSpMkLst>
            <pc:docMk/>
            <pc:sldMk cId="2319494498" sldId="334"/>
            <ac:grpSpMk id="85" creationId="{2235ADB0-9852-8932-9C30-E8CFB10DD987}"/>
          </ac:grpSpMkLst>
        </pc:grpChg>
        <pc:grpChg chg="add del mod">
          <ac:chgData name="Sai Arvind" userId="4be58695-eae9-4703-8993-7d37aad53b21" providerId="ADAL" clId="{996FF9A9-C974-443F-8618-837E1F831A03}" dt="2024-06-17T10:17:00.045" v="1079"/>
          <ac:grpSpMkLst>
            <pc:docMk/>
            <pc:sldMk cId="2319494498" sldId="334"/>
            <ac:grpSpMk id="86" creationId="{3B55E9E3-AD26-E40D-FB33-34968CCC633D}"/>
          </ac:grpSpMkLst>
        </pc:grpChg>
        <pc:grpChg chg="add del mod">
          <ac:chgData name="Sai Arvind" userId="4be58695-eae9-4703-8993-7d37aad53b21" providerId="ADAL" clId="{996FF9A9-C974-443F-8618-837E1F831A03}" dt="2024-06-17T10:17:34.205" v="1111"/>
          <ac:grpSpMkLst>
            <pc:docMk/>
            <pc:sldMk cId="2319494498" sldId="334"/>
            <ac:grpSpMk id="87" creationId="{B78C4A4E-356B-CEA8-B4F7-F6C9EBE4C4B1}"/>
          </ac:grpSpMkLst>
        </pc:grpChg>
        <pc:grpChg chg="add del mod topLvl">
          <ac:chgData name="Sai Arvind" userId="4be58695-eae9-4703-8993-7d37aad53b21" providerId="ADAL" clId="{996FF9A9-C974-443F-8618-837E1F831A03}" dt="2024-06-17T10:17:55.095" v="1135"/>
          <ac:grpSpMkLst>
            <pc:docMk/>
            <pc:sldMk cId="2319494498" sldId="334"/>
            <ac:grpSpMk id="88" creationId="{8D823B8E-2CE8-6A84-79BD-A89C1143C0B5}"/>
          </ac:grpSpMkLst>
        </pc:grpChg>
        <pc:grpChg chg="add del mod">
          <ac:chgData name="Sai Arvind" userId="4be58695-eae9-4703-8993-7d37aad53b21" providerId="ADAL" clId="{996FF9A9-C974-443F-8618-837E1F831A03}" dt="2024-06-17T10:17:54.885" v="1134"/>
          <ac:grpSpMkLst>
            <pc:docMk/>
            <pc:sldMk cId="2319494498" sldId="334"/>
            <ac:grpSpMk id="89" creationId="{D8D82433-7286-3278-F9B8-2B28F8B4AC90}"/>
          </ac:grpSpMkLst>
        </pc:grpChg>
        <pc:grpChg chg="add del mod">
          <ac:chgData name="Sai Arvind" userId="4be58695-eae9-4703-8993-7d37aad53b21" providerId="ADAL" clId="{996FF9A9-C974-443F-8618-837E1F831A03}" dt="2024-06-17T10:18:03.457" v="1146"/>
          <ac:grpSpMkLst>
            <pc:docMk/>
            <pc:sldMk cId="2319494498" sldId="334"/>
            <ac:grpSpMk id="90" creationId="{B79BC17B-704E-3995-EB2C-9EABBF796259}"/>
          </ac:grpSpMkLst>
        </pc:grpChg>
        <pc:grpChg chg="add del mod">
          <ac:chgData name="Sai Arvind" userId="4be58695-eae9-4703-8993-7d37aad53b21" providerId="ADAL" clId="{996FF9A9-C974-443F-8618-837E1F831A03}" dt="2024-06-17T10:20:01.276" v="1194"/>
          <ac:grpSpMkLst>
            <pc:docMk/>
            <pc:sldMk cId="2319494498" sldId="334"/>
            <ac:grpSpMk id="93" creationId="{08B7A9F8-FDD2-3162-51FA-97D539EA02C1}"/>
          </ac:grpSpMkLst>
        </pc:grpChg>
        <pc:grpChg chg="add del mod">
          <ac:chgData name="Sai Arvind" userId="4be58695-eae9-4703-8993-7d37aad53b21" providerId="ADAL" clId="{996FF9A9-C974-443F-8618-837E1F831A03}" dt="2024-06-17T10:19:39.516" v="1185"/>
          <ac:grpSpMkLst>
            <pc:docMk/>
            <pc:sldMk cId="2319494498" sldId="334"/>
            <ac:grpSpMk id="94" creationId="{F665FDDC-4224-CB9B-68D9-3549AD1144C0}"/>
          </ac:grpSpMkLst>
        </pc:grpChg>
        <pc:grpChg chg="add del mod">
          <ac:chgData name="Sai Arvind" userId="4be58695-eae9-4703-8993-7d37aad53b21" providerId="ADAL" clId="{996FF9A9-C974-443F-8618-837E1F831A03}" dt="2024-06-17T10:19:30.701" v="1184"/>
          <ac:grpSpMkLst>
            <pc:docMk/>
            <pc:sldMk cId="2319494498" sldId="334"/>
            <ac:grpSpMk id="97" creationId="{AD8B2B22-78FA-E52E-5278-EED3207754CC}"/>
          </ac:grpSpMkLst>
        </pc:grpChg>
        <pc:grpChg chg="add del mod topLvl">
          <ac:chgData name="Sai Arvind" userId="4be58695-eae9-4703-8993-7d37aad53b21" providerId="ADAL" clId="{996FF9A9-C974-443F-8618-837E1F831A03}" dt="2024-06-17T10:20:17.510" v="1205"/>
          <ac:grpSpMkLst>
            <pc:docMk/>
            <pc:sldMk cId="2319494498" sldId="334"/>
            <ac:grpSpMk id="100" creationId="{D1393FA1-2B33-A47C-FD0C-9A6677155EE5}"/>
          </ac:grpSpMkLst>
        </pc:grpChg>
        <pc:grpChg chg="add del mod topLvl">
          <ac:chgData name="Sai Arvind" userId="4be58695-eae9-4703-8993-7d37aad53b21" providerId="ADAL" clId="{996FF9A9-C974-443F-8618-837E1F831A03}" dt="2024-06-17T10:20:17.510" v="1205"/>
          <ac:grpSpMkLst>
            <pc:docMk/>
            <pc:sldMk cId="2319494498" sldId="334"/>
            <ac:grpSpMk id="101" creationId="{CFF17BD5-9A16-B8AC-AB7F-61FF650FAA47}"/>
          </ac:grpSpMkLst>
        </pc:grpChg>
        <pc:grpChg chg="add del mod topLvl">
          <ac:chgData name="Sai Arvind" userId="4be58695-eae9-4703-8993-7d37aad53b21" providerId="ADAL" clId="{996FF9A9-C974-443F-8618-837E1F831A03}" dt="2024-06-17T10:20:17.510" v="1205"/>
          <ac:grpSpMkLst>
            <pc:docMk/>
            <pc:sldMk cId="2319494498" sldId="334"/>
            <ac:grpSpMk id="102" creationId="{F2B6D157-5C73-5DAB-804C-0CE3852EF9DC}"/>
          </ac:grpSpMkLst>
        </pc:grpChg>
        <pc:grpChg chg="add del mod">
          <ac:chgData name="Sai Arvind" userId="4be58695-eae9-4703-8993-7d37aad53b21" providerId="ADAL" clId="{996FF9A9-C974-443F-8618-837E1F831A03}" dt="2024-06-17T10:20:17.149" v="1204"/>
          <ac:grpSpMkLst>
            <pc:docMk/>
            <pc:sldMk cId="2319494498" sldId="334"/>
            <ac:grpSpMk id="103" creationId="{2A328196-4923-AB73-5915-0AE2CD492004}"/>
          </ac:grpSpMkLst>
        </pc:grpChg>
        <pc:grpChg chg="add mod topLvl">
          <ac:chgData name="Sai Arvind" userId="4be58695-eae9-4703-8993-7d37aad53b21" providerId="ADAL" clId="{996FF9A9-C974-443F-8618-837E1F831A03}" dt="2024-06-17T10:20:30.285" v="1216"/>
          <ac:grpSpMkLst>
            <pc:docMk/>
            <pc:sldMk cId="2319494498" sldId="334"/>
            <ac:grpSpMk id="104" creationId="{9E5A6581-41CD-E6EA-0B06-3CE48F59176F}"/>
          </ac:grpSpMkLst>
        </pc:grpChg>
        <pc:grpChg chg="add mod topLvl">
          <ac:chgData name="Sai Arvind" userId="4be58695-eae9-4703-8993-7d37aad53b21" providerId="ADAL" clId="{996FF9A9-C974-443F-8618-837E1F831A03}" dt="2024-06-17T10:20:30.285" v="1216"/>
          <ac:grpSpMkLst>
            <pc:docMk/>
            <pc:sldMk cId="2319494498" sldId="334"/>
            <ac:grpSpMk id="105" creationId="{DE649A34-76CE-E700-7E0D-E98677DE8D62}"/>
          </ac:grpSpMkLst>
        </pc:grpChg>
        <pc:grpChg chg="add mod topLvl">
          <ac:chgData name="Sai Arvind" userId="4be58695-eae9-4703-8993-7d37aad53b21" providerId="ADAL" clId="{996FF9A9-C974-443F-8618-837E1F831A03}" dt="2024-06-17T10:20:30.285" v="1216"/>
          <ac:grpSpMkLst>
            <pc:docMk/>
            <pc:sldMk cId="2319494498" sldId="334"/>
            <ac:grpSpMk id="106" creationId="{6C42A1EE-5771-432C-A06B-C541EE519E00}"/>
          </ac:grpSpMkLst>
        </pc:grpChg>
        <pc:grpChg chg="add del mod">
          <ac:chgData name="Sai Arvind" userId="4be58695-eae9-4703-8993-7d37aad53b21" providerId="ADAL" clId="{996FF9A9-C974-443F-8618-837E1F831A03}" dt="2024-06-17T10:20:30.285" v="1216"/>
          <ac:grpSpMkLst>
            <pc:docMk/>
            <pc:sldMk cId="2319494498" sldId="334"/>
            <ac:grpSpMk id="107" creationId="{59502862-BDBE-8BC9-ABA0-E192D567A573}"/>
          </ac:grpSpMkLst>
        </pc:grpChg>
        <pc:picChg chg="mod topLvl">
          <ac:chgData name="Sai Arvind" userId="4be58695-eae9-4703-8993-7d37aad53b21" providerId="ADAL" clId="{996FF9A9-C974-443F-8618-837E1F831A03}" dt="2024-06-17T09:58:23.511" v="93" actId="1037"/>
          <ac:picMkLst>
            <pc:docMk/>
            <pc:sldMk cId="2319494498" sldId="334"/>
            <ac:picMk id="54" creationId="{CF5BE7FD-027B-BD12-09F0-24CE04503D6B}"/>
          </ac:picMkLst>
        </pc:picChg>
      </pc:sldChg>
      <pc:sldChg chg="addSp delSp modSp mod modClrScheme chgLayout">
        <pc:chgData name="Sai Arvind" userId="4be58695-eae9-4703-8993-7d37aad53b21" providerId="ADAL" clId="{996FF9A9-C974-443F-8618-837E1F831A03}" dt="2024-06-18T07:20:44.170" v="3624" actId="14100"/>
        <pc:sldMkLst>
          <pc:docMk/>
          <pc:sldMk cId="2035529764" sldId="356"/>
        </pc:sldMkLst>
        <pc:spChg chg="mod ord">
          <ac:chgData name="Sai Arvind" userId="4be58695-eae9-4703-8993-7d37aad53b21" providerId="ADAL" clId="{996FF9A9-C974-443F-8618-837E1F831A03}" dt="2024-06-18T06:32:49.145" v="3469" actId="139"/>
          <ac:spMkLst>
            <pc:docMk/>
            <pc:sldMk cId="2035529764" sldId="356"/>
            <ac:spMk id="2" creationId="{47E9AD21-BC5A-8F1F-7724-4A751D5F480D}"/>
          </ac:spMkLst>
        </pc:spChg>
        <pc:spChg chg="del mod ord">
          <ac:chgData name="Sai Arvind" userId="4be58695-eae9-4703-8993-7d37aad53b21" providerId="ADAL" clId="{996FF9A9-C974-443F-8618-837E1F831A03}" dt="2024-06-18T06:32:46.775" v="3466" actId="700"/>
          <ac:spMkLst>
            <pc:docMk/>
            <pc:sldMk cId="2035529764" sldId="356"/>
            <ac:spMk id="3" creationId="{889303BA-E2EB-A92F-FBC1-8B7C2590238B}"/>
          </ac:spMkLst>
        </pc:spChg>
        <pc:spChg chg="add del mod ord">
          <ac:chgData name="Sai Arvind" userId="4be58695-eae9-4703-8993-7d37aad53b21" providerId="ADAL" clId="{996FF9A9-C974-443F-8618-837E1F831A03}" dt="2024-06-18T06:32:47.766" v="3467" actId="6264"/>
          <ac:spMkLst>
            <pc:docMk/>
            <pc:sldMk cId="2035529764" sldId="356"/>
            <ac:spMk id="4" creationId="{2F74CC5D-0149-A199-7F49-66C05EDF1094}"/>
          </ac:spMkLst>
        </pc:spChg>
        <pc:spChg chg="add del mod">
          <ac:chgData name="Sai Arvind" userId="4be58695-eae9-4703-8993-7d37aad53b21" providerId="ADAL" clId="{996FF9A9-C974-443F-8618-837E1F831A03}" dt="2024-06-18T06:32:47.766" v="3467" actId="6264"/>
          <ac:spMkLst>
            <pc:docMk/>
            <pc:sldMk cId="2035529764" sldId="356"/>
            <ac:spMk id="5" creationId="{7C371C20-C214-4CA4-D225-4101A9ECC964}"/>
          </ac:spMkLst>
        </pc:spChg>
        <pc:spChg chg="add del mod ord">
          <ac:chgData name="Sai Arvind" userId="4be58695-eae9-4703-8993-7d37aad53b21" providerId="ADAL" clId="{996FF9A9-C974-443F-8618-837E1F831A03}" dt="2024-06-18T06:36:22.084" v="3602" actId="478"/>
          <ac:spMkLst>
            <pc:docMk/>
            <pc:sldMk cId="2035529764" sldId="356"/>
            <ac:spMk id="7" creationId="{C0EC13F9-9646-E6B7-B22C-B2684264EA4E}"/>
          </ac:spMkLst>
        </pc:spChg>
        <pc:spChg chg="add mod ord">
          <ac:chgData name="Sai Arvind" userId="4be58695-eae9-4703-8993-7d37aad53b21" providerId="ADAL" clId="{996FF9A9-C974-443F-8618-837E1F831A03}" dt="2024-06-18T06:37:12.512" v="3615"/>
          <ac:spMkLst>
            <pc:docMk/>
            <pc:sldMk cId="2035529764" sldId="356"/>
            <ac:spMk id="8" creationId="{5F776C73-D6DF-74F9-2BCC-0AAD9E7C05CC}"/>
          </ac:spMkLst>
        </pc:spChg>
        <pc:spChg chg="add mod">
          <ac:chgData name="Sai Arvind" userId="4be58695-eae9-4703-8993-7d37aad53b21" providerId="ADAL" clId="{996FF9A9-C974-443F-8618-837E1F831A03}" dt="2024-06-18T06:37:12.512" v="3616"/>
          <ac:spMkLst>
            <pc:docMk/>
            <pc:sldMk cId="2035529764" sldId="356"/>
            <ac:spMk id="9" creationId="{0C442F2A-C34A-FCD8-A1AB-993A213E44BA}"/>
          </ac:spMkLst>
        </pc:spChg>
        <pc:spChg chg="add mod ord">
          <ac:chgData name="Sai Arvind" userId="4be58695-eae9-4703-8993-7d37aad53b21" providerId="ADAL" clId="{996FF9A9-C974-443F-8618-837E1F831A03}" dt="2024-06-18T07:19:50.959" v="3622" actId="167"/>
          <ac:spMkLst>
            <pc:docMk/>
            <pc:sldMk cId="2035529764" sldId="356"/>
            <ac:spMk id="10" creationId="{83C3EBBC-6661-20D0-736B-440D49CEACE4}"/>
          </ac:spMkLst>
        </pc:spChg>
        <pc:graphicFrameChg chg="add del mod ord modGraphic">
          <ac:chgData name="Sai Arvind" userId="4be58695-eae9-4703-8993-7d37aad53b21" providerId="ADAL" clId="{996FF9A9-C974-443F-8618-837E1F831A03}" dt="2024-06-18T06:35:09.092" v="3564" actId="572"/>
          <ac:graphicFrameMkLst>
            <pc:docMk/>
            <pc:sldMk cId="2035529764" sldId="356"/>
            <ac:graphicFrameMk id="6" creationId="{048177B2-DFFD-E7B2-5589-78EFCFC1397F}"/>
          </ac:graphicFrameMkLst>
        </pc:graphicFrameChg>
        <pc:graphicFrameChg chg="mod">
          <ac:chgData name="Sai Arvind" userId="4be58695-eae9-4703-8993-7d37aad53b21" providerId="ADAL" clId="{996FF9A9-C974-443F-8618-837E1F831A03}" dt="2024-06-18T07:20:44.170" v="3624" actId="14100"/>
          <ac:graphicFrameMkLst>
            <pc:docMk/>
            <pc:sldMk cId="2035529764" sldId="356"/>
            <ac:graphicFrameMk id="11" creationId="{5FDC3B3C-5D5D-DDEA-55CC-D81FA527A4D6}"/>
          </ac:graphicFrameMkLst>
        </pc:graphicFrameChg>
        <pc:graphicFrameChg chg="add del mod">
          <ac:chgData name="Sai Arvind" userId="4be58695-eae9-4703-8993-7d37aad53b21" providerId="ADAL" clId="{996FF9A9-C974-443F-8618-837E1F831A03}" dt="2024-06-18T06:36:28.372" v="3605" actId="478"/>
          <ac:graphicFrameMkLst>
            <pc:docMk/>
            <pc:sldMk cId="2035529764" sldId="356"/>
            <ac:graphicFrameMk id="12" creationId="{11002973-66B0-FCBD-2C9B-23F84AE3C599}"/>
          </ac:graphicFrameMkLst>
        </pc:graphicFrameChg>
      </pc:sldChg>
      <pc:sldChg chg="addSp delSp modSp mod modClrScheme chgLayout">
        <pc:chgData name="Sai Arvind" userId="4be58695-eae9-4703-8993-7d37aad53b21" providerId="ADAL" clId="{996FF9A9-C974-443F-8618-837E1F831A03}" dt="2024-06-18T06:14:28.526" v="2803" actId="1076"/>
        <pc:sldMkLst>
          <pc:docMk/>
          <pc:sldMk cId="3328825580" sldId="357"/>
        </pc:sldMkLst>
        <pc:spChg chg="mod ord">
          <ac:chgData name="Sai Arvind" userId="4be58695-eae9-4703-8993-7d37aad53b21" providerId="ADAL" clId="{996FF9A9-C974-443F-8618-837E1F831A03}" dt="2024-06-18T06:11:01.571" v="2663" actId="139"/>
          <ac:spMkLst>
            <pc:docMk/>
            <pc:sldMk cId="3328825580" sldId="357"/>
            <ac:spMk id="2" creationId="{9431463F-C086-F12C-8AB8-B9330F57F3FD}"/>
          </ac:spMkLst>
        </pc:spChg>
        <pc:spChg chg="del mod ord">
          <ac:chgData name="Sai Arvind" userId="4be58695-eae9-4703-8993-7d37aad53b21" providerId="ADAL" clId="{996FF9A9-C974-443F-8618-837E1F831A03}" dt="2024-06-18T06:10:59.308" v="2660" actId="700"/>
          <ac:spMkLst>
            <pc:docMk/>
            <pc:sldMk cId="3328825580" sldId="357"/>
            <ac:spMk id="3" creationId="{255F8A6E-64E6-D59A-BD90-E4CAB33BB063}"/>
          </ac:spMkLst>
        </pc:spChg>
        <pc:spChg chg="add mod topLvl">
          <ac:chgData name="Sai Arvind" userId="4be58695-eae9-4703-8993-7d37aad53b21" providerId="ADAL" clId="{996FF9A9-C974-443F-8618-837E1F831A03}" dt="2024-06-18T06:12:28.656" v="2734"/>
          <ac:spMkLst>
            <pc:docMk/>
            <pc:sldMk cId="3328825580" sldId="357"/>
            <ac:spMk id="4" creationId="{F99BE823-5276-E3B4-2732-CD84ED151865}"/>
          </ac:spMkLst>
        </pc:spChg>
        <pc:spChg chg="del">
          <ac:chgData name="Sai Arvind" userId="4be58695-eae9-4703-8993-7d37aad53b21" providerId="ADAL" clId="{996FF9A9-C974-443F-8618-837E1F831A03}" dt="2024-06-18T06:10:57.043" v="2659" actId="478"/>
          <ac:spMkLst>
            <pc:docMk/>
            <pc:sldMk cId="3328825580" sldId="357"/>
            <ac:spMk id="6" creationId="{9A9CA605-7BCA-33A4-BFBD-BD1B38D2549A}"/>
          </ac:spMkLst>
        </pc:spChg>
        <pc:spChg chg="add mod topLvl">
          <ac:chgData name="Sai Arvind" userId="4be58695-eae9-4703-8993-7d37aad53b21" providerId="ADAL" clId="{996FF9A9-C974-443F-8618-837E1F831A03}" dt="2024-06-18T06:12:28.656" v="2733"/>
          <ac:spMkLst>
            <pc:docMk/>
            <pc:sldMk cId="3328825580" sldId="357"/>
            <ac:spMk id="9" creationId="{F5C8F8D3-9745-0AB5-2C12-6E3E06B0F68E}"/>
          </ac:spMkLst>
        </pc:spChg>
        <pc:spChg chg="del">
          <ac:chgData name="Sai Arvind" userId="4be58695-eae9-4703-8993-7d37aad53b21" providerId="ADAL" clId="{996FF9A9-C974-443F-8618-837E1F831A03}" dt="2024-06-18T06:10:57.043" v="2659" actId="478"/>
          <ac:spMkLst>
            <pc:docMk/>
            <pc:sldMk cId="3328825580" sldId="357"/>
            <ac:spMk id="11" creationId="{6402479B-6434-1B84-6E00-452A0B9E3D97}"/>
          </ac:spMkLst>
        </pc:spChg>
        <pc:spChg chg="add del mod ord">
          <ac:chgData name="Sai Arvind" userId="4be58695-eae9-4703-8993-7d37aad53b21" providerId="ADAL" clId="{996FF9A9-C974-443F-8618-837E1F831A03}" dt="2024-06-18T06:11:00.252" v="2661" actId="6264"/>
          <ac:spMkLst>
            <pc:docMk/>
            <pc:sldMk cId="3328825580" sldId="357"/>
            <ac:spMk id="12" creationId="{2CFF954A-8227-4EB6-3FD4-04D561A5FD4B}"/>
          </ac:spMkLst>
        </pc:spChg>
        <pc:spChg chg="add del mod">
          <ac:chgData name="Sai Arvind" userId="4be58695-eae9-4703-8993-7d37aad53b21" providerId="ADAL" clId="{996FF9A9-C974-443F-8618-837E1F831A03}" dt="2024-06-18T06:11:00.252" v="2661" actId="6264"/>
          <ac:spMkLst>
            <pc:docMk/>
            <pc:sldMk cId="3328825580" sldId="357"/>
            <ac:spMk id="13" creationId="{BF16AE58-1F74-CB97-5C2A-BAC7547CE109}"/>
          </ac:spMkLst>
        </pc:spChg>
        <pc:spChg chg="add del mod ord">
          <ac:chgData name="Sai Arvind" userId="4be58695-eae9-4703-8993-7d37aad53b21" providerId="ADAL" clId="{996FF9A9-C974-443F-8618-837E1F831A03}" dt="2024-06-18T06:12:25.197" v="2732" actId="478"/>
          <ac:spMkLst>
            <pc:docMk/>
            <pc:sldMk cId="3328825580" sldId="357"/>
            <ac:spMk id="14" creationId="{D607F6C5-68DF-ED2B-5BBF-9DFBAC20FB9E}"/>
          </ac:spMkLst>
        </pc:spChg>
        <pc:grpChg chg="add del mod">
          <ac:chgData name="Sai Arvind" userId="4be58695-eae9-4703-8993-7d37aad53b21" providerId="ADAL" clId="{996FF9A9-C974-443F-8618-837E1F831A03}" dt="2024-06-18T06:11:26.196" v="2711"/>
          <ac:grpSpMkLst>
            <pc:docMk/>
            <pc:sldMk cId="3328825580" sldId="357"/>
            <ac:grpSpMk id="10" creationId="{3CBEA06B-E540-2B8C-273C-E4A581FA5E37}"/>
          </ac:grpSpMkLst>
        </pc:grpChg>
        <pc:grpChg chg="add del mod">
          <ac:chgData name="Sai Arvind" userId="4be58695-eae9-4703-8993-7d37aad53b21" providerId="ADAL" clId="{996FF9A9-C974-443F-8618-837E1F831A03}" dt="2024-06-18T06:11:49.005" v="2717"/>
          <ac:grpSpMkLst>
            <pc:docMk/>
            <pc:sldMk cId="3328825580" sldId="357"/>
            <ac:grpSpMk id="15" creationId="{836CAD9E-1629-2417-50C7-2A7F0A4562DA}"/>
          </ac:grpSpMkLst>
        </pc:grpChg>
        <pc:picChg chg="mod">
          <ac:chgData name="Sai Arvind" userId="4be58695-eae9-4703-8993-7d37aad53b21" providerId="ADAL" clId="{996FF9A9-C974-443F-8618-837E1F831A03}" dt="2024-06-18T06:14:06.033" v="2796" actId="1036"/>
          <ac:picMkLst>
            <pc:docMk/>
            <pc:sldMk cId="3328825580" sldId="357"/>
            <ac:picMk id="7" creationId="{1A0D9463-C2A2-4242-83ED-31C736129C1E}"/>
          </ac:picMkLst>
        </pc:picChg>
        <pc:picChg chg="mod">
          <ac:chgData name="Sai Arvind" userId="4be58695-eae9-4703-8993-7d37aad53b21" providerId="ADAL" clId="{996FF9A9-C974-443F-8618-837E1F831A03}" dt="2024-06-18T06:14:28.526" v="2803" actId="1076"/>
          <ac:picMkLst>
            <pc:docMk/>
            <pc:sldMk cId="3328825580" sldId="357"/>
            <ac:picMk id="8" creationId="{1FEE3175-8F96-1D55-0238-2A0F3E9A41F1}"/>
          </ac:picMkLst>
        </pc:picChg>
        <pc:cxnChg chg="add mod">
          <ac:chgData name="Sai Arvind" userId="4be58695-eae9-4703-8993-7d37aad53b21" providerId="ADAL" clId="{996FF9A9-C974-443F-8618-837E1F831A03}" dt="2024-06-18T06:13:36.316" v="2783"/>
          <ac:cxnSpMkLst>
            <pc:docMk/>
            <pc:sldMk cId="3328825580" sldId="357"/>
            <ac:cxnSpMk id="17" creationId="{A4D9B955-ACBB-BB52-C025-5C348AC366E8}"/>
          </ac:cxnSpMkLst>
        </pc:cxnChg>
      </pc:sldChg>
      <pc:sldChg chg="addSp delSp modSp mod modClrScheme chgLayout">
        <pc:chgData name="Sai Arvind" userId="4be58695-eae9-4703-8993-7d37aad53b21" providerId="ADAL" clId="{996FF9A9-C974-443F-8618-837E1F831A03}" dt="2024-06-18T04:58:40.578" v="1350" actId="14100"/>
        <pc:sldMkLst>
          <pc:docMk/>
          <pc:sldMk cId="812848875" sldId="360"/>
        </pc:sldMkLst>
        <pc:spChg chg="mod ord">
          <ac:chgData name="Sai Arvind" userId="4be58695-eae9-4703-8993-7d37aad53b21" providerId="ADAL" clId="{996FF9A9-C974-443F-8618-837E1F831A03}" dt="2024-06-17T10:54:50.169" v="1220" actId="139"/>
          <ac:spMkLst>
            <pc:docMk/>
            <pc:sldMk cId="812848875" sldId="360"/>
            <ac:spMk id="2" creationId="{F2F39935-05AF-A634-27A8-499EB349F9AF}"/>
          </ac:spMkLst>
        </pc:spChg>
        <pc:spChg chg="add del mod">
          <ac:chgData name="Sai Arvind" userId="4be58695-eae9-4703-8993-7d37aad53b21" providerId="ADAL" clId="{996FF9A9-C974-443F-8618-837E1F831A03}" dt="2024-06-17T10:54:48.039" v="1218" actId="6264"/>
          <ac:spMkLst>
            <pc:docMk/>
            <pc:sldMk cId="812848875" sldId="360"/>
            <ac:spMk id="3" creationId="{C9337332-826C-1119-9EBD-210BD0BA50EE}"/>
          </ac:spMkLst>
        </pc:spChg>
        <pc:spChg chg="mod ord">
          <ac:chgData name="Sai Arvind" userId="4be58695-eae9-4703-8993-7d37aad53b21" providerId="ADAL" clId="{996FF9A9-C974-443F-8618-837E1F831A03}" dt="2024-06-17T10:54:48.039" v="1218" actId="6264"/>
          <ac:spMkLst>
            <pc:docMk/>
            <pc:sldMk cId="812848875" sldId="360"/>
            <ac:spMk id="4" creationId="{6BE7FC9A-3392-1344-BD93-493BB49841AF}"/>
          </ac:spMkLst>
        </pc:spChg>
        <pc:spChg chg="add del mod">
          <ac:chgData name="Sai Arvind" userId="4be58695-eae9-4703-8993-7d37aad53b21" providerId="ADAL" clId="{996FF9A9-C974-443F-8618-837E1F831A03}" dt="2024-06-17T10:54:48.039" v="1218" actId="6264"/>
          <ac:spMkLst>
            <pc:docMk/>
            <pc:sldMk cId="812848875" sldId="360"/>
            <ac:spMk id="6" creationId="{0EDA6255-D013-07BB-D6F4-BE0916C3291E}"/>
          </ac:spMkLst>
        </pc:spChg>
        <pc:spChg chg="mod">
          <ac:chgData name="Sai Arvind" userId="4be58695-eae9-4703-8993-7d37aad53b21" providerId="ADAL" clId="{996FF9A9-C974-443F-8618-837E1F831A03}" dt="2024-06-18T04:58:34.376" v="1346" actId="14100"/>
          <ac:spMkLst>
            <pc:docMk/>
            <pc:sldMk cId="812848875" sldId="360"/>
            <ac:spMk id="6" creationId="{B655F9BB-6E5F-7755-C465-874A2F7B6D7E}"/>
          </ac:spMkLst>
        </pc:spChg>
        <pc:spChg chg="add mod topLvl">
          <ac:chgData name="Sai Arvind" userId="4be58695-eae9-4703-8993-7d37aad53b21" providerId="ADAL" clId="{996FF9A9-C974-443F-8618-837E1F831A03}" dt="2024-06-17T11:13:47.524" v="1321" actId="2085"/>
          <ac:spMkLst>
            <pc:docMk/>
            <pc:sldMk cId="812848875" sldId="360"/>
            <ac:spMk id="7" creationId="{429E00B2-6509-F153-2B58-C3CBE507FC86}"/>
          </ac:spMkLst>
        </pc:spChg>
        <pc:spChg chg="add mod topLvl">
          <ac:chgData name="Sai Arvind" userId="4be58695-eae9-4703-8993-7d37aad53b21" providerId="ADAL" clId="{996FF9A9-C974-443F-8618-837E1F831A03}" dt="2024-06-17T11:13:47.524" v="1321" actId="2085"/>
          <ac:spMkLst>
            <pc:docMk/>
            <pc:sldMk cId="812848875" sldId="360"/>
            <ac:spMk id="8" creationId="{C837A399-AA7A-1604-B4D2-B8AC84437CC4}"/>
          </ac:spMkLst>
        </pc:spChg>
        <pc:spChg chg="mod ord">
          <ac:chgData name="Sai Arvind" userId="4be58695-eae9-4703-8993-7d37aad53b21" providerId="ADAL" clId="{996FF9A9-C974-443F-8618-837E1F831A03}" dt="2024-06-17T11:13:42.364" v="1320" actId="242"/>
          <ac:spMkLst>
            <pc:docMk/>
            <pc:sldMk cId="812848875" sldId="360"/>
            <ac:spMk id="10" creationId="{21F4F1D9-4FA1-BD69-D258-0AE30C4B8C96}"/>
          </ac:spMkLst>
        </pc:spChg>
        <pc:spChg chg="add mod">
          <ac:chgData name="Sai Arvind" userId="4be58695-eae9-4703-8993-7d37aad53b21" providerId="ADAL" clId="{996FF9A9-C974-443F-8618-837E1F831A03}" dt="2024-06-17T11:15:35.986" v="1331" actId="20577"/>
          <ac:spMkLst>
            <pc:docMk/>
            <pc:sldMk cId="812848875" sldId="360"/>
            <ac:spMk id="12" creationId="{820FB596-9F04-9E74-27C3-0F234421BFAB}"/>
          </ac:spMkLst>
        </pc:spChg>
        <pc:spChg chg="add mod">
          <ac:chgData name="Sai Arvind" userId="4be58695-eae9-4703-8993-7d37aad53b21" providerId="ADAL" clId="{996FF9A9-C974-443F-8618-837E1F831A03}" dt="2024-06-17T11:15:59.775" v="1336" actId="20577"/>
          <ac:spMkLst>
            <pc:docMk/>
            <pc:sldMk cId="812848875" sldId="360"/>
            <ac:spMk id="13" creationId="{3227C3C3-1C94-48FA-EE16-2DA5AEF843B2}"/>
          </ac:spMkLst>
        </pc:spChg>
        <pc:spChg chg="mod ord">
          <ac:chgData name="Sai Arvind" userId="4be58695-eae9-4703-8993-7d37aad53b21" providerId="ADAL" clId="{996FF9A9-C974-443F-8618-837E1F831A03}" dt="2024-06-17T11:13:42.364" v="1320" actId="242"/>
          <ac:spMkLst>
            <pc:docMk/>
            <pc:sldMk cId="812848875" sldId="360"/>
            <ac:spMk id="16" creationId="{486D42F5-D0C2-F935-47D5-DFEC4DBBFC96}"/>
          </ac:spMkLst>
        </pc:spChg>
        <pc:spChg chg="del mod">
          <ac:chgData name="Sai Arvind" userId="4be58695-eae9-4703-8993-7d37aad53b21" providerId="ADAL" clId="{996FF9A9-C974-443F-8618-837E1F831A03}" dt="2024-06-17T11:11:20.844" v="1276" actId="478"/>
          <ac:spMkLst>
            <pc:docMk/>
            <pc:sldMk cId="812848875" sldId="360"/>
            <ac:spMk id="17" creationId="{60F564EA-CD32-D9CA-8D0E-3CE1D37F6DA7}"/>
          </ac:spMkLst>
        </pc:spChg>
        <pc:spChg chg="del mod">
          <ac:chgData name="Sai Arvind" userId="4be58695-eae9-4703-8993-7d37aad53b21" providerId="ADAL" clId="{996FF9A9-C974-443F-8618-837E1F831A03}" dt="2024-06-17T11:11:20.844" v="1276" actId="478"/>
          <ac:spMkLst>
            <pc:docMk/>
            <pc:sldMk cId="812848875" sldId="360"/>
            <ac:spMk id="18" creationId="{C20E949E-182E-7376-B673-B3E6C99F1697}"/>
          </ac:spMkLst>
        </pc:spChg>
        <pc:grpChg chg="add del mod">
          <ac:chgData name="Sai Arvind" userId="4be58695-eae9-4703-8993-7d37aad53b21" providerId="ADAL" clId="{996FF9A9-C974-443F-8618-837E1F831A03}" dt="2024-06-17T11:07:49.943" v="1235"/>
          <ac:grpSpMkLst>
            <pc:docMk/>
            <pc:sldMk cId="812848875" sldId="360"/>
            <ac:grpSpMk id="9" creationId="{8478FEE5-14F7-8989-CDE4-CC7CAF93E1F5}"/>
          </ac:grpSpMkLst>
        </pc:grpChg>
        <pc:picChg chg="add del mod">
          <ac:chgData name="Sai Arvind" userId="4be58695-eae9-4703-8993-7d37aad53b21" providerId="ADAL" clId="{996FF9A9-C974-443F-8618-837E1F831A03}" dt="2024-06-18T04:58:40.578" v="1350" actId="14100"/>
          <ac:picMkLst>
            <pc:docMk/>
            <pc:sldMk cId="812848875" sldId="360"/>
            <ac:picMk id="3" creationId="{B655F9BB-6E5F-7755-C465-874A2F7B6D7E}"/>
          </ac:picMkLst>
        </pc:picChg>
        <pc:picChg chg="mod modCrop">
          <ac:chgData name="Sai Arvind" userId="4be58695-eae9-4703-8993-7d37aad53b21" providerId="ADAL" clId="{996FF9A9-C974-443F-8618-837E1F831A03}" dt="2024-06-17T11:09:35.264" v="1254" actId="1076"/>
          <ac:picMkLst>
            <pc:docMk/>
            <pc:sldMk cId="812848875" sldId="360"/>
            <ac:picMk id="5" creationId="{A9656D44-9747-1DD1-2787-0D5295B45033}"/>
          </ac:picMkLst>
        </pc:picChg>
        <pc:picChg chg="add del mod">
          <ac:chgData name="Sai Arvind" userId="4be58695-eae9-4703-8993-7d37aad53b21" providerId="ADAL" clId="{996FF9A9-C974-443F-8618-837E1F831A03}" dt="2024-06-17T11:09:15.739" v="1250" actId="478"/>
          <ac:picMkLst>
            <pc:docMk/>
            <pc:sldMk cId="812848875" sldId="360"/>
            <ac:picMk id="11" creationId="{1F85949F-A930-A548-BFC7-3384C0463852}"/>
          </ac:picMkLst>
        </pc:picChg>
        <pc:picChg chg="add mod">
          <ac:chgData name="Sai Arvind" userId="4be58695-eae9-4703-8993-7d37aad53b21" providerId="ADAL" clId="{996FF9A9-C974-443F-8618-837E1F831A03}" dt="2024-06-17T11:15:54.005" v="1333" actId="207"/>
          <ac:picMkLst>
            <pc:docMk/>
            <pc:sldMk cId="812848875" sldId="360"/>
            <ac:picMk id="14" creationId="{F2AC6DCD-2F59-BC26-72FB-45D331F1AB6F}"/>
          </ac:picMkLst>
        </pc:picChg>
      </pc:sldChg>
      <pc:sldChg chg="addSp delSp modSp mod">
        <pc:chgData name="Sai Arvind" userId="4be58695-eae9-4703-8993-7d37aad53b21" providerId="ADAL" clId="{996FF9A9-C974-443F-8618-837E1F831A03}" dt="2024-06-18T06:19:01.479" v="2923" actId="478"/>
        <pc:sldMkLst>
          <pc:docMk/>
          <pc:sldMk cId="2042214228" sldId="365"/>
        </pc:sldMkLst>
        <pc:spChg chg="del">
          <ac:chgData name="Sai Arvind" userId="4be58695-eae9-4703-8993-7d37aad53b21" providerId="ADAL" clId="{996FF9A9-C974-443F-8618-837E1F831A03}" dt="2024-06-18T06:19:01.479" v="2923" actId="478"/>
          <ac:spMkLst>
            <pc:docMk/>
            <pc:sldMk cId="2042214228" sldId="365"/>
            <ac:spMk id="3" creationId="{79062658-6AB2-E6C5-D499-AB9E67FB07CE}"/>
          </ac:spMkLst>
        </pc:spChg>
        <pc:spChg chg="add mod">
          <ac:chgData name="Sai Arvind" userId="4be58695-eae9-4703-8993-7d37aad53b21" providerId="ADAL" clId="{996FF9A9-C974-443F-8618-837E1F831A03}" dt="2024-06-18T06:18:27.131" v="2906"/>
          <ac:spMkLst>
            <pc:docMk/>
            <pc:sldMk cId="2042214228" sldId="365"/>
            <ac:spMk id="4" creationId="{DFAAEAA0-858A-7C80-DBEC-A4FAB468C1AC}"/>
          </ac:spMkLst>
        </pc:spChg>
        <pc:spChg chg="add mod">
          <ac:chgData name="Sai Arvind" userId="4be58695-eae9-4703-8993-7d37aad53b21" providerId="ADAL" clId="{996FF9A9-C974-443F-8618-837E1F831A03}" dt="2024-06-18T06:18:27.131" v="2905"/>
          <ac:spMkLst>
            <pc:docMk/>
            <pc:sldMk cId="2042214228" sldId="365"/>
            <ac:spMk id="5" creationId="{09869031-747B-0441-83AA-E09D53FEBA64}"/>
          </ac:spMkLst>
        </pc:spChg>
        <pc:picChg chg="mod">
          <ac:chgData name="Sai Arvind" userId="4be58695-eae9-4703-8993-7d37aad53b21" providerId="ADAL" clId="{996FF9A9-C974-443F-8618-837E1F831A03}" dt="2024-06-18T06:18:59.140" v="2920"/>
          <ac:picMkLst>
            <pc:docMk/>
            <pc:sldMk cId="2042214228" sldId="365"/>
            <ac:picMk id="7" creationId="{90A67DDF-75B8-8690-DBB0-E59084F938F2}"/>
          </ac:picMkLst>
        </pc:picChg>
        <pc:picChg chg="mod">
          <ac:chgData name="Sai Arvind" userId="4be58695-eae9-4703-8993-7d37aad53b21" providerId="ADAL" clId="{996FF9A9-C974-443F-8618-837E1F831A03}" dt="2024-06-18T06:18:59.140" v="2922"/>
          <ac:picMkLst>
            <pc:docMk/>
            <pc:sldMk cId="2042214228" sldId="365"/>
            <ac:picMk id="8" creationId="{624BE43F-3139-22B3-D918-6ED730324AB3}"/>
          </ac:picMkLst>
        </pc:picChg>
        <pc:cxnChg chg="add mod">
          <ac:chgData name="Sai Arvind" userId="4be58695-eae9-4703-8993-7d37aad53b21" providerId="ADAL" clId="{996FF9A9-C974-443F-8618-837E1F831A03}" dt="2024-06-18T06:18:31.657" v="2909" actId="1035"/>
          <ac:cxnSpMkLst>
            <pc:docMk/>
            <pc:sldMk cId="2042214228" sldId="365"/>
            <ac:cxnSpMk id="6" creationId="{82C9FA91-C16C-138F-D621-535A677461D2}"/>
          </ac:cxnSpMkLst>
        </pc:cxnChg>
      </pc:sldChg>
      <pc:sldChg chg="addSp delSp modSp mod chgLayout">
        <pc:chgData name="Sai Arvind" userId="4be58695-eae9-4703-8993-7d37aad53b21" providerId="ADAL" clId="{996FF9A9-C974-443F-8618-837E1F831A03}" dt="2024-06-17T09:48:37.332" v="6" actId="1076"/>
        <pc:sldMkLst>
          <pc:docMk/>
          <pc:sldMk cId="1161031420" sldId="2147482681"/>
        </pc:sldMkLst>
        <pc:spChg chg="mod ord">
          <ac:chgData name="Sai Arvind" userId="4be58695-eae9-4703-8993-7d37aad53b21" providerId="ADAL" clId="{996FF9A9-C974-443F-8618-837E1F831A03}" dt="2024-06-17T09:48:31.522" v="4" actId="113"/>
          <ac:spMkLst>
            <pc:docMk/>
            <pc:sldMk cId="1161031420" sldId="2147482681"/>
            <ac:spMk id="2" creationId="{578C2C66-C0F5-EFEE-1F4A-C9C6247EABC9}"/>
          </ac:spMkLst>
        </pc:spChg>
        <pc:spChg chg="del">
          <ac:chgData name="Sai Arvind" userId="4be58695-eae9-4703-8993-7d37aad53b21" providerId="ADAL" clId="{996FF9A9-C974-443F-8618-837E1F831A03}" dt="2024-06-17T09:48:22.152" v="0" actId="6264"/>
          <ac:spMkLst>
            <pc:docMk/>
            <pc:sldMk cId="1161031420" sldId="2147482681"/>
            <ac:spMk id="3" creationId="{8EB9C265-AC67-B6A2-987C-DDA8D23D7F5B}"/>
          </ac:spMkLst>
        </pc:spChg>
        <pc:spChg chg="mod ord">
          <ac:chgData name="Sai Arvind" userId="4be58695-eae9-4703-8993-7d37aad53b21" providerId="ADAL" clId="{996FF9A9-C974-443F-8618-837E1F831A03}" dt="2024-06-17T09:48:22.152" v="0" actId="6264"/>
          <ac:spMkLst>
            <pc:docMk/>
            <pc:sldMk cId="1161031420" sldId="2147482681"/>
            <ac:spMk id="4" creationId="{ED736DB7-2D74-6B6B-FF7E-6F53B395DA40}"/>
          </ac:spMkLst>
        </pc:spChg>
        <pc:spChg chg="add del mod">
          <ac:chgData name="Sai Arvind" userId="4be58695-eae9-4703-8993-7d37aad53b21" providerId="ADAL" clId="{996FF9A9-C974-443F-8618-837E1F831A03}" dt="2024-06-17T09:48:22.152" v="0" actId="6264"/>
          <ac:spMkLst>
            <pc:docMk/>
            <pc:sldMk cId="1161031420" sldId="2147482681"/>
            <ac:spMk id="5" creationId="{5561EC41-6D7C-A163-025A-7FFE45E42CEF}"/>
          </ac:spMkLst>
        </pc:spChg>
        <pc:spChg chg="add del mod">
          <ac:chgData name="Sai Arvind" userId="4be58695-eae9-4703-8993-7d37aad53b21" providerId="ADAL" clId="{996FF9A9-C974-443F-8618-837E1F831A03}" dt="2024-06-17T09:48:22.152" v="0" actId="6264"/>
          <ac:spMkLst>
            <pc:docMk/>
            <pc:sldMk cId="1161031420" sldId="2147482681"/>
            <ac:spMk id="6" creationId="{BA487296-CD5A-AFCA-E861-EE4DDF092B2E}"/>
          </ac:spMkLst>
        </pc:spChg>
        <pc:spChg chg="add mod ord">
          <ac:chgData name="Sai Arvind" userId="4be58695-eae9-4703-8993-7d37aad53b21" providerId="ADAL" clId="{996FF9A9-C974-443F-8618-837E1F831A03}" dt="2024-06-17T09:48:37.332" v="6" actId="1076"/>
          <ac:spMkLst>
            <pc:docMk/>
            <pc:sldMk cId="1161031420" sldId="2147482681"/>
            <ac:spMk id="7" creationId="{9C92888C-CE4D-DE6A-86AD-2AE0BD6D1F1D}"/>
          </ac:spMkLst>
        </pc:spChg>
      </pc:sldChg>
      <pc:sldChg chg="addSp delSp modSp mod modClrScheme chgLayout">
        <pc:chgData name="Sai Arvind" userId="4be58695-eae9-4703-8993-7d37aad53b21" providerId="ADAL" clId="{996FF9A9-C974-443F-8618-837E1F831A03}" dt="2024-06-18T05:08:33.046" v="1433" actId="478"/>
        <pc:sldMkLst>
          <pc:docMk/>
          <pc:sldMk cId="1121322517" sldId="2147482682"/>
        </pc:sldMkLst>
        <pc:spChg chg="mod ord">
          <ac:chgData name="Sai Arvind" userId="4be58695-eae9-4703-8993-7d37aad53b21" providerId="ADAL" clId="{996FF9A9-C974-443F-8618-837E1F831A03}" dt="2024-06-18T05:08:05.259" v="1422" actId="139"/>
          <ac:spMkLst>
            <pc:docMk/>
            <pc:sldMk cId="1121322517" sldId="2147482682"/>
            <ac:spMk id="2" creationId="{0BAA4961-6E74-D5EE-FD3E-0D1B0DD5D22A}"/>
          </ac:spMkLst>
        </pc:spChg>
        <pc:spChg chg="add del mod ord">
          <ac:chgData name="Sai Arvind" userId="4be58695-eae9-4703-8993-7d37aad53b21" providerId="ADAL" clId="{996FF9A9-C974-443F-8618-837E1F831A03}" dt="2024-06-18T05:08:03.324" v="1420" actId="6264"/>
          <ac:spMkLst>
            <pc:docMk/>
            <pc:sldMk cId="1121322517" sldId="2147482682"/>
            <ac:spMk id="3" creationId="{513324E0-2464-8848-FEAC-BE7532A1F61D}"/>
          </ac:spMkLst>
        </pc:spChg>
        <pc:spChg chg="add del mod">
          <ac:chgData name="Sai Arvind" userId="4be58695-eae9-4703-8993-7d37aad53b21" providerId="ADAL" clId="{996FF9A9-C974-443F-8618-837E1F831A03}" dt="2024-06-18T05:08:03.324" v="1420" actId="6264"/>
          <ac:spMkLst>
            <pc:docMk/>
            <pc:sldMk cId="1121322517" sldId="2147482682"/>
            <ac:spMk id="4" creationId="{FC3A08D3-0D21-32AE-4953-33C485A32F91}"/>
          </ac:spMkLst>
        </pc:spChg>
        <pc:spChg chg="add del mod ord">
          <ac:chgData name="Sai Arvind" userId="4be58695-eae9-4703-8993-7d37aad53b21" providerId="ADAL" clId="{996FF9A9-C974-443F-8618-837E1F831A03}" dt="2024-06-18T05:08:33.046" v="1433" actId="478"/>
          <ac:spMkLst>
            <pc:docMk/>
            <pc:sldMk cId="1121322517" sldId="2147482682"/>
            <ac:spMk id="5" creationId="{FC38E51C-906B-55B9-59CA-CF2A7F54058E}"/>
          </ac:spMkLst>
        </pc:spChg>
        <pc:spChg chg="del mod">
          <ac:chgData name="Sai Arvind" userId="4be58695-eae9-4703-8993-7d37aad53b21" providerId="ADAL" clId="{996FF9A9-C974-443F-8618-837E1F831A03}" dt="2024-06-18T05:08:27.863" v="1430" actId="478"/>
          <ac:spMkLst>
            <pc:docMk/>
            <pc:sldMk cId="1121322517" sldId="2147482682"/>
            <ac:spMk id="6" creationId="{87237F01-755B-6D1B-5130-9D38DAE6DD5E}"/>
          </ac:spMkLst>
        </pc:spChg>
        <pc:spChg chg="del mod">
          <ac:chgData name="Sai Arvind" userId="4be58695-eae9-4703-8993-7d37aad53b21" providerId="ADAL" clId="{996FF9A9-C974-443F-8618-837E1F831A03}" dt="2024-06-18T05:08:27.863" v="1430" actId="478"/>
          <ac:spMkLst>
            <pc:docMk/>
            <pc:sldMk cId="1121322517" sldId="2147482682"/>
            <ac:spMk id="7" creationId="{67CC83A3-A535-32A1-2E03-F6DA491968A1}"/>
          </ac:spMkLst>
        </pc:spChg>
        <pc:spChg chg="del mod">
          <ac:chgData name="Sai Arvind" userId="4be58695-eae9-4703-8993-7d37aad53b21" providerId="ADAL" clId="{996FF9A9-C974-443F-8618-837E1F831A03}" dt="2024-06-18T05:08:27.863" v="1430" actId="478"/>
          <ac:spMkLst>
            <pc:docMk/>
            <pc:sldMk cId="1121322517" sldId="2147482682"/>
            <ac:spMk id="9" creationId="{3C0CD35C-F84A-0A4D-1595-CD8F343AB47D}"/>
          </ac:spMkLst>
        </pc:spChg>
        <pc:spChg chg="del mod">
          <ac:chgData name="Sai Arvind" userId="4be58695-eae9-4703-8993-7d37aad53b21" providerId="ADAL" clId="{996FF9A9-C974-443F-8618-837E1F831A03}" dt="2024-06-18T05:08:27.863" v="1430" actId="478"/>
          <ac:spMkLst>
            <pc:docMk/>
            <pc:sldMk cId="1121322517" sldId="2147482682"/>
            <ac:spMk id="10" creationId="{2C235008-6561-BC5D-9D51-56F865AC84F2}"/>
          </ac:spMkLst>
        </pc:spChg>
        <pc:spChg chg="add mod">
          <ac:chgData name="Sai Arvind" userId="4be58695-eae9-4703-8993-7d37aad53b21" providerId="ADAL" clId="{996FF9A9-C974-443F-8618-837E1F831A03}" dt="2024-06-18T05:08:08.803" v="1424"/>
          <ac:spMkLst>
            <pc:docMk/>
            <pc:sldMk cId="1121322517" sldId="2147482682"/>
            <ac:spMk id="11" creationId="{BC8F8297-FC07-80AF-B331-8FD4BDF167D1}"/>
          </ac:spMkLst>
        </pc:spChg>
        <pc:spChg chg="add mod">
          <ac:chgData name="Sai Arvind" userId="4be58695-eae9-4703-8993-7d37aad53b21" providerId="ADAL" clId="{996FF9A9-C974-443F-8618-837E1F831A03}" dt="2024-06-18T05:08:08.803" v="1424"/>
          <ac:spMkLst>
            <pc:docMk/>
            <pc:sldMk cId="1121322517" sldId="2147482682"/>
            <ac:spMk id="12" creationId="{79396635-700F-ABA2-9DF4-06BE9D4202AB}"/>
          </ac:spMkLst>
        </pc:spChg>
        <pc:spChg chg="add mod">
          <ac:chgData name="Sai Arvind" userId="4be58695-eae9-4703-8993-7d37aad53b21" providerId="ADAL" clId="{996FF9A9-C974-443F-8618-837E1F831A03}" dt="2024-06-18T05:08:08.803" v="1424"/>
          <ac:spMkLst>
            <pc:docMk/>
            <pc:sldMk cId="1121322517" sldId="2147482682"/>
            <ac:spMk id="13" creationId="{47F379BE-F449-8E2B-BA21-C08C839A74DC}"/>
          </ac:spMkLst>
        </pc:spChg>
        <pc:spChg chg="add mod">
          <ac:chgData name="Sai Arvind" userId="4be58695-eae9-4703-8993-7d37aad53b21" providerId="ADAL" clId="{996FF9A9-C974-443F-8618-837E1F831A03}" dt="2024-06-18T05:08:08.803" v="1424"/>
          <ac:spMkLst>
            <pc:docMk/>
            <pc:sldMk cId="1121322517" sldId="2147482682"/>
            <ac:spMk id="14" creationId="{44BF1C09-6A10-FA60-5DF6-0A5163E024BA}"/>
          </ac:spMkLst>
        </pc:spChg>
        <pc:spChg chg="add mod">
          <ac:chgData name="Sai Arvind" userId="4be58695-eae9-4703-8993-7d37aad53b21" providerId="ADAL" clId="{996FF9A9-C974-443F-8618-837E1F831A03}" dt="2024-06-18T05:08:25.581" v="1429"/>
          <ac:spMkLst>
            <pc:docMk/>
            <pc:sldMk cId="1121322517" sldId="2147482682"/>
            <ac:spMk id="15" creationId="{0F70E84F-AF60-B59C-1B08-1E4FE71D637A}"/>
          </ac:spMkLst>
        </pc:spChg>
        <pc:spChg chg="add mod">
          <ac:chgData name="Sai Arvind" userId="4be58695-eae9-4703-8993-7d37aad53b21" providerId="ADAL" clId="{996FF9A9-C974-443F-8618-837E1F831A03}" dt="2024-06-18T05:08:25.581" v="1429"/>
          <ac:spMkLst>
            <pc:docMk/>
            <pc:sldMk cId="1121322517" sldId="2147482682"/>
            <ac:spMk id="16" creationId="{02757074-28C7-305B-5565-37E6FFA2B97F}"/>
          </ac:spMkLst>
        </pc:spChg>
        <pc:picChg chg="mod">
          <ac:chgData name="Sai Arvind" userId="4be58695-eae9-4703-8993-7d37aad53b21" providerId="ADAL" clId="{996FF9A9-C974-443F-8618-837E1F831A03}" dt="2024-06-18T05:08:30.085" v="1432"/>
          <ac:picMkLst>
            <pc:docMk/>
            <pc:sldMk cId="1121322517" sldId="2147482682"/>
            <ac:picMk id="8" creationId="{9BBE8C4E-8FF2-7CCA-3E40-B11D887D98EF}"/>
          </ac:picMkLst>
        </pc:picChg>
        <pc:picChg chg="add mod">
          <ac:chgData name="Sai Arvind" userId="4be58695-eae9-4703-8993-7d37aad53b21" providerId="ADAL" clId="{996FF9A9-C974-443F-8618-837E1F831A03}" dt="2024-06-18T05:08:08.803" v="1424"/>
          <ac:picMkLst>
            <pc:docMk/>
            <pc:sldMk cId="1121322517" sldId="2147482682"/>
            <ac:picMk id="17" creationId="{442940F7-3C93-37CA-ABEE-75B0E7F30593}"/>
          </ac:picMkLst>
        </pc:picChg>
        <pc:picChg chg="add mod">
          <ac:chgData name="Sai Arvind" userId="4be58695-eae9-4703-8993-7d37aad53b21" providerId="ADAL" clId="{996FF9A9-C974-443F-8618-837E1F831A03}" dt="2024-06-18T05:08:08.803" v="1424"/>
          <ac:picMkLst>
            <pc:docMk/>
            <pc:sldMk cId="1121322517" sldId="2147482682"/>
            <ac:picMk id="18" creationId="{C6500E00-F2C8-D992-58E9-9F60AF6ADCB0}"/>
          </ac:picMkLst>
        </pc:picChg>
      </pc:sldChg>
      <pc:sldChg chg="addSp delSp modSp mod modClrScheme chgLayout">
        <pc:chgData name="Sai Arvind" userId="4be58695-eae9-4703-8993-7d37aad53b21" providerId="ADAL" clId="{996FF9A9-C974-443F-8618-837E1F831A03}" dt="2024-06-18T05:07:59.820" v="1418"/>
        <pc:sldMkLst>
          <pc:docMk/>
          <pc:sldMk cId="2284318082" sldId="2147482683"/>
        </pc:sldMkLst>
        <pc:spChg chg="mod ord">
          <ac:chgData name="Sai Arvind" userId="4be58695-eae9-4703-8993-7d37aad53b21" providerId="ADAL" clId="{996FF9A9-C974-443F-8618-837E1F831A03}" dt="2024-06-18T05:02:14.729" v="1401" actId="1076"/>
          <ac:spMkLst>
            <pc:docMk/>
            <pc:sldMk cId="2284318082" sldId="2147482683"/>
            <ac:spMk id="2" creationId="{3A827BD4-477E-0E53-B0AE-0620C17FBFAC}"/>
          </ac:spMkLst>
        </pc:spChg>
        <pc:spChg chg="add del mod ord">
          <ac:chgData name="Sai Arvind" userId="4be58695-eae9-4703-8993-7d37aad53b21" providerId="ADAL" clId="{996FF9A9-C974-443F-8618-837E1F831A03}" dt="2024-06-18T04:59:15.901" v="1354" actId="6264"/>
          <ac:spMkLst>
            <pc:docMk/>
            <pc:sldMk cId="2284318082" sldId="2147482683"/>
            <ac:spMk id="3" creationId="{8DEA835B-375D-3513-3F60-782093B68BC1}"/>
          </ac:spMkLst>
        </pc:spChg>
        <pc:spChg chg="add del mod">
          <ac:chgData name="Sai Arvind" userId="4be58695-eae9-4703-8993-7d37aad53b21" providerId="ADAL" clId="{996FF9A9-C974-443F-8618-837E1F831A03}" dt="2024-06-18T04:59:15.901" v="1354" actId="6264"/>
          <ac:spMkLst>
            <pc:docMk/>
            <pc:sldMk cId="2284318082" sldId="2147482683"/>
            <ac:spMk id="4" creationId="{385A6BA8-E92E-6502-7077-429143D80720}"/>
          </ac:spMkLst>
        </pc:spChg>
        <pc:spChg chg="del mod">
          <ac:chgData name="Sai Arvind" userId="4be58695-eae9-4703-8993-7d37aad53b21" providerId="ADAL" clId="{996FF9A9-C974-443F-8618-837E1F831A03}" dt="2024-06-18T05:01:15.906" v="1371" actId="478"/>
          <ac:spMkLst>
            <pc:docMk/>
            <pc:sldMk cId="2284318082" sldId="2147482683"/>
            <ac:spMk id="5" creationId="{73D5B357-225F-85DF-D0C4-377C30F84105}"/>
          </ac:spMkLst>
        </pc:spChg>
        <pc:spChg chg="del mod">
          <ac:chgData name="Sai Arvind" userId="4be58695-eae9-4703-8993-7d37aad53b21" providerId="ADAL" clId="{996FF9A9-C974-443F-8618-837E1F831A03}" dt="2024-06-18T05:01:15.906" v="1371" actId="478"/>
          <ac:spMkLst>
            <pc:docMk/>
            <pc:sldMk cId="2284318082" sldId="2147482683"/>
            <ac:spMk id="7" creationId="{5B844731-CC21-291E-CA27-D5E0336800DF}"/>
          </ac:spMkLst>
        </pc:spChg>
        <pc:spChg chg="del mod">
          <ac:chgData name="Sai Arvind" userId="4be58695-eae9-4703-8993-7d37aad53b21" providerId="ADAL" clId="{996FF9A9-C974-443F-8618-837E1F831A03}" dt="2024-06-18T05:01:15.906" v="1371" actId="478"/>
          <ac:spMkLst>
            <pc:docMk/>
            <pc:sldMk cId="2284318082" sldId="2147482683"/>
            <ac:spMk id="8" creationId="{C2F683FD-815B-F59D-F5CD-487C1861729E}"/>
          </ac:spMkLst>
        </pc:spChg>
        <pc:spChg chg="del">
          <ac:chgData name="Sai Arvind" userId="4be58695-eae9-4703-8993-7d37aad53b21" providerId="ADAL" clId="{996FF9A9-C974-443F-8618-837E1F831A03}" dt="2024-06-18T05:02:22.760" v="1404" actId="478"/>
          <ac:spMkLst>
            <pc:docMk/>
            <pc:sldMk cId="2284318082" sldId="2147482683"/>
            <ac:spMk id="9" creationId="{AE2DC69A-242A-8423-56B4-BB8CDAC0EDD0}"/>
          </ac:spMkLst>
        </pc:spChg>
        <pc:spChg chg="del mod">
          <ac:chgData name="Sai Arvind" userId="4be58695-eae9-4703-8993-7d37aad53b21" providerId="ADAL" clId="{996FF9A9-C974-443F-8618-837E1F831A03}" dt="2024-06-18T05:01:15.906" v="1371" actId="478"/>
          <ac:spMkLst>
            <pc:docMk/>
            <pc:sldMk cId="2284318082" sldId="2147482683"/>
            <ac:spMk id="10" creationId="{18207DBE-4B22-5341-3B18-84A47B3CFF91}"/>
          </ac:spMkLst>
        </pc:spChg>
        <pc:spChg chg="add del mod ord">
          <ac:chgData name="Sai Arvind" userId="4be58695-eae9-4703-8993-7d37aad53b21" providerId="ADAL" clId="{996FF9A9-C974-443F-8618-837E1F831A03}" dt="2024-06-18T05:02:07.424" v="1398" actId="478"/>
          <ac:spMkLst>
            <pc:docMk/>
            <pc:sldMk cId="2284318082" sldId="2147482683"/>
            <ac:spMk id="11" creationId="{EB301BC8-FBAB-1A20-F0CD-DDFA37B20ACB}"/>
          </ac:spMkLst>
        </pc:spChg>
        <pc:spChg chg="add mod topLvl">
          <ac:chgData name="Sai Arvind" userId="4be58695-eae9-4703-8993-7d37aad53b21" providerId="ADAL" clId="{996FF9A9-C974-443F-8618-837E1F831A03}" dt="2024-06-18T05:02:04.219" v="1396"/>
          <ac:spMkLst>
            <pc:docMk/>
            <pc:sldMk cId="2284318082" sldId="2147482683"/>
            <ac:spMk id="12" creationId="{A256E871-D7A8-A170-0170-117BADAAC477}"/>
          </ac:spMkLst>
        </pc:spChg>
        <pc:spChg chg="add mod topLvl">
          <ac:chgData name="Sai Arvind" userId="4be58695-eae9-4703-8993-7d37aad53b21" providerId="ADAL" clId="{996FF9A9-C974-443F-8618-837E1F831A03}" dt="2024-06-18T05:02:04.219" v="1397"/>
          <ac:spMkLst>
            <pc:docMk/>
            <pc:sldMk cId="2284318082" sldId="2147482683"/>
            <ac:spMk id="13" creationId="{D47BCB1C-9D89-993E-1D07-B8FFBEA268D6}"/>
          </ac:spMkLst>
        </pc:spChg>
        <pc:spChg chg="add mod topLvl">
          <ac:chgData name="Sai Arvind" userId="4be58695-eae9-4703-8993-7d37aad53b21" providerId="ADAL" clId="{996FF9A9-C974-443F-8618-837E1F831A03}" dt="2024-06-18T05:01:52.572" v="1387"/>
          <ac:spMkLst>
            <pc:docMk/>
            <pc:sldMk cId="2284318082" sldId="2147482683"/>
            <ac:spMk id="14" creationId="{48F4799C-A17F-9458-22BE-B04598FA8D51}"/>
          </ac:spMkLst>
        </pc:spChg>
        <pc:spChg chg="add mod topLvl">
          <ac:chgData name="Sai Arvind" userId="4be58695-eae9-4703-8993-7d37aad53b21" providerId="ADAL" clId="{996FF9A9-C974-443F-8618-837E1F831A03}" dt="2024-06-18T05:01:52.572" v="1386"/>
          <ac:spMkLst>
            <pc:docMk/>
            <pc:sldMk cId="2284318082" sldId="2147482683"/>
            <ac:spMk id="15" creationId="{E5A1C067-6FD6-FC44-C68B-7765E814A06C}"/>
          </ac:spMkLst>
        </pc:spChg>
        <pc:spChg chg="add mod">
          <ac:chgData name="Sai Arvind" userId="4be58695-eae9-4703-8993-7d37aad53b21" providerId="ADAL" clId="{996FF9A9-C974-443F-8618-837E1F831A03}" dt="2024-06-18T05:01:45.311" v="1383"/>
          <ac:spMkLst>
            <pc:docMk/>
            <pc:sldMk cId="2284318082" sldId="2147482683"/>
            <ac:spMk id="16" creationId="{57070926-F84E-73B1-51A5-37D6192BC19B}"/>
          </ac:spMkLst>
        </pc:spChg>
        <pc:spChg chg="add mod">
          <ac:chgData name="Sai Arvind" userId="4be58695-eae9-4703-8993-7d37aad53b21" providerId="ADAL" clId="{996FF9A9-C974-443F-8618-837E1F831A03}" dt="2024-06-18T05:01:45.311" v="1385"/>
          <ac:spMkLst>
            <pc:docMk/>
            <pc:sldMk cId="2284318082" sldId="2147482683"/>
            <ac:spMk id="17" creationId="{A88339A7-69F6-B4CC-7B29-BE9383B598C2}"/>
          </ac:spMkLst>
        </pc:spChg>
        <pc:grpChg chg="add del mod ord">
          <ac:chgData name="Sai Arvind" userId="4be58695-eae9-4703-8993-7d37aad53b21" providerId="ADAL" clId="{996FF9A9-C974-443F-8618-837E1F831A03}" dt="2024-06-18T05:01:40.436" v="1381"/>
          <ac:grpSpMkLst>
            <pc:docMk/>
            <pc:sldMk cId="2284318082" sldId="2147482683"/>
            <ac:grpSpMk id="20" creationId="{C8D00C14-A119-F1A7-6322-72C5BAD51764}"/>
          </ac:grpSpMkLst>
        </pc:grpChg>
        <pc:picChg chg="mod">
          <ac:chgData name="Sai Arvind" userId="4be58695-eae9-4703-8993-7d37aad53b21" providerId="ADAL" clId="{996FF9A9-C974-443F-8618-837E1F831A03}" dt="2024-06-18T05:07:59.820" v="1418"/>
          <ac:picMkLst>
            <pc:docMk/>
            <pc:sldMk cId="2284318082" sldId="2147482683"/>
            <ac:picMk id="6" creationId="{6363C9B0-5E39-46E8-4048-A6E668FC4202}"/>
          </ac:picMkLst>
        </pc:picChg>
        <pc:picChg chg="add mod">
          <ac:chgData name="Sai Arvind" userId="4be58695-eae9-4703-8993-7d37aad53b21" providerId="ADAL" clId="{996FF9A9-C974-443F-8618-837E1F831A03}" dt="2024-06-18T05:01:38.261" v="1380" actId="14100"/>
          <ac:picMkLst>
            <pc:docMk/>
            <pc:sldMk cId="2284318082" sldId="2147482683"/>
            <ac:picMk id="18" creationId="{D55A845B-23E9-71A1-FF35-F35D438FB2F7}"/>
          </ac:picMkLst>
        </pc:picChg>
        <pc:picChg chg="add mod">
          <ac:chgData name="Sai Arvind" userId="4be58695-eae9-4703-8993-7d37aad53b21" providerId="ADAL" clId="{996FF9A9-C974-443F-8618-837E1F831A03}" dt="2024-06-18T05:01:38.261" v="1380" actId="14100"/>
          <ac:picMkLst>
            <pc:docMk/>
            <pc:sldMk cId="2284318082" sldId="2147482683"/>
            <ac:picMk id="19" creationId="{8F1DED5F-C5CF-EF6F-4227-F0D2624390C1}"/>
          </ac:picMkLst>
        </pc:picChg>
      </pc:sldChg>
      <pc:sldChg chg="addSp delSp modSp mod modClrScheme addAnim delAnim modAnim chgLayout">
        <pc:chgData name="Sai Arvind" userId="4be58695-eae9-4703-8993-7d37aad53b21" providerId="ADAL" clId="{996FF9A9-C974-443F-8618-837E1F831A03}" dt="2024-06-18T06:10:23.155" v="2655" actId="338"/>
        <pc:sldMkLst>
          <pc:docMk/>
          <pc:sldMk cId="455564406" sldId="2147482685"/>
        </pc:sldMkLst>
        <pc:spChg chg="mod ord">
          <ac:chgData name="Sai Arvind" userId="4be58695-eae9-4703-8993-7d37aad53b21" providerId="ADAL" clId="{996FF9A9-C974-443F-8618-837E1F831A03}" dt="2024-06-18T05:09:51.678" v="1438" actId="139"/>
          <ac:spMkLst>
            <pc:docMk/>
            <pc:sldMk cId="455564406" sldId="2147482685"/>
            <ac:spMk id="2" creationId="{5F7CD58C-0080-BAE6-BC74-3F7E6A0196B2}"/>
          </ac:spMkLst>
        </pc:spChg>
        <pc:spChg chg="add del mod ord">
          <ac:chgData name="Sai Arvind" userId="4be58695-eae9-4703-8993-7d37aad53b21" providerId="ADAL" clId="{996FF9A9-C974-443F-8618-837E1F831A03}" dt="2024-06-18T05:09:50.120" v="1436" actId="6264"/>
          <ac:spMkLst>
            <pc:docMk/>
            <pc:sldMk cId="455564406" sldId="2147482685"/>
            <ac:spMk id="3" creationId="{5FEA41D2-BF7E-BCC5-0EBC-5C1BB4C57132}"/>
          </ac:spMkLst>
        </pc:spChg>
        <pc:spChg chg="add del mod">
          <ac:chgData name="Sai Arvind" userId="4be58695-eae9-4703-8993-7d37aad53b21" providerId="ADAL" clId="{996FF9A9-C974-443F-8618-837E1F831A03}" dt="2024-06-18T05:09:50.120" v="1436" actId="6264"/>
          <ac:spMkLst>
            <pc:docMk/>
            <pc:sldMk cId="455564406" sldId="2147482685"/>
            <ac:spMk id="4" creationId="{C08DCCF0-8F9D-DF28-7E31-220F151144C3}"/>
          </ac:spMkLst>
        </pc:spChg>
        <pc:spChg chg="add del mod ord">
          <ac:chgData name="Sai Arvind" userId="4be58695-eae9-4703-8993-7d37aad53b21" providerId="ADAL" clId="{996FF9A9-C974-443F-8618-837E1F831A03}" dt="2024-06-18T05:18:06.498" v="1447" actId="478"/>
          <ac:spMkLst>
            <pc:docMk/>
            <pc:sldMk cId="455564406" sldId="2147482685"/>
            <ac:spMk id="5" creationId="{12D8D630-9A4B-BAAD-7C55-773E10BBEDD8}"/>
          </ac:spMkLst>
        </pc:spChg>
        <pc:spChg chg="add mod ord topLvl">
          <ac:chgData name="Sai Arvind" userId="4be58695-eae9-4703-8993-7d37aad53b21" providerId="ADAL" clId="{996FF9A9-C974-443F-8618-837E1F831A03}" dt="2024-06-18T06:01:08.055" v="2321" actId="2085"/>
          <ac:spMkLst>
            <pc:docMk/>
            <pc:sldMk cId="455564406" sldId="2147482685"/>
            <ac:spMk id="6" creationId="{DF9590AE-C16F-7092-1BAD-CF00CE365DC9}"/>
          </ac:spMkLst>
        </pc:spChg>
        <pc:spChg chg="add mod ord topLvl">
          <ac:chgData name="Sai Arvind" userId="4be58695-eae9-4703-8993-7d37aad53b21" providerId="ADAL" clId="{996FF9A9-C974-443F-8618-837E1F831A03}" dt="2024-06-18T05:58:37.907" v="2271"/>
          <ac:spMkLst>
            <pc:docMk/>
            <pc:sldMk cId="455564406" sldId="2147482685"/>
            <ac:spMk id="7" creationId="{E73FE610-224C-A894-81AF-5FD253009228}"/>
          </ac:spMkLst>
        </pc:spChg>
        <pc:spChg chg="add mod ord topLvl">
          <ac:chgData name="Sai Arvind" userId="4be58695-eae9-4703-8993-7d37aad53b21" providerId="ADAL" clId="{996FF9A9-C974-443F-8618-837E1F831A03}" dt="2024-06-18T05:58:37.907" v="2271"/>
          <ac:spMkLst>
            <pc:docMk/>
            <pc:sldMk cId="455564406" sldId="2147482685"/>
            <ac:spMk id="8" creationId="{9BB80983-CF3A-E5DD-0FA0-A4AB9DF0C768}"/>
          </ac:spMkLst>
        </pc:spChg>
        <pc:spChg chg="add mod topLvl">
          <ac:chgData name="Sai Arvind" userId="4be58695-eae9-4703-8993-7d37aad53b21" providerId="ADAL" clId="{996FF9A9-C974-443F-8618-837E1F831A03}" dt="2024-06-18T05:58:37.907" v="2271"/>
          <ac:spMkLst>
            <pc:docMk/>
            <pc:sldMk cId="455564406" sldId="2147482685"/>
            <ac:spMk id="10" creationId="{5B19ED61-E571-5247-AE3E-727DF497272B}"/>
          </ac:spMkLst>
        </pc:spChg>
        <pc:spChg chg="add mod topLvl">
          <ac:chgData name="Sai Arvind" userId="4be58695-eae9-4703-8993-7d37aad53b21" providerId="ADAL" clId="{996FF9A9-C974-443F-8618-837E1F831A03}" dt="2024-06-18T05:58:37.907" v="2271"/>
          <ac:spMkLst>
            <pc:docMk/>
            <pc:sldMk cId="455564406" sldId="2147482685"/>
            <ac:spMk id="11" creationId="{5FCC34F9-77C2-9DA2-7DE6-39C427C69143}"/>
          </ac:spMkLst>
        </pc:spChg>
        <pc:spChg chg="add del mod">
          <ac:chgData name="Sai Arvind" userId="4be58695-eae9-4703-8993-7d37aad53b21" providerId="ADAL" clId="{996FF9A9-C974-443F-8618-837E1F831A03}" dt="2024-06-18T05:23:13.269" v="1799"/>
          <ac:spMkLst>
            <pc:docMk/>
            <pc:sldMk cId="455564406" sldId="2147482685"/>
            <ac:spMk id="11" creationId="{6B343D9C-6498-4999-A0D8-F6FA920508DE}"/>
          </ac:spMkLst>
        </pc:spChg>
        <pc:spChg chg="add mod topLvl">
          <ac:chgData name="Sai Arvind" userId="4be58695-eae9-4703-8993-7d37aad53b21" providerId="ADAL" clId="{996FF9A9-C974-443F-8618-837E1F831A03}" dt="2024-06-18T05:58:37.907" v="2271"/>
          <ac:spMkLst>
            <pc:docMk/>
            <pc:sldMk cId="455564406" sldId="2147482685"/>
            <ac:spMk id="12" creationId="{1240249D-81F1-6D3D-9885-9B652AF527B0}"/>
          </ac:spMkLst>
        </pc:spChg>
        <pc:spChg chg="add del mod">
          <ac:chgData name="Sai Arvind" userId="4be58695-eae9-4703-8993-7d37aad53b21" providerId="ADAL" clId="{996FF9A9-C974-443F-8618-837E1F831A03}" dt="2024-06-18T05:23:09.218" v="1712"/>
          <ac:spMkLst>
            <pc:docMk/>
            <pc:sldMk cId="455564406" sldId="2147482685"/>
            <ac:spMk id="12" creationId="{34B45837-9C19-6ADC-ADAE-12EBC785F840}"/>
          </ac:spMkLst>
        </pc:spChg>
        <pc:spChg chg="add del mod">
          <ac:chgData name="Sai Arvind" userId="4be58695-eae9-4703-8993-7d37aad53b21" providerId="ADAL" clId="{996FF9A9-C974-443F-8618-837E1F831A03}" dt="2024-06-18T05:23:00.175" v="1672"/>
          <ac:spMkLst>
            <pc:docMk/>
            <pc:sldMk cId="455564406" sldId="2147482685"/>
            <ac:spMk id="13" creationId="{8922AD62-803D-65B0-2EC2-CF8A6BC686E0}"/>
          </ac:spMkLst>
        </pc:spChg>
        <pc:spChg chg="add mod topLvl">
          <ac:chgData name="Sai Arvind" userId="4be58695-eae9-4703-8993-7d37aad53b21" providerId="ADAL" clId="{996FF9A9-C974-443F-8618-837E1F831A03}" dt="2024-06-18T05:58:37.907" v="2271"/>
          <ac:spMkLst>
            <pc:docMk/>
            <pc:sldMk cId="455564406" sldId="2147482685"/>
            <ac:spMk id="13" creationId="{CE22927D-FBC0-2C4C-5211-91C9E722EE2D}"/>
          </ac:spMkLst>
        </pc:spChg>
        <pc:spChg chg="add del mod">
          <ac:chgData name="Sai Arvind" userId="4be58695-eae9-4703-8993-7d37aad53b21" providerId="ADAL" clId="{996FF9A9-C974-443F-8618-837E1F831A03}" dt="2024-06-18T05:23:00.175" v="1672"/>
          <ac:spMkLst>
            <pc:docMk/>
            <pc:sldMk cId="455564406" sldId="2147482685"/>
            <ac:spMk id="14" creationId="{A2E2C9E0-0C71-4B7C-4B59-597D7645B71A}"/>
          </ac:spMkLst>
        </pc:spChg>
        <pc:spChg chg="add mod topLvl">
          <ac:chgData name="Sai Arvind" userId="4be58695-eae9-4703-8993-7d37aad53b21" providerId="ADAL" clId="{996FF9A9-C974-443F-8618-837E1F831A03}" dt="2024-06-18T05:58:37.907" v="2271"/>
          <ac:spMkLst>
            <pc:docMk/>
            <pc:sldMk cId="455564406" sldId="2147482685"/>
            <ac:spMk id="14" creationId="{F262C98A-2994-8148-D611-A33A6C0CD400}"/>
          </ac:spMkLst>
        </pc:spChg>
        <pc:spChg chg="add mod topLvl">
          <ac:chgData name="Sai Arvind" userId="4be58695-eae9-4703-8993-7d37aad53b21" providerId="ADAL" clId="{996FF9A9-C974-443F-8618-837E1F831A03}" dt="2024-06-18T05:58:37.907" v="2271"/>
          <ac:spMkLst>
            <pc:docMk/>
            <pc:sldMk cId="455564406" sldId="2147482685"/>
            <ac:spMk id="15" creationId="{FAB4E4BD-6FEE-B1F6-2221-F84E35F57E95}"/>
          </ac:spMkLst>
        </pc:spChg>
        <pc:spChg chg="add mod topLvl">
          <ac:chgData name="Sai Arvind" userId="4be58695-eae9-4703-8993-7d37aad53b21" providerId="ADAL" clId="{996FF9A9-C974-443F-8618-837E1F831A03}" dt="2024-06-18T05:58:37.907" v="2271"/>
          <ac:spMkLst>
            <pc:docMk/>
            <pc:sldMk cId="455564406" sldId="2147482685"/>
            <ac:spMk id="16" creationId="{5F0306DE-9E68-6503-7A05-BD05FB250B00}"/>
          </ac:spMkLst>
        </pc:spChg>
        <pc:spChg chg="add mod topLvl">
          <ac:chgData name="Sai Arvind" userId="4be58695-eae9-4703-8993-7d37aad53b21" providerId="ADAL" clId="{996FF9A9-C974-443F-8618-837E1F831A03}" dt="2024-06-18T05:58:37.907" v="2271"/>
          <ac:spMkLst>
            <pc:docMk/>
            <pc:sldMk cId="455564406" sldId="2147482685"/>
            <ac:spMk id="17" creationId="{F5EF3CCE-9001-5CEC-6C75-E8A0F8A46683}"/>
          </ac:spMkLst>
        </pc:spChg>
        <pc:spChg chg="add mod topLvl">
          <ac:chgData name="Sai Arvind" userId="4be58695-eae9-4703-8993-7d37aad53b21" providerId="ADAL" clId="{996FF9A9-C974-443F-8618-837E1F831A03}" dt="2024-06-18T05:58:37.907" v="2271"/>
          <ac:spMkLst>
            <pc:docMk/>
            <pc:sldMk cId="455564406" sldId="2147482685"/>
            <ac:spMk id="18" creationId="{E0C37F2E-2502-04BC-D75B-EDFBDAB4C1B5}"/>
          </ac:spMkLst>
        </pc:spChg>
        <pc:spChg chg="add mod topLvl">
          <ac:chgData name="Sai Arvind" userId="4be58695-eae9-4703-8993-7d37aad53b21" providerId="ADAL" clId="{996FF9A9-C974-443F-8618-837E1F831A03}" dt="2024-06-18T05:58:37.907" v="2271"/>
          <ac:spMkLst>
            <pc:docMk/>
            <pc:sldMk cId="455564406" sldId="2147482685"/>
            <ac:spMk id="19" creationId="{58E4C1E0-42D1-BFFD-C056-471E2BEBA0F3}"/>
          </ac:spMkLst>
        </pc:spChg>
        <pc:spChg chg="add mod topLvl">
          <ac:chgData name="Sai Arvind" userId="4be58695-eae9-4703-8993-7d37aad53b21" providerId="ADAL" clId="{996FF9A9-C974-443F-8618-837E1F831A03}" dt="2024-06-18T05:58:37.907" v="2271"/>
          <ac:spMkLst>
            <pc:docMk/>
            <pc:sldMk cId="455564406" sldId="2147482685"/>
            <ac:spMk id="20" creationId="{91D3ED20-11A8-16C2-E5D1-5D324B774922}"/>
          </ac:spMkLst>
        </pc:spChg>
        <pc:spChg chg="add mod topLvl">
          <ac:chgData name="Sai Arvind" userId="4be58695-eae9-4703-8993-7d37aad53b21" providerId="ADAL" clId="{996FF9A9-C974-443F-8618-837E1F831A03}" dt="2024-06-18T05:58:37.907" v="2271"/>
          <ac:spMkLst>
            <pc:docMk/>
            <pc:sldMk cId="455564406" sldId="2147482685"/>
            <ac:spMk id="21" creationId="{1E6B7644-B826-634F-253D-4C3AE9F57649}"/>
          </ac:spMkLst>
        </pc:spChg>
        <pc:spChg chg="add mod topLvl">
          <ac:chgData name="Sai Arvind" userId="4be58695-eae9-4703-8993-7d37aad53b21" providerId="ADAL" clId="{996FF9A9-C974-443F-8618-837E1F831A03}" dt="2024-06-18T05:58:37.907" v="2271"/>
          <ac:spMkLst>
            <pc:docMk/>
            <pc:sldMk cId="455564406" sldId="2147482685"/>
            <ac:spMk id="22" creationId="{DE12E458-D8A7-868F-1FA5-9375696DEBD0}"/>
          </ac:spMkLst>
        </pc:spChg>
        <pc:spChg chg="add mod topLvl">
          <ac:chgData name="Sai Arvind" userId="4be58695-eae9-4703-8993-7d37aad53b21" providerId="ADAL" clId="{996FF9A9-C974-443F-8618-837E1F831A03}" dt="2024-06-18T05:58:37.907" v="2271"/>
          <ac:spMkLst>
            <pc:docMk/>
            <pc:sldMk cId="455564406" sldId="2147482685"/>
            <ac:spMk id="23" creationId="{385A414A-B37F-6C06-0469-A4EC5A0794D0}"/>
          </ac:spMkLst>
        </pc:spChg>
        <pc:spChg chg="add mod topLvl">
          <ac:chgData name="Sai Arvind" userId="4be58695-eae9-4703-8993-7d37aad53b21" providerId="ADAL" clId="{996FF9A9-C974-443F-8618-837E1F831A03}" dt="2024-06-18T05:58:37.907" v="2271"/>
          <ac:spMkLst>
            <pc:docMk/>
            <pc:sldMk cId="455564406" sldId="2147482685"/>
            <ac:spMk id="24" creationId="{C43CA723-60AF-2FB0-84F9-FDE95B283E5B}"/>
          </ac:spMkLst>
        </pc:spChg>
        <pc:spChg chg="add mod topLvl">
          <ac:chgData name="Sai Arvind" userId="4be58695-eae9-4703-8993-7d37aad53b21" providerId="ADAL" clId="{996FF9A9-C974-443F-8618-837E1F831A03}" dt="2024-06-18T05:58:37.907" v="2271"/>
          <ac:spMkLst>
            <pc:docMk/>
            <pc:sldMk cId="455564406" sldId="2147482685"/>
            <ac:spMk id="25" creationId="{A8873C77-64FA-6AF3-6390-252714C59D9E}"/>
          </ac:spMkLst>
        </pc:spChg>
        <pc:spChg chg="add mod topLvl">
          <ac:chgData name="Sai Arvind" userId="4be58695-eae9-4703-8993-7d37aad53b21" providerId="ADAL" clId="{996FF9A9-C974-443F-8618-837E1F831A03}" dt="2024-06-18T05:58:37.907" v="2271"/>
          <ac:spMkLst>
            <pc:docMk/>
            <pc:sldMk cId="455564406" sldId="2147482685"/>
            <ac:spMk id="26" creationId="{D9E02EE8-F821-0EFF-0950-F8F2807FA416}"/>
          </ac:spMkLst>
        </pc:spChg>
        <pc:spChg chg="add mod topLvl">
          <ac:chgData name="Sai Arvind" userId="4be58695-eae9-4703-8993-7d37aad53b21" providerId="ADAL" clId="{996FF9A9-C974-443F-8618-837E1F831A03}" dt="2024-06-18T05:58:37.907" v="2271"/>
          <ac:spMkLst>
            <pc:docMk/>
            <pc:sldMk cId="455564406" sldId="2147482685"/>
            <ac:spMk id="27" creationId="{838BD8F4-59ED-FAAD-852B-644F448A5A92}"/>
          </ac:spMkLst>
        </pc:spChg>
        <pc:spChg chg="add mod">
          <ac:chgData name="Sai Arvind" userId="4be58695-eae9-4703-8993-7d37aad53b21" providerId="ADAL" clId="{996FF9A9-C974-443F-8618-837E1F831A03}" dt="2024-06-18T05:25:10.400" v="1876" actId="571"/>
          <ac:spMkLst>
            <pc:docMk/>
            <pc:sldMk cId="455564406" sldId="2147482685"/>
            <ac:spMk id="29" creationId="{92648171-3163-3571-753F-F669C3C3E6C9}"/>
          </ac:spMkLst>
        </pc:spChg>
        <pc:spChg chg="add mod">
          <ac:chgData name="Sai Arvind" userId="4be58695-eae9-4703-8993-7d37aad53b21" providerId="ADAL" clId="{996FF9A9-C974-443F-8618-837E1F831A03}" dt="2024-06-18T05:25:10.400" v="1876" actId="571"/>
          <ac:spMkLst>
            <pc:docMk/>
            <pc:sldMk cId="455564406" sldId="2147482685"/>
            <ac:spMk id="30" creationId="{1EFD820F-079A-3E12-3BEC-3D56C6F03F66}"/>
          </ac:spMkLst>
        </pc:spChg>
        <pc:spChg chg="add mod">
          <ac:chgData name="Sai Arvind" userId="4be58695-eae9-4703-8993-7d37aad53b21" providerId="ADAL" clId="{996FF9A9-C974-443F-8618-837E1F831A03}" dt="2024-06-18T05:25:10.400" v="1876" actId="571"/>
          <ac:spMkLst>
            <pc:docMk/>
            <pc:sldMk cId="455564406" sldId="2147482685"/>
            <ac:spMk id="31" creationId="{B62F76C6-DB2E-BE21-1A0D-9ED33BAC86E6}"/>
          </ac:spMkLst>
        </pc:spChg>
        <pc:spChg chg="add mod">
          <ac:chgData name="Sai Arvind" userId="4be58695-eae9-4703-8993-7d37aad53b21" providerId="ADAL" clId="{996FF9A9-C974-443F-8618-837E1F831A03}" dt="2024-06-18T05:25:10.400" v="1876" actId="571"/>
          <ac:spMkLst>
            <pc:docMk/>
            <pc:sldMk cId="455564406" sldId="2147482685"/>
            <ac:spMk id="32" creationId="{6ADF7555-AF16-5DEB-1B61-12DA6F83EEC4}"/>
          </ac:spMkLst>
        </pc:spChg>
        <pc:spChg chg="add mod">
          <ac:chgData name="Sai Arvind" userId="4be58695-eae9-4703-8993-7d37aad53b21" providerId="ADAL" clId="{996FF9A9-C974-443F-8618-837E1F831A03}" dt="2024-06-18T05:25:10.400" v="1876" actId="571"/>
          <ac:spMkLst>
            <pc:docMk/>
            <pc:sldMk cId="455564406" sldId="2147482685"/>
            <ac:spMk id="33" creationId="{B822FB8F-D760-8FEF-958C-733767372F08}"/>
          </ac:spMkLst>
        </pc:spChg>
        <pc:spChg chg="add mod topLvl">
          <ac:chgData name="Sai Arvind" userId="4be58695-eae9-4703-8993-7d37aad53b21" providerId="ADAL" clId="{996FF9A9-C974-443F-8618-837E1F831A03}" dt="2024-06-18T05:58:37.907" v="2271"/>
          <ac:spMkLst>
            <pc:docMk/>
            <pc:sldMk cId="455564406" sldId="2147482685"/>
            <ac:spMk id="34" creationId="{739A4BEC-617A-B465-A16C-C5205BC6597B}"/>
          </ac:spMkLst>
        </pc:spChg>
        <pc:spChg chg="add mod topLvl">
          <ac:chgData name="Sai Arvind" userId="4be58695-eae9-4703-8993-7d37aad53b21" providerId="ADAL" clId="{996FF9A9-C974-443F-8618-837E1F831A03}" dt="2024-06-18T05:58:37.907" v="2271"/>
          <ac:spMkLst>
            <pc:docMk/>
            <pc:sldMk cId="455564406" sldId="2147482685"/>
            <ac:spMk id="35" creationId="{614FCEEE-B53E-4F66-E5B8-A096C7CE3BA3}"/>
          </ac:spMkLst>
        </pc:spChg>
        <pc:spChg chg="del mod">
          <ac:chgData name="Sai Arvind" userId="4be58695-eae9-4703-8993-7d37aad53b21" providerId="ADAL" clId="{996FF9A9-C974-443F-8618-837E1F831A03}" dt="2024-06-18T06:02:51.698" v="2376" actId="478"/>
          <ac:spMkLst>
            <pc:docMk/>
            <pc:sldMk cId="455564406" sldId="2147482685"/>
            <ac:spMk id="36" creationId="{25FC2682-13F9-C5F9-FE26-A7AAE0E20103}"/>
          </ac:spMkLst>
        </pc:spChg>
        <pc:spChg chg="add mod topLvl">
          <ac:chgData name="Sai Arvind" userId="4be58695-eae9-4703-8993-7d37aad53b21" providerId="ADAL" clId="{996FF9A9-C974-443F-8618-837E1F831A03}" dt="2024-06-18T05:58:37.907" v="2271"/>
          <ac:spMkLst>
            <pc:docMk/>
            <pc:sldMk cId="455564406" sldId="2147482685"/>
            <ac:spMk id="37" creationId="{57B8B6F2-E09A-EB17-D643-0D558B3E62BC}"/>
          </ac:spMkLst>
        </pc:spChg>
        <pc:spChg chg="add mod topLvl">
          <ac:chgData name="Sai Arvind" userId="4be58695-eae9-4703-8993-7d37aad53b21" providerId="ADAL" clId="{996FF9A9-C974-443F-8618-837E1F831A03}" dt="2024-06-18T05:58:37.907" v="2271"/>
          <ac:spMkLst>
            <pc:docMk/>
            <pc:sldMk cId="455564406" sldId="2147482685"/>
            <ac:spMk id="38" creationId="{4EA1998E-1535-9DB7-5BF2-8432BE1FF4C1}"/>
          </ac:spMkLst>
        </pc:spChg>
        <pc:spChg chg="mod ord topLvl">
          <ac:chgData name="Sai Arvind" userId="4be58695-eae9-4703-8993-7d37aad53b21" providerId="ADAL" clId="{996FF9A9-C974-443F-8618-837E1F831A03}" dt="2024-06-18T06:08:36.888" v="2607" actId="948"/>
          <ac:spMkLst>
            <pc:docMk/>
            <pc:sldMk cId="455564406" sldId="2147482685"/>
            <ac:spMk id="45" creationId="{28629EB4-49D1-D3FD-BA57-3E0B9249EFF2}"/>
          </ac:spMkLst>
        </pc:spChg>
        <pc:spChg chg="del mod">
          <ac:chgData name="Sai Arvind" userId="4be58695-eae9-4703-8993-7d37aad53b21" providerId="ADAL" clId="{996FF9A9-C974-443F-8618-837E1F831A03}" dt="2024-06-18T06:02:51.698" v="2376" actId="478"/>
          <ac:spMkLst>
            <pc:docMk/>
            <pc:sldMk cId="455564406" sldId="2147482685"/>
            <ac:spMk id="46" creationId="{2183C2B1-B6A8-B572-1954-59C25F7AC8BD}"/>
          </ac:spMkLst>
        </pc:spChg>
        <pc:spChg chg="del mod">
          <ac:chgData name="Sai Arvind" userId="4be58695-eae9-4703-8993-7d37aad53b21" providerId="ADAL" clId="{996FF9A9-C974-443F-8618-837E1F831A03}" dt="2024-06-18T06:02:51.698" v="2376" actId="478"/>
          <ac:spMkLst>
            <pc:docMk/>
            <pc:sldMk cId="455564406" sldId="2147482685"/>
            <ac:spMk id="47" creationId="{42A4D393-B383-8B3F-A9E8-ADE15E2F03C8}"/>
          </ac:spMkLst>
        </pc:spChg>
        <pc:spChg chg="del mod">
          <ac:chgData name="Sai Arvind" userId="4be58695-eae9-4703-8993-7d37aad53b21" providerId="ADAL" clId="{996FF9A9-C974-443F-8618-837E1F831A03}" dt="2024-06-18T06:02:51.698" v="2376" actId="478"/>
          <ac:spMkLst>
            <pc:docMk/>
            <pc:sldMk cId="455564406" sldId="2147482685"/>
            <ac:spMk id="48" creationId="{0CCEAC44-70C0-00DD-2A9D-447B6FF5C15C}"/>
          </ac:spMkLst>
        </pc:spChg>
        <pc:spChg chg="del mod">
          <ac:chgData name="Sai Arvind" userId="4be58695-eae9-4703-8993-7d37aad53b21" providerId="ADAL" clId="{996FF9A9-C974-443F-8618-837E1F831A03}" dt="2024-06-18T06:02:51.698" v="2376" actId="478"/>
          <ac:spMkLst>
            <pc:docMk/>
            <pc:sldMk cId="455564406" sldId="2147482685"/>
            <ac:spMk id="49" creationId="{855D8439-29C8-29A5-6AA5-5A56F5707CC0}"/>
          </ac:spMkLst>
        </pc:spChg>
        <pc:spChg chg="del mod">
          <ac:chgData name="Sai Arvind" userId="4be58695-eae9-4703-8993-7d37aad53b21" providerId="ADAL" clId="{996FF9A9-C974-443F-8618-837E1F831A03}" dt="2024-06-18T06:02:51.698" v="2376" actId="478"/>
          <ac:spMkLst>
            <pc:docMk/>
            <pc:sldMk cId="455564406" sldId="2147482685"/>
            <ac:spMk id="54" creationId="{D0AAE7AF-6FDB-F89D-AD33-E95224F28EF6}"/>
          </ac:spMkLst>
        </pc:spChg>
        <pc:spChg chg="del mod">
          <ac:chgData name="Sai Arvind" userId="4be58695-eae9-4703-8993-7d37aad53b21" providerId="ADAL" clId="{996FF9A9-C974-443F-8618-837E1F831A03}" dt="2024-06-18T06:02:51.698" v="2376" actId="478"/>
          <ac:spMkLst>
            <pc:docMk/>
            <pc:sldMk cId="455564406" sldId="2147482685"/>
            <ac:spMk id="55" creationId="{80C95384-A152-2FCC-930F-8F6036AF1C84}"/>
          </ac:spMkLst>
        </pc:spChg>
        <pc:spChg chg="del mod">
          <ac:chgData name="Sai Arvind" userId="4be58695-eae9-4703-8993-7d37aad53b21" providerId="ADAL" clId="{996FF9A9-C974-443F-8618-837E1F831A03}" dt="2024-06-18T06:02:51.698" v="2376" actId="478"/>
          <ac:spMkLst>
            <pc:docMk/>
            <pc:sldMk cId="455564406" sldId="2147482685"/>
            <ac:spMk id="56" creationId="{B9DA0587-F3DC-92BB-14D4-F554DABE37E7}"/>
          </ac:spMkLst>
        </pc:spChg>
        <pc:spChg chg="mod topLvl">
          <ac:chgData name="Sai Arvind" userId="4be58695-eae9-4703-8993-7d37aad53b21" providerId="ADAL" clId="{996FF9A9-C974-443F-8618-837E1F831A03}" dt="2024-06-18T05:58:37.907" v="2271"/>
          <ac:spMkLst>
            <pc:docMk/>
            <pc:sldMk cId="455564406" sldId="2147482685"/>
            <ac:spMk id="64" creationId="{CFBFFBAE-6D24-59DF-7DD1-B4EA7A99AB51}"/>
          </ac:spMkLst>
        </pc:spChg>
        <pc:spChg chg="mod topLvl">
          <ac:chgData name="Sai Arvind" userId="4be58695-eae9-4703-8993-7d37aad53b21" providerId="ADAL" clId="{996FF9A9-C974-443F-8618-837E1F831A03}" dt="2024-06-18T05:58:37.907" v="2271"/>
          <ac:spMkLst>
            <pc:docMk/>
            <pc:sldMk cId="455564406" sldId="2147482685"/>
            <ac:spMk id="65" creationId="{EA9DA4AC-44C2-344D-293A-0F09DF878192}"/>
          </ac:spMkLst>
        </pc:spChg>
        <pc:spChg chg="mod topLvl">
          <ac:chgData name="Sai Arvind" userId="4be58695-eae9-4703-8993-7d37aad53b21" providerId="ADAL" clId="{996FF9A9-C974-443F-8618-837E1F831A03}" dt="2024-06-18T05:58:37.907" v="2271"/>
          <ac:spMkLst>
            <pc:docMk/>
            <pc:sldMk cId="455564406" sldId="2147482685"/>
            <ac:spMk id="68" creationId="{172C38D7-3C5B-E744-7A59-3927383D2C73}"/>
          </ac:spMkLst>
        </pc:spChg>
        <pc:spChg chg="mod topLvl">
          <ac:chgData name="Sai Arvind" userId="4be58695-eae9-4703-8993-7d37aad53b21" providerId="ADAL" clId="{996FF9A9-C974-443F-8618-837E1F831A03}" dt="2024-06-18T05:58:37.907" v="2271"/>
          <ac:spMkLst>
            <pc:docMk/>
            <pc:sldMk cId="455564406" sldId="2147482685"/>
            <ac:spMk id="69" creationId="{9F15FEEA-D0E9-D47D-C7A5-5CA76C0D5F69}"/>
          </ac:spMkLst>
        </pc:spChg>
        <pc:spChg chg="mod topLvl">
          <ac:chgData name="Sai Arvind" userId="4be58695-eae9-4703-8993-7d37aad53b21" providerId="ADAL" clId="{996FF9A9-C974-443F-8618-837E1F831A03}" dt="2024-06-18T05:58:37.907" v="2271"/>
          <ac:spMkLst>
            <pc:docMk/>
            <pc:sldMk cId="455564406" sldId="2147482685"/>
            <ac:spMk id="72" creationId="{D8F97793-8D33-EE88-B0BD-1F924401056A}"/>
          </ac:spMkLst>
        </pc:spChg>
        <pc:spChg chg="mod topLvl">
          <ac:chgData name="Sai Arvind" userId="4be58695-eae9-4703-8993-7d37aad53b21" providerId="ADAL" clId="{996FF9A9-C974-443F-8618-837E1F831A03}" dt="2024-06-18T05:58:37.907" v="2271"/>
          <ac:spMkLst>
            <pc:docMk/>
            <pc:sldMk cId="455564406" sldId="2147482685"/>
            <ac:spMk id="73" creationId="{A2B5C9E5-F099-A60A-92E9-6974CBF4B82A}"/>
          </ac:spMkLst>
        </pc:spChg>
        <pc:spChg chg="mod topLvl">
          <ac:chgData name="Sai Arvind" userId="4be58695-eae9-4703-8993-7d37aad53b21" providerId="ADAL" clId="{996FF9A9-C974-443F-8618-837E1F831A03}" dt="2024-06-18T06:00:21.529" v="2311" actId="338"/>
          <ac:spMkLst>
            <pc:docMk/>
            <pc:sldMk cId="455564406" sldId="2147482685"/>
            <ac:spMk id="137" creationId="{47F1F2BA-5900-7FEA-2B93-1E97C93B3D90}"/>
          </ac:spMkLst>
        </pc:spChg>
        <pc:spChg chg="mod topLvl">
          <ac:chgData name="Sai Arvind" userId="4be58695-eae9-4703-8993-7d37aad53b21" providerId="ADAL" clId="{996FF9A9-C974-443F-8618-837E1F831A03}" dt="2024-06-18T06:00:21.529" v="2311" actId="338"/>
          <ac:spMkLst>
            <pc:docMk/>
            <pc:sldMk cId="455564406" sldId="2147482685"/>
            <ac:spMk id="138" creationId="{7DB6E738-26EF-6958-272F-D1BF8E3AB72D}"/>
          </ac:spMkLst>
        </pc:spChg>
        <pc:spChg chg="mod topLvl">
          <ac:chgData name="Sai Arvind" userId="4be58695-eae9-4703-8993-7d37aad53b21" providerId="ADAL" clId="{996FF9A9-C974-443F-8618-837E1F831A03}" dt="2024-06-18T06:00:21.529" v="2311" actId="338"/>
          <ac:spMkLst>
            <pc:docMk/>
            <pc:sldMk cId="455564406" sldId="2147482685"/>
            <ac:spMk id="140" creationId="{3CE3A0A2-6542-14C6-DD22-535BE2C413AE}"/>
          </ac:spMkLst>
        </pc:spChg>
        <pc:spChg chg="mod topLvl">
          <ac:chgData name="Sai Arvind" userId="4be58695-eae9-4703-8993-7d37aad53b21" providerId="ADAL" clId="{996FF9A9-C974-443F-8618-837E1F831A03}" dt="2024-06-18T06:00:21.529" v="2311" actId="338"/>
          <ac:spMkLst>
            <pc:docMk/>
            <pc:sldMk cId="455564406" sldId="2147482685"/>
            <ac:spMk id="141" creationId="{21CD081C-D039-FE8D-14ED-1B4A51B8CD07}"/>
          </ac:spMkLst>
        </pc:spChg>
        <pc:spChg chg="mod topLvl">
          <ac:chgData name="Sai Arvind" userId="4be58695-eae9-4703-8993-7d37aad53b21" providerId="ADAL" clId="{996FF9A9-C974-443F-8618-837E1F831A03}" dt="2024-06-18T06:00:21.529" v="2311" actId="338"/>
          <ac:spMkLst>
            <pc:docMk/>
            <pc:sldMk cId="455564406" sldId="2147482685"/>
            <ac:spMk id="143" creationId="{7739DE66-4489-94B9-7E40-96BF68C54CDE}"/>
          </ac:spMkLst>
        </pc:spChg>
        <pc:spChg chg="mod topLvl">
          <ac:chgData name="Sai Arvind" userId="4be58695-eae9-4703-8993-7d37aad53b21" providerId="ADAL" clId="{996FF9A9-C974-443F-8618-837E1F831A03}" dt="2024-06-18T06:00:21.529" v="2311" actId="338"/>
          <ac:spMkLst>
            <pc:docMk/>
            <pc:sldMk cId="455564406" sldId="2147482685"/>
            <ac:spMk id="144" creationId="{31EBF27D-799E-E91C-985B-8A7F25C774EE}"/>
          </ac:spMkLst>
        </pc:spChg>
        <pc:spChg chg="mod topLvl">
          <ac:chgData name="Sai Arvind" userId="4be58695-eae9-4703-8993-7d37aad53b21" providerId="ADAL" clId="{996FF9A9-C974-443F-8618-837E1F831A03}" dt="2024-06-18T06:00:21.529" v="2311" actId="338"/>
          <ac:spMkLst>
            <pc:docMk/>
            <pc:sldMk cId="455564406" sldId="2147482685"/>
            <ac:spMk id="146" creationId="{3D7AAB01-D062-66FA-7E1F-085C5A2E1D3B}"/>
          </ac:spMkLst>
        </pc:spChg>
        <pc:spChg chg="mod topLvl">
          <ac:chgData name="Sai Arvind" userId="4be58695-eae9-4703-8993-7d37aad53b21" providerId="ADAL" clId="{996FF9A9-C974-443F-8618-837E1F831A03}" dt="2024-06-18T06:00:21.529" v="2311" actId="338"/>
          <ac:spMkLst>
            <pc:docMk/>
            <pc:sldMk cId="455564406" sldId="2147482685"/>
            <ac:spMk id="147" creationId="{E67E3758-5BD7-051E-0563-46F3E4A19D52}"/>
          </ac:spMkLst>
        </pc:spChg>
        <pc:spChg chg="mod topLvl">
          <ac:chgData name="Sai Arvind" userId="4be58695-eae9-4703-8993-7d37aad53b21" providerId="ADAL" clId="{996FF9A9-C974-443F-8618-837E1F831A03}" dt="2024-06-18T06:00:21.529" v="2311" actId="338"/>
          <ac:spMkLst>
            <pc:docMk/>
            <pc:sldMk cId="455564406" sldId="2147482685"/>
            <ac:spMk id="149" creationId="{F2C172BE-DD00-453B-55BF-9FD1AB7E828D}"/>
          </ac:spMkLst>
        </pc:spChg>
        <pc:spChg chg="mod topLvl">
          <ac:chgData name="Sai Arvind" userId="4be58695-eae9-4703-8993-7d37aad53b21" providerId="ADAL" clId="{996FF9A9-C974-443F-8618-837E1F831A03}" dt="2024-06-18T06:00:21.529" v="2311" actId="338"/>
          <ac:spMkLst>
            <pc:docMk/>
            <pc:sldMk cId="455564406" sldId="2147482685"/>
            <ac:spMk id="150" creationId="{4162E480-3074-6978-8F3B-4C656B5EC2D6}"/>
          </ac:spMkLst>
        </pc:spChg>
        <pc:spChg chg="mod topLvl">
          <ac:chgData name="Sai Arvind" userId="4be58695-eae9-4703-8993-7d37aad53b21" providerId="ADAL" clId="{996FF9A9-C974-443F-8618-837E1F831A03}" dt="2024-06-18T06:00:21.529" v="2311" actId="338"/>
          <ac:spMkLst>
            <pc:docMk/>
            <pc:sldMk cId="455564406" sldId="2147482685"/>
            <ac:spMk id="152" creationId="{0345BE9C-F80D-9896-765D-0374B60BB7AE}"/>
          </ac:spMkLst>
        </pc:spChg>
        <pc:spChg chg="mod topLvl">
          <ac:chgData name="Sai Arvind" userId="4be58695-eae9-4703-8993-7d37aad53b21" providerId="ADAL" clId="{996FF9A9-C974-443F-8618-837E1F831A03}" dt="2024-06-18T06:00:21.529" v="2311" actId="338"/>
          <ac:spMkLst>
            <pc:docMk/>
            <pc:sldMk cId="455564406" sldId="2147482685"/>
            <ac:spMk id="153" creationId="{E3785B29-95A9-1F13-05A8-9618A60A91FB}"/>
          </ac:spMkLst>
        </pc:spChg>
        <pc:spChg chg="mod topLvl">
          <ac:chgData name="Sai Arvind" userId="4be58695-eae9-4703-8993-7d37aad53b21" providerId="ADAL" clId="{996FF9A9-C974-443F-8618-837E1F831A03}" dt="2024-06-18T06:00:21.529" v="2311" actId="338"/>
          <ac:spMkLst>
            <pc:docMk/>
            <pc:sldMk cId="455564406" sldId="2147482685"/>
            <ac:spMk id="155" creationId="{3927C9C1-A9B5-912E-0C3E-FB12E26BB593}"/>
          </ac:spMkLst>
        </pc:spChg>
        <pc:spChg chg="mod topLvl">
          <ac:chgData name="Sai Arvind" userId="4be58695-eae9-4703-8993-7d37aad53b21" providerId="ADAL" clId="{996FF9A9-C974-443F-8618-837E1F831A03}" dt="2024-06-18T06:00:21.529" v="2311" actId="338"/>
          <ac:spMkLst>
            <pc:docMk/>
            <pc:sldMk cId="455564406" sldId="2147482685"/>
            <ac:spMk id="156" creationId="{E6756223-0EFA-4214-4D75-B605F210964D}"/>
          </ac:spMkLst>
        </pc:spChg>
        <pc:spChg chg="add mod topLvl">
          <ac:chgData name="Sai Arvind" userId="4be58695-eae9-4703-8993-7d37aad53b21" providerId="ADAL" clId="{996FF9A9-C974-443F-8618-837E1F831A03}" dt="2024-06-18T06:07:09.684" v="2554" actId="14100"/>
          <ac:spMkLst>
            <pc:docMk/>
            <pc:sldMk cId="455564406" sldId="2147482685"/>
            <ac:spMk id="165" creationId="{BA23299B-6AA3-3D1F-60BE-38141AF712CE}"/>
          </ac:spMkLst>
        </pc:spChg>
        <pc:spChg chg="add mod topLvl">
          <ac:chgData name="Sai Arvind" userId="4be58695-eae9-4703-8993-7d37aad53b21" providerId="ADAL" clId="{996FF9A9-C974-443F-8618-837E1F831A03}" dt="2024-06-18T06:10:07.421" v="2636" actId="207"/>
          <ac:spMkLst>
            <pc:docMk/>
            <pc:sldMk cId="455564406" sldId="2147482685"/>
            <ac:spMk id="166" creationId="{C264730F-9042-FB89-3ACD-F4719E1E67E8}"/>
          </ac:spMkLst>
        </pc:spChg>
        <pc:spChg chg="add mod topLvl">
          <ac:chgData name="Sai Arvind" userId="4be58695-eae9-4703-8993-7d37aad53b21" providerId="ADAL" clId="{996FF9A9-C974-443F-8618-837E1F831A03}" dt="2024-06-18T06:08:36.888" v="2607" actId="948"/>
          <ac:spMkLst>
            <pc:docMk/>
            <pc:sldMk cId="455564406" sldId="2147482685"/>
            <ac:spMk id="169" creationId="{3CC7B546-19B4-384D-DBEF-B1DA7D4C4575}"/>
          </ac:spMkLst>
        </pc:spChg>
        <pc:spChg chg="add mod topLvl">
          <ac:chgData name="Sai Arvind" userId="4be58695-eae9-4703-8993-7d37aad53b21" providerId="ADAL" clId="{996FF9A9-C974-443F-8618-837E1F831A03}" dt="2024-06-18T06:10:23.155" v="2655" actId="338"/>
          <ac:spMkLst>
            <pc:docMk/>
            <pc:sldMk cId="455564406" sldId="2147482685"/>
            <ac:spMk id="174" creationId="{5003029F-E405-EA1F-FBA3-02B6D9EBEAC9}"/>
          </ac:spMkLst>
        </pc:spChg>
        <pc:spChg chg="add mod ord topLvl">
          <ac:chgData name="Sai Arvind" userId="4be58695-eae9-4703-8993-7d37aad53b21" providerId="ADAL" clId="{996FF9A9-C974-443F-8618-837E1F831A03}" dt="2024-06-18T06:10:23.155" v="2655" actId="338"/>
          <ac:spMkLst>
            <pc:docMk/>
            <pc:sldMk cId="455564406" sldId="2147482685"/>
            <ac:spMk id="175" creationId="{CC6F25AD-D2F7-F634-5F12-0A03AFA326E1}"/>
          </ac:spMkLst>
        </pc:spChg>
        <pc:spChg chg="mod topLvl">
          <ac:chgData name="Sai Arvind" userId="4be58695-eae9-4703-8993-7d37aad53b21" providerId="ADAL" clId="{996FF9A9-C974-443F-8618-837E1F831A03}" dt="2024-06-18T06:10:23.155" v="2655" actId="338"/>
          <ac:spMkLst>
            <pc:docMk/>
            <pc:sldMk cId="455564406" sldId="2147482685"/>
            <ac:spMk id="179" creationId="{152DD302-3548-6F61-1705-94F6AF693101}"/>
          </ac:spMkLst>
        </pc:spChg>
        <pc:spChg chg="mod topLvl">
          <ac:chgData name="Sai Arvind" userId="4be58695-eae9-4703-8993-7d37aad53b21" providerId="ADAL" clId="{996FF9A9-C974-443F-8618-837E1F831A03}" dt="2024-06-18T06:10:23.155" v="2655" actId="338"/>
          <ac:spMkLst>
            <pc:docMk/>
            <pc:sldMk cId="455564406" sldId="2147482685"/>
            <ac:spMk id="180" creationId="{17FB5BA5-80F9-883C-33EA-746C47741A1D}"/>
          </ac:spMkLst>
        </pc:spChg>
        <pc:spChg chg="mod topLvl">
          <ac:chgData name="Sai Arvind" userId="4be58695-eae9-4703-8993-7d37aad53b21" providerId="ADAL" clId="{996FF9A9-C974-443F-8618-837E1F831A03}" dt="2024-06-18T06:10:23.155" v="2655" actId="338"/>
          <ac:spMkLst>
            <pc:docMk/>
            <pc:sldMk cId="455564406" sldId="2147482685"/>
            <ac:spMk id="182" creationId="{236901E9-E3EE-17CE-E225-A91AFE74756B}"/>
          </ac:spMkLst>
        </pc:spChg>
        <pc:spChg chg="mod topLvl">
          <ac:chgData name="Sai Arvind" userId="4be58695-eae9-4703-8993-7d37aad53b21" providerId="ADAL" clId="{996FF9A9-C974-443F-8618-837E1F831A03}" dt="2024-06-18T06:10:23.155" v="2655" actId="338"/>
          <ac:spMkLst>
            <pc:docMk/>
            <pc:sldMk cId="455564406" sldId="2147482685"/>
            <ac:spMk id="183" creationId="{0B3DD94C-C557-C17F-7CA6-F6A7A3F1D1EE}"/>
          </ac:spMkLst>
        </pc:spChg>
        <pc:spChg chg="mod topLvl">
          <ac:chgData name="Sai Arvind" userId="4be58695-eae9-4703-8993-7d37aad53b21" providerId="ADAL" clId="{996FF9A9-C974-443F-8618-837E1F831A03}" dt="2024-06-18T06:10:23.155" v="2655" actId="338"/>
          <ac:spMkLst>
            <pc:docMk/>
            <pc:sldMk cId="455564406" sldId="2147482685"/>
            <ac:spMk id="185" creationId="{EB6DD386-851E-4859-C72F-2223EA9184D5}"/>
          </ac:spMkLst>
        </pc:spChg>
        <pc:spChg chg="mod topLvl">
          <ac:chgData name="Sai Arvind" userId="4be58695-eae9-4703-8993-7d37aad53b21" providerId="ADAL" clId="{996FF9A9-C974-443F-8618-837E1F831A03}" dt="2024-06-18T06:10:23.155" v="2655" actId="338"/>
          <ac:spMkLst>
            <pc:docMk/>
            <pc:sldMk cId="455564406" sldId="2147482685"/>
            <ac:spMk id="186" creationId="{0D5A27F2-7DBD-6144-03C9-41287157A073}"/>
          </ac:spMkLst>
        </pc:spChg>
        <pc:grpChg chg="add del mod">
          <ac:chgData name="Sai Arvind" userId="4be58695-eae9-4703-8993-7d37aad53b21" providerId="ADAL" clId="{996FF9A9-C974-443F-8618-837E1F831A03}" dt="2024-06-18T05:20:19.761" v="1466"/>
          <ac:grpSpMkLst>
            <pc:docMk/>
            <pc:sldMk cId="455564406" sldId="2147482685"/>
            <ac:grpSpMk id="9" creationId="{B86D0F96-99B8-D589-37B2-DB668673FADA}"/>
          </ac:grpSpMkLst>
        </pc:grpChg>
        <pc:grpChg chg="add del mod ord">
          <ac:chgData name="Sai Arvind" userId="4be58695-eae9-4703-8993-7d37aad53b21" providerId="ADAL" clId="{996FF9A9-C974-443F-8618-837E1F831A03}" dt="2024-06-18T05:20:36.758" v="1475"/>
          <ac:grpSpMkLst>
            <pc:docMk/>
            <pc:sldMk cId="455564406" sldId="2147482685"/>
            <ac:grpSpMk id="10" creationId="{7B052D04-1115-DA4B-1922-09343971078F}"/>
          </ac:grpSpMkLst>
        </pc:grpChg>
        <pc:grpChg chg="add del mod topLvl">
          <ac:chgData name="Sai Arvind" userId="4be58695-eae9-4703-8993-7d37aad53b21" providerId="ADAL" clId="{996FF9A9-C974-443F-8618-837E1F831A03}" dt="2024-06-18T05:24:27.778" v="1849"/>
          <ac:grpSpMkLst>
            <pc:docMk/>
            <pc:sldMk cId="455564406" sldId="2147482685"/>
            <ac:grpSpMk id="26" creationId="{99F89297-BE49-97D6-5C08-C8823B8BFAC9}"/>
          </ac:grpSpMkLst>
        </pc:grpChg>
        <pc:grpChg chg="add del mod topLvl">
          <ac:chgData name="Sai Arvind" userId="4be58695-eae9-4703-8993-7d37aad53b21" providerId="ADAL" clId="{996FF9A9-C974-443F-8618-837E1F831A03}" dt="2024-06-18T05:24:27.778" v="1849"/>
          <ac:grpSpMkLst>
            <pc:docMk/>
            <pc:sldMk cId="455564406" sldId="2147482685"/>
            <ac:grpSpMk id="27" creationId="{256A9673-B815-5C64-87B6-F8B2928BB54A}"/>
          </ac:grpSpMkLst>
        </pc:grpChg>
        <pc:grpChg chg="add del mod">
          <ac:chgData name="Sai Arvind" userId="4be58695-eae9-4703-8993-7d37aad53b21" providerId="ADAL" clId="{996FF9A9-C974-443F-8618-837E1F831A03}" dt="2024-06-18T05:24:26.367" v="1848"/>
          <ac:grpSpMkLst>
            <pc:docMk/>
            <pc:sldMk cId="455564406" sldId="2147482685"/>
            <ac:grpSpMk id="28" creationId="{52E7193C-E7A2-71CD-F9EF-B965480A3976}"/>
          </ac:grpSpMkLst>
        </pc:grpChg>
        <pc:grpChg chg="add del mod topLvl">
          <ac:chgData name="Sai Arvind" userId="4be58695-eae9-4703-8993-7d37aad53b21" providerId="ADAL" clId="{996FF9A9-C974-443F-8618-837E1F831A03}" dt="2024-06-18T05:54:37.441" v="2076"/>
          <ac:grpSpMkLst>
            <pc:docMk/>
            <pc:sldMk cId="455564406" sldId="2147482685"/>
            <ac:grpSpMk id="28" creationId="{5A9298BA-A79C-0FDB-7CFD-4627F874189D}"/>
          </ac:grpSpMkLst>
        </pc:grpChg>
        <pc:grpChg chg="add del mod topLvl">
          <ac:chgData name="Sai Arvind" userId="4be58695-eae9-4703-8993-7d37aad53b21" providerId="ADAL" clId="{996FF9A9-C974-443F-8618-837E1F831A03}" dt="2024-06-18T05:54:37.441" v="2076"/>
          <ac:grpSpMkLst>
            <pc:docMk/>
            <pc:sldMk cId="455564406" sldId="2147482685"/>
            <ac:grpSpMk id="29" creationId="{8BAB45FF-EB7A-7AFF-75E3-F5A8C8BA32D3}"/>
          </ac:grpSpMkLst>
        </pc:grpChg>
        <pc:grpChg chg="add del mod topLvl">
          <ac:chgData name="Sai Arvind" userId="4be58695-eae9-4703-8993-7d37aad53b21" providerId="ADAL" clId="{996FF9A9-C974-443F-8618-837E1F831A03}" dt="2024-06-18T05:54:37.441" v="2076"/>
          <ac:grpSpMkLst>
            <pc:docMk/>
            <pc:sldMk cId="455564406" sldId="2147482685"/>
            <ac:grpSpMk id="30" creationId="{3671B6FA-2120-8937-B2FE-350A1CC08892}"/>
          </ac:grpSpMkLst>
        </pc:grpChg>
        <pc:grpChg chg="add del mod topLvl">
          <ac:chgData name="Sai Arvind" userId="4be58695-eae9-4703-8993-7d37aad53b21" providerId="ADAL" clId="{996FF9A9-C974-443F-8618-837E1F831A03}" dt="2024-06-18T05:54:37.441" v="2076"/>
          <ac:grpSpMkLst>
            <pc:docMk/>
            <pc:sldMk cId="455564406" sldId="2147482685"/>
            <ac:grpSpMk id="31" creationId="{6E9EEC20-5604-8183-A70D-795003EFF4E0}"/>
          </ac:grpSpMkLst>
        </pc:grpChg>
        <pc:grpChg chg="add del mod topLvl">
          <ac:chgData name="Sai Arvind" userId="4be58695-eae9-4703-8993-7d37aad53b21" providerId="ADAL" clId="{996FF9A9-C974-443F-8618-837E1F831A03}" dt="2024-06-18T05:54:37.441" v="2076"/>
          <ac:grpSpMkLst>
            <pc:docMk/>
            <pc:sldMk cId="455564406" sldId="2147482685"/>
            <ac:grpSpMk id="32" creationId="{8A4CB503-9ABE-9D39-4340-1E9A37F0FDBE}"/>
          </ac:grpSpMkLst>
        </pc:grpChg>
        <pc:grpChg chg="add del mod topLvl">
          <ac:chgData name="Sai Arvind" userId="4be58695-eae9-4703-8993-7d37aad53b21" providerId="ADAL" clId="{996FF9A9-C974-443F-8618-837E1F831A03}" dt="2024-06-18T05:54:37.441" v="2076"/>
          <ac:grpSpMkLst>
            <pc:docMk/>
            <pc:sldMk cId="455564406" sldId="2147482685"/>
            <ac:grpSpMk id="33" creationId="{1318A29F-BBD7-4BE3-6CEF-C3D717C1E4F8}"/>
          </ac:grpSpMkLst>
        </pc:grpChg>
        <pc:grpChg chg="add del mod topLvl">
          <ac:chgData name="Sai Arvind" userId="4be58695-eae9-4703-8993-7d37aad53b21" providerId="ADAL" clId="{996FF9A9-C974-443F-8618-837E1F831A03}" dt="2024-06-18T05:54:37.441" v="2076"/>
          <ac:grpSpMkLst>
            <pc:docMk/>
            <pc:sldMk cId="455564406" sldId="2147482685"/>
            <ac:grpSpMk id="39" creationId="{63E8321D-CE46-581A-2001-9E1631901A5F}"/>
          </ac:grpSpMkLst>
        </pc:grpChg>
        <pc:grpChg chg="add del mod">
          <ac:chgData name="Sai Arvind" userId="4be58695-eae9-4703-8993-7d37aad53b21" providerId="ADAL" clId="{996FF9A9-C974-443F-8618-837E1F831A03}" dt="2024-06-18T05:28:37.469" v="1923"/>
          <ac:grpSpMkLst>
            <pc:docMk/>
            <pc:sldMk cId="455564406" sldId="2147482685"/>
            <ac:grpSpMk id="39" creationId="{A5E38084-3AD2-725A-5B61-6E377C98A79C}"/>
          </ac:grpSpMkLst>
        </pc:grpChg>
        <pc:grpChg chg="add del mod topLvl">
          <ac:chgData name="Sai Arvind" userId="4be58695-eae9-4703-8993-7d37aad53b21" providerId="ADAL" clId="{996FF9A9-C974-443F-8618-837E1F831A03}" dt="2024-06-18T05:52:27.293" v="2018"/>
          <ac:grpSpMkLst>
            <pc:docMk/>
            <pc:sldMk cId="455564406" sldId="2147482685"/>
            <ac:grpSpMk id="40" creationId="{C53057CF-394A-B232-8FC8-D82412B5679A}"/>
          </ac:grpSpMkLst>
        </pc:grpChg>
        <pc:grpChg chg="add del mod topLvl">
          <ac:chgData name="Sai Arvind" userId="4be58695-eae9-4703-8993-7d37aad53b21" providerId="ADAL" clId="{996FF9A9-C974-443F-8618-837E1F831A03}" dt="2024-06-18T05:52:27.293" v="2018"/>
          <ac:grpSpMkLst>
            <pc:docMk/>
            <pc:sldMk cId="455564406" sldId="2147482685"/>
            <ac:grpSpMk id="41" creationId="{81CB2FAB-8CA8-4C82-BB04-9CE447985F21}"/>
          </ac:grpSpMkLst>
        </pc:grpChg>
        <pc:grpChg chg="add del mod topLvl">
          <ac:chgData name="Sai Arvind" userId="4be58695-eae9-4703-8993-7d37aad53b21" providerId="ADAL" clId="{996FF9A9-C974-443F-8618-837E1F831A03}" dt="2024-06-18T05:52:27.293" v="2018"/>
          <ac:grpSpMkLst>
            <pc:docMk/>
            <pc:sldMk cId="455564406" sldId="2147482685"/>
            <ac:grpSpMk id="42" creationId="{40FEACE3-48D8-6F50-D63A-1D75DDBE3028}"/>
          </ac:grpSpMkLst>
        </pc:grpChg>
        <pc:grpChg chg="add del mod topLvl">
          <ac:chgData name="Sai Arvind" userId="4be58695-eae9-4703-8993-7d37aad53b21" providerId="ADAL" clId="{996FF9A9-C974-443F-8618-837E1F831A03}" dt="2024-06-18T05:52:27.293" v="2018"/>
          <ac:grpSpMkLst>
            <pc:docMk/>
            <pc:sldMk cId="455564406" sldId="2147482685"/>
            <ac:grpSpMk id="43" creationId="{456B685E-1081-8228-3D0C-8CDFABADB947}"/>
          </ac:grpSpMkLst>
        </pc:grpChg>
        <pc:grpChg chg="add del mod">
          <ac:chgData name="Sai Arvind" userId="4be58695-eae9-4703-8993-7d37aad53b21" providerId="ADAL" clId="{996FF9A9-C974-443F-8618-837E1F831A03}" dt="2024-06-18T05:52:20.085" v="2016"/>
          <ac:grpSpMkLst>
            <pc:docMk/>
            <pc:sldMk cId="455564406" sldId="2147482685"/>
            <ac:grpSpMk id="44" creationId="{A565A65B-004C-6A47-2030-B43B0D431422}"/>
          </ac:grpSpMkLst>
        </pc:grpChg>
        <pc:grpChg chg="add del mod">
          <ac:chgData name="Sai Arvind" userId="4be58695-eae9-4703-8993-7d37aad53b21" providerId="ADAL" clId="{996FF9A9-C974-443F-8618-837E1F831A03}" dt="2024-06-18T05:28:55.091" v="1932"/>
          <ac:grpSpMkLst>
            <pc:docMk/>
            <pc:sldMk cId="455564406" sldId="2147482685"/>
            <ac:grpSpMk id="44" creationId="{C5B046BC-0387-D293-E18A-1242B78B1808}"/>
          </ac:grpSpMkLst>
        </pc:grpChg>
        <pc:grpChg chg="add del mod topLvl">
          <ac:chgData name="Sai Arvind" userId="4be58695-eae9-4703-8993-7d37aad53b21" providerId="ADAL" clId="{996FF9A9-C974-443F-8618-837E1F831A03}" dt="2024-06-18T05:56:44.009" v="2129"/>
          <ac:grpSpMkLst>
            <pc:docMk/>
            <pc:sldMk cId="455564406" sldId="2147482685"/>
            <ac:grpSpMk id="50" creationId="{4BF0F1B2-BDB7-9B26-CFA8-0028753A5A77}"/>
          </ac:grpSpMkLst>
        </pc:grpChg>
        <pc:grpChg chg="add del mod topLvl">
          <ac:chgData name="Sai Arvind" userId="4be58695-eae9-4703-8993-7d37aad53b21" providerId="ADAL" clId="{996FF9A9-C974-443F-8618-837E1F831A03}" dt="2024-06-18T05:56:44.009" v="2129"/>
          <ac:grpSpMkLst>
            <pc:docMk/>
            <pc:sldMk cId="455564406" sldId="2147482685"/>
            <ac:grpSpMk id="51" creationId="{50DC3B04-6098-6498-F68D-C004F28A02D3}"/>
          </ac:grpSpMkLst>
        </pc:grpChg>
        <pc:grpChg chg="add del mod topLvl">
          <ac:chgData name="Sai Arvind" userId="4be58695-eae9-4703-8993-7d37aad53b21" providerId="ADAL" clId="{996FF9A9-C974-443F-8618-837E1F831A03}" dt="2024-06-18T05:56:44.009" v="2129"/>
          <ac:grpSpMkLst>
            <pc:docMk/>
            <pc:sldMk cId="455564406" sldId="2147482685"/>
            <ac:grpSpMk id="52" creationId="{DC0E3FAC-4F4F-5690-FD99-434B30A1C52D}"/>
          </ac:grpSpMkLst>
        </pc:grpChg>
        <pc:grpChg chg="add del mod topLvl">
          <ac:chgData name="Sai Arvind" userId="4be58695-eae9-4703-8993-7d37aad53b21" providerId="ADAL" clId="{996FF9A9-C974-443F-8618-837E1F831A03}" dt="2024-06-18T05:56:44.009" v="2129"/>
          <ac:grpSpMkLst>
            <pc:docMk/>
            <pc:sldMk cId="455564406" sldId="2147482685"/>
            <ac:grpSpMk id="53" creationId="{0C3F1D1F-8F1A-0BEF-9E4B-1117691E0209}"/>
          </ac:grpSpMkLst>
        </pc:grpChg>
        <pc:grpChg chg="add del mod topLvl">
          <ac:chgData name="Sai Arvind" userId="4be58695-eae9-4703-8993-7d37aad53b21" providerId="ADAL" clId="{996FF9A9-C974-443F-8618-837E1F831A03}" dt="2024-06-18T05:56:44.009" v="2129"/>
          <ac:grpSpMkLst>
            <pc:docMk/>
            <pc:sldMk cId="455564406" sldId="2147482685"/>
            <ac:grpSpMk id="63" creationId="{D615AF0B-BFA7-2349-61D1-58542620DAAE}"/>
          </ac:grpSpMkLst>
        </pc:grpChg>
        <pc:grpChg chg="add del mod topLvl">
          <ac:chgData name="Sai Arvind" userId="4be58695-eae9-4703-8993-7d37aad53b21" providerId="ADAL" clId="{996FF9A9-C974-443F-8618-837E1F831A03}" dt="2024-06-18T05:56:44.009" v="2129"/>
          <ac:grpSpMkLst>
            <pc:docMk/>
            <pc:sldMk cId="455564406" sldId="2147482685"/>
            <ac:grpSpMk id="67" creationId="{8A0817F3-E802-89E9-1968-9D37250ED7B3}"/>
          </ac:grpSpMkLst>
        </pc:grpChg>
        <pc:grpChg chg="add del mod topLvl">
          <ac:chgData name="Sai Arvind" userId="4be58695-eae9-4703-8993-7d37aad53b21" providerId="ADAL" clId="{996FF9A9-C974-443F-8618-837E1F831A03}" dt="2024-06-18T05:56:44.009" v="2129"/>
          <ac:grpSpMkLst>
            <pc:docMk/>
            <pc:sldMk cId="455564406" sldId="2147482685"/>
            <ac:grpSpMk id="71" creationId="{78F409C0-37A0-2090-E6A8-CADAA5562C2E}"/>
          </ac:grpSpMkLst>
        </pc:grpChg>
        <pc:grpChg chg="add del mod topLvl">
          <ac:chgData name="Sai Arvind" userId="4be58695-eae9-4703-8993-7d37aad53b21" providerId="ADAL" clId="{996FF9A9-C974-443F-8618-837E1F831A03}" dt="2024-06-18T05:56:53.134" v="2159"/>
          <ac:grpSpMkLst>
            <pc:docMk/>
            <pc:sldMk cId="455564406" sldId="2147482685"/>
            <ac:grpSpMk id="75" creationId="{9DED830B-7AB7-9E0E-BF09-4E06041BCC4F}"/>
          </ac:grpSpMkLst>
        </pc:grpChg>
        <pc:grpChg chg="add del mod topLvl">
          <ac:chgData name="Sai Arvind" userId="4be58695-eae9-4703-8993-7d37aad53b21" providerId="ADAL" clId="{996FF9A9-C974-443F-8618-837E1F831A03}" dt="2024-06-18T05:56:53.134" v="2159"/>
          <ac:grpSpMkLst>
            <pc:docMk/>
            <pc:sldMk cId="455564406" sldId="2147482685"/>
            <ac:grpSpMk id="76" creationId="{6B37F292-B3A2-F250-88D8-60FBFE0066F7}"/>
          </ac:grpSpMkLst>
        </pc:grpChg>
        <pc:grpChg chg="add del mod topLvl">
          <ac:chgData name="Sai Arvind" userId="4be58695-eae9-4703-8993-7d37aad53b21" providerId="ADAL" clId="{996FF9A9-C974-443F-8618-837E1F831A03}" dt="2024-06-18T05:56:53.134" v="2159"/>
          <ac:grpSpMkLst>
            <pc:docMk/>
            <pc:sldMk cId="455564406" sldId="2147482685"/>
            <ac:grpSpMk id="77" creationId="{2BCE7E92-948D-4C03-1ED6-020982A2D242}"/>
          </ac:grpSpMkLst>
        </pc:grpChg>
        <pc:grpChg chg="add del mod topLvl">
          <ac:chgData name="Sai Arvind" userId="4be58695-eae9-4703-8993-7d37aad53b21" providerId="ADAL" clId="{996FF9A9-C974-443F-8618-837E1F831A03}" dt="2024-06-18T05:56:53.134" v="2159"/>
          <ac:grpSpMkLst>
            <pc:docMk/>
            <pc:sldMk cId="455564406" sldId="2147482685"/>
            <ac:grpSpMk id="78" creationId="{1EF224DD-03B7-28EF-71D7-944ED521B818}"/>
          </ac:grpSpMkLst>
        </pc:grpChg>
        <pc:grpChg chg="add del mod topLvl">
          <ac:chgData name="Sai Arvind" userId="4be58695-eae9-4703-8993-7d37aad53b21" providerId="ADAL" clId="{996FF9A9-C974-443F-8618-837E1F831A03}" dt="2024-06-18T05:56:53.134" v="2159"/>
          <ac:grpSpMkLst>
            <pc:docMk/>
            <pc:sldMk cId="455564406" sldId="2147482685"/>
            <ac:grpSpMk id="79" creationId="{59C36CBC-2453-61A7-7624-41D93A51A997}"/>
          </ac:grpSpMkLst>
        </pc:grpChg>
        <pc:grpChg chg="add del mod topLvl">
          <ac:chgData name="Sai Arvind" userId="4be58695-eae9-4703-8993-7d37aad53b21" providerId="ADAL" clId="{996FF9A9-C974-443F-8618-837E1F831A03}" dt="2024-06-18T05:56:53.134" v="2159"/>
          <ac:grpSpMkLst>
            <pc:docMk/>
            <pc:sldMk cId="455564406" sldId="2147482685"/>
            <ac:grpSpMk id="80" creationId="{ED5031A9-F58B-5219-E81A-265B8998251C}"/>
          </ac:grpSpMkLst>
        </pc:grpChg>
        <pc:grpChg chg="add del mod topLvl">
          <ac:chgData name="Sai Arvind" userId="4be58695-eae9-4703-8993-7d37aad53b21" providerId="ADAL" clId="{996FF9A9-C974-443F-8618-837E1F831A03}" dt="2024-06-18T05:56:53.134" v="2159"/>
          <ac:grpSpMkLst>
            <pc:docMk/>
            <pc:sldMk cId="455564406" sldId="2147482685"/>
            <ac:grpSpMk id="81" creationId="{1A381252-D411-2A1D-F8E4-CD1940959601}"/>
          </ac:grpSpMkLst>
        </pc:grpChg>
        <pc:grpChg chg="add del mod ord">
          <ac:chgData name="Sai Arvind" userId="4be58695-eae9-4703-8993-7d37aad53b21" providerId="ADAL" clId="{996FF9A9-C974-443F-8618-837E1F831A03}" dt="2024-06-18T05:55:41.798" v="2117"/>
          <ac:grpSpMkLst>
            <pc:docMk/>
            <pc:sldMk cId="455564406" sldId="2147482685"/>
            <ac:grpSpMk id="82" creationId="{0228C988-287E-621C-5EB4-73AA072D7A9B}"/>
          </ac:grpSpMkLst>
        </pc:grpChg>
        <pc:grpChg chg="add del mod">
          <ac:chgData name="Sai Arvind" userId="4be58695-eae9-4703-8993-7d37aad53b21" providerId="ADAL" clId="{996FF9A9-C974-443F-8618-837E1F831A03}" dt="2024-06-18T05:55:57.264" v="2124"/>
          <ac:grpSpMkLst>
            <pc:docMk/>
            <pc:sldMk cId="455564406" sldId="2147482685"/>
            <ac:grpSpMk id="83" creationId="{42D3BB5B-629C-9ADF-2246-E92FFA0A1CCD}"/>
          </ac:grpSpMkLst>
        </pc:grpChg>
        <pc:grpChg chg="add del mod">
          <ac:chgData name="Sai Arvind" userId="4be58695-eae9-4703-8993-7d37aad53b21" providerId="ADAL" clId="{996FF9A9-C974-443F-8618-837E1F831A03}" dt="2024-06-18T05:56:41.064" v="2128"/>
          <ac:grpSpMkLst>
            <pc:docMk/>
            <pc:sldMk cId="455564406" sldId="2147482685"/>
            <ac:grpSpMk id="84" creationId="{3E5717E0-C655-AF3A-DAEC-DEA3D4C2BCD8}"/>
          </ac:grpSpMkLst>
        </pc:grpChg>
        <pc:grpChg chg="add del mod">
          <ac:chgData name="Sai Arvind" userId="4be58695-eae9-4703-8993-7d37aad53b21" providerId="ADAL" clId="{996FF9A9-C974-443F-8618-837E1F831A03}" dt="2024-06-18T05:57:09.313" v="2190"/>
          <ac:grpSpMkLst>
            <pc:docMk/>
            <pc:sldMk cId="455564406" sldId="2147482685"/>
            <ac:grpSpMk id="85" creationId="{D4248AC5-306C-4B64-C9BD-37714F4A296D}"/>
          </ac:grpSpMkLst>
        </pc:grpChg>
        <pc:grpChg chg="add del mod">
          <ac:chgData name="Sai Arvind" userId="4be58695-eae9-4703-8993-7d37aad53b21" providerId="ADAL" clId="{996FF9A9-C974-443F-8618-837E1F831A03}" dt="2024-06-18T05:57:09.313" v="2190"/>
          <ac:grpSpMkLst>
            <pc:docMk/>
            <pc:sldMk cId="455564406" sldId="2147482685"/>
            <ac:grpSpMk id="86" creationId="{ED399FDF-1779-A7F0-ADFB-C043F382FE7D}"/>
          </ac:grpSpMkLst>
        </pc:grpChg>
        <pc:grpChg chg="add del mod">
          <ac:chgData name="Sai Arvind" userId="4be58695-eae9-4703-8993-7d37aad53b21" providerId="ADAL" clId="{996FF9A9-C974-443F-8618-837E1F831A03}" dt="2024-06-18T05:57:09.313" v="2190"/>
          <ac:grpSpMkLst>
            <pc:docMk/>
            <pc:sldMk cId="455564406" sldId="2147482685"/>
            <ac:grpSpMk id="87" creationId="{C1948768-B1F5-5069-8537-70CB1227E1D0}"/>
          </ac:grpSpMkLst>
        </pc:grpChg>
        <pc:grpChg chg="add del mod">
          <ac:chgData name="Sai Arvind" userId="4be58695-eae9-4703-8993-7d37aad53b21" providerId="ADAL" clId="{996FF9A9-C974-443F-8618-837E1F831A03}" dt="2024-06-18T05:57:09.313" v="2190"/>
          <ac:grpSpMkLst>
            <pc:docMk/>
            <pc:sldMk cId="455564406" sldId="2147482685"/>
            <ac:grpSpMk id="88" creationId="{D4F4CADD-E769-3DE9-D7AA-38C2F2112906}"/>
          </ac:grpSpMkLst>
        </pc:grpChg>
        <pc:grpChg chg="add del mod">
          <ac:chgData name="Sai Arvind" userId="4be58695-eae9-4703-8993-7d37aad53b21" providerId="ADAL" clId="{996FF9A9-C974-443F-8618-837E1F831A03}" dt="2024-06-18T05:57:09.313" v="2190"/>
          <ac:grpSpMkLst>
            <pc:docMk/>
            <pc:sldMk cId="455564406" sldId="2147482685"/>
            <ac:grpSpMk id="89" creationId="{3C5B3A6A-4319-F6EA-A70E-5F8CA33B1CA7}"/>
          </ac:grpSpMkLst>
        </pc:grpChg>
        <pc:grpChg chg="add del mod">
          <ac:chgData name="Sai Arvind" userId="4be58695-eae9-4703-8993-7d37aad53b21" providerId="ADAL" clId="{996FF9A9-C974-443F-8618-837E1F831A03}" dt="2024-06-18T05:57:09.313" v="2190"/>
          <ac:grpSpMkLst>
            <pc:docMk/>
            <pc:sldMk cId="455564406" sldId="2147482685"/>
            <ac:grpSpMk id="90" creationId="{4EA593B3-BF03-53FF-868D-87E7E728E0D2}"/>
          </ac:grpSpMkLst>
        </pc:grpChg>
        <pc:grpChg chg="add del mod">
          <ac:chgData name="Sai Arvind" userId="4be58695-eae9-4703-8993-7d37aad53b21" providerId="ADAL" clId="{996FF9A9-C974-443F-8618-837E1F831A03}" dt="2024-06-18T05:57:09.313" v="2190"/>
          <ac:grpSpMkLst>
            <pc:docMk/>
            <pc:sldMk cId="455564406" sldId="2147482685"/>
            <ac:grpSpMk id="91" creationId="{F7CEB4B2-925A-9F26-10F9-6EC9121F7A75}"/>
          </ac:grpSpMkLst>
        </pc:grpChg>
        <pc:grpChg chg="add del mod">
          <ac:chgData name="Sai Arvind" userId="4be58695-eae9-4703-8993-7d37aad53b21" providerId="ADAL" clId="{996FF9A9-C974-443F-8618-837E1F831A03}" dt="2024-06-18T05:57:01.894" v="2189"/>
          <ac:grpSpMkLst>
            <pc:docMk/>
            <pc:sldMk cId="455564406" sldId="2147482685"/>
            <ac:grpSpMk id="92" creationId="{ADA5FEEC-7BC0-11E8-4146-9B014A611534}"/>
          </ac:grpSpMkLst>
        </pc:grpChg>
        <pc:grpChg chg="add del mod">
          <ac:chgData name="Sai Arvind" userId="4be58695-eae9-4703-8993-7d37aad53b21" providerId="ADAL" clId="{996FF9A9-C974-443F-8618-837E1F831A03}" dt="2024-06-18T05:57:01.894" v="2189"/>
          <ac:grpSpMkLst>
            <pc:docMk/>
            <pc:sldMk cId="455564406" sldId="2147482685"/>
            <ac:grpSpMk id="93" creationId="{FD520F95-DD5C-9639-AECB-1ED73949BCD1}"/>
          </ac:grpSpMkLst>
        </pc:grpChg>
        <pc:grpChg chg="add del mod">
          <ac:chgData name="Sai Arvind" userId="4be58695-eae9-4703-8993-7d37aad53b21" providerId="ADAL" clId="{996FF9A9-C974-443F-8618-837E1F831A03}" dt="2024-06-18T05:57:01.894" v="2189"/>
          <ac:grpSpMkLst>
            <pc:docMk/>
            <pc:sldMk cId="455564406" sldId="2147482685"/>
            <ac:grpSpMk id="94" creationId="{BABA82AB-6553-BAAE-5976-6F98A76135C4}"/>
          </ac:grpSpMkLst>
        </pc:grpChg>
        <pc:grpChg chg="add del mod">
          <ac:chgData name="Sai Arvind" userId="4be58695-eae9-4703-8993-7d37aad53b21" providerId="ADAL" clId="{996FF9A9-C974-443F-8618-837E1F831A03}" dt="2024-06-18T05:57:01.894" v="2189"/>
          <ac:grpSpMkLst>
            <pc:docMk/>
            <pc:sldMk cId="455564406" sldId="2147482685"/>
            <ac:grpSpMk id="95" creationId="{BAAF0FB1-BCB7-EEA4-34A7-0F9B35AD19C3}"/>
          </ac:grpSpMkLst>
        </pc:grpChg>
        <pc:grpChg chg="add del mod">
          <ac:chgData name="Sai Arvind" userId="4be58695-eae9-4703-8993-7d37aad53b21" providerId="ADAL" clId="{996FF9A9-C974-443F-8618-837E1F831A03}" dt="2024-06-18T05:57:01.894" v="2189"/>
          <ac:grpSpMkLst>
            <pc:docMk/>
            <pc:sldMk cId="455564406" sldId="2147482685"/>
            <ac:grpSpMk id="96" creationId="{158DCD70-1ADA-37BC-ACAF-A2AA7A71F3EF}"/>
          </ac:grpSpMkLst>
        </pc:grpChg>
        <pc:grpChg chg="add del mod">
          <ac:chgData name="Sai Arvind" userId="4be58695-eae9-4703-8993-7d37aad53b21" providerId="ADAL" clId="{996FF9A9-C974-443F-8618-837E1F831A03}" dt="2024-06-18T05:57:01.894" v="2189"/>
          <ac:grpSpMkLst>
            <pc:docMk/>
            <pc:sldMk cId="455564406" sldId="2147482685"/>
            <ac:grpSpMk id="97" creationId="{E15C20AA-4D35-16AA-4FB1-B9C8A23314AF}"/>
          </ac:grpSpMkLst>
        </pc:grpChg>
        <pc:grpChg chg="add del mod">
          <ac:chgData name="Sai Arvind" userId="4be58695-eae9-4703-8993-7d37aad53b21" providerId="ADAL" clId="{996FF9A9-C974-443F-8618-837E1F831A03}" dt="2024-06-18T05:57:01.894" v="2189"/>
          <ac:grpSpMkLst>
            <pc:docMk/>
            <pc:sldMk cId="455564406" sldId="2147482685"/>
            <ac:grpSpMk id="98" creationId="{E5A98233-80A7-CA00-E48B-AEF1948113E2}"/>
          </ac:grpSpMkLst>
        </pc:grpChg>
        <pc:grpChg chg="add del mod topLvl">
          <ac:chgData name="Sai Arvind" userId="4be58695-eae9-4703-8993-7d37aad53b21" providerId="ADAL" clId="{996FF9A9-C974-443F-8618-837E1F831A03}" dt="2024-06-18T05:57:32.445" v="2200"/>
          <ac:grpSpMkLst>
            <pc:docMk/>
            <pc:sldMk cId="455564406" sldId="2147482685"/>
            <ac:grpSpMk id="99" creationId="{0E37692D-A5CC-B9C9-B4BF-BF94CAC0C204}"/>
          </ac:grpSpMkLst>
        </pc:grpChg>
        <pc:grpChg chg="add del mod topLvl">
          <ac:chgData name="Sai Arvind" userId="4be58695-eae9-4703-8993-7d37aad53b21" providerId="ADAL" clId="{996FF9A9-C974-443F-8618-837E1F831A03}" dt="2024-06-18T05:57:32.445" v="2200"/>
          <ac:grpSpMkLst>
            <pc:docMk/>
            <pc:sldMk cId="455564406" sldId="2147482685"/>
            <ac:grpSpMk id="100" creationId="{37CCD4FB-3813-85F1-94E3-E70B4D3A3FE0}"/>
          </ac:grpSpMkLst>
        </pc:grpChg>
        <pc:grpChg chg="add del mod topLvl">
          <ac:chgData name="Sai Arvind" userId="4be58695-eae9-4703-8993-7d37aad53b21" providerId="ADAL" clId="{996FF9A9-C974-443F-8618-837E1F831A03}" dt="2024-06-18T05:57:32.445" v="2200"/>
          <ac:grpSpMkLst>
            <pc:docMk/>
            <pc:sldMk cId="455564406" sldId="2147482685"/>
            <ac:grpSpMk id="101" creationId="{79C0D9AE-E044-5862-DF03-11F5FE163C3C}"/>
          </ac:grpSpMkLst>
        </pc:grpChg>
        <pc:grpChg chg="add del mod topLvl">
          <ac:chgData name="Sai Arvind" userId="4be58695-eae9-4703-8993-7d37aad53b21" providerId="ADAL" clId="{996FF9A9-C974-443F-8618-837E1F831A03}" dt="2024-06-18T05:57:32.445" v="2200"/>
          <ac:grpSpMkLst>
            <pc:docMk/>
            <pc:sldMk cId="455564406" sldId="2147482685"/>
            <ac:grpSpMk id="102" creationId="{73870D6A-75EE-890F-8C1F-0B1AACB8D457}"/>
          </ac:grpSpMkLst>
        </pc:grpChg>
        <pc:grpChg chg="add del mod topLvl">
          <ac:chgData name="Sai Arvind" userId="4be58695-eae9-4703-8993-7d37aad53b21" providerId="ADAL" clId="{996FF9A9-C974-443F-8618-837E1F831A03}" dt="2024-06-18T05:57:32.445" v="2200"/>
          <ac:grpSpMkLst>
            <pc:docMk/>
            <pc:sldMk cId="455564406" sldId="2147482685"/>
            <ac:grpSpMk id="103" creationId="{C2BB4373-D68B-F0AB-8795-1BB138C71E7C}"/>
          </ac:grpSpMkLst>
        </pc:grpChg>
        <pc:grpChg chg="add del mod topLvl">
          <ac:chgData name="Sai Arvind" userId="4be58695-eae9-4703-8993-7d37aad53b21" providerId="ADAL" clId="{996FF9A9-C974-443F-8618-837E1F831A03}" dt="2024-06-18T05:57:32.445" v="2200"/>
          <ac:grpSpMkLst>
            <pc:docMk/>
            <pc:sldMk cId="455564406" sldId="2147482685"/>
            <ac:grpSpMk id="104" creationId="{934C8B0D-5905-BE1F-0420-2204807941D9}"/>
          </ac:grpSpMkLst>
        </pc:grpChg>
        <pc:grpChg chg="add del mod topLvl">
          <ac:chgData name="Sai Arvind" userId="4be58695-eae9-4703-8993-7d37aad53b21" providerId="ADAL" clId="{996FF9A9-C974-443F-8618-837E1F831A03}" dt="2024-06-18T05:57:32.445" v="2200"/>
          <ac:grpSpMkLst>
            <pc:docMk/>
            <pc:sldMk cId="455564406" sldId="2147482685"/>
            <ac:grpSpMk id="105" creationId="{8D9560D5-3B09-25BA-EAD9-B6F68A686BBF}"/>
          </ac:grpSpMkLst>
        </pc:grpChg>
        <pc:grpChg chg="add del mod topLvl">
          <ac:chgData name="Sai Arvind" userId="4be58695-eae9-4703-8993-7d37aad53b21" providerId="ADAL" clId="{996FF9A9-C974-443F-8618-837E1F831A03}" dt="2024-06-18T05:57:32.445" v="2200"/>
          <ac:grpSpMkLst>
            <pc:docMk/>
            <pc:sldMk cId="455564406" sldId="2147482685"/>
            <ac:grpSpMk id="106" creationId="{80D37905-8E1C-7033-D924-7A8651FE05E8}"/>
          </ac:grpSpMkLst>
        </pc:grpChg>
        <pc:grpChg chg="add del mod topLvl">
          <ac:chgData name="Sai Arvind" userId="4be58695-eae9-4703-8993-7d37aad53b21" providerId="ADAL" clId="{996FF9A9-C974-443F-8618-837E1F831A03}" dt="2024-06-18T05:57:32.445" v="2200"/>
          <ac:grpSpMkLst>
            <pc:docMk/>
            <pc:sldMk cId="455564406" sldId="2147482685"/>
            <ac:grpSpMk id="107" creationId="{50986136-A922-7CE0-D786-E67E9F9F71F2}"/>
          </ac:grpSpMkLst>
        </pc:grpChg>
        <pc:grpChg chg="add del mod topLvl">
          <ac:chgData name="Sai Arvind" userId="4be58695-eae9-4703-8993-7d37aad53b21" providerId="ADAL" clId="{996FF9A9-C974-443F-8618-837E1F831A03}" dt="2024-06-18T05:57:32.445" v="2200"/>
          <ac:grpSpMkLst>
            <pc:docMk/>
            <pc:sldMk cId="455564406" sldId="2147482685"/>
            <ac:grpSpMk id="108" creationId="{E3697961-A13D-6A46-693B-971BABAA6798}"/>
          </ac:grpSpMkLst>
        </pc:grpChg>
        <pc:grpChg chg="add del mod topLvl">
          <ac:chgData name="Sai Arvind" userId="4be58695-eae9-4703-8993-7d37aad53b21" providerId="ADAL" clId="{996FF9A9-C974-443F-8618-837E1F831A03}" dt="2024-06-18T05:57:32.445" v="2200"/>
          <ac:grpSpMkLst>
            <pc:docMk/>
            <pc:sldMk cId="455564406" sldId="2147482685"/>
            <ac:grpSpMk id="109" creationId="{A7311AEA-819B-5C0D-4AA0-D5C5E2A977E3}"/>
          </ac:grpSpMkLst>
        </pc:grpChg>
        <pc:grpChg chg="add del mod topLvl">
          <ac:chgData name="Sai Arvind" userId="4be58695-eae9-4703-8993-7d37aad53b21" providerId="ADAL" clId="{996FF9A9-C974-443F-8618-837E1F831A03}" dt="2024-06-18T05:57:32.445" v="2200"/>
          <ac:grpSpMkLst>
            <pc:docMk/>
            <pc:sldMk cId="455564406" sldId="2147482685"/>
            <ac:grpSpMk id="110" creationId="{F443DD80-7B24-B432-6EFA-7554555AF980}"/>
          </ac:grpSpMkLst>
        </pc:grpChg>
        <pc:grpChg chg="add del mod topLvl">
          <ac:chgData name="Sai Arvind" userId="4be58695-eae9-4703-8993-7d37aad53b21" providerId="ADAL" clId="{996FF9A9-C974-443F-8618-837E1F831A03}" dt="2024-06-18T05:57:32.445" v="2200"/>
          <ac:grpSpMkLst>
            <pc:docMk/>
            <pc:sldMk cId="455564406" sldId="2147482685"/>
            <ac:grpSpMk id="111" creationId="{6E678EC1-7935-9CB8-08D3-5DAC26D35DB7}"/>
          </ac:grpSpMkLst>
        </pc:grpChg>
        <pc:grpChg chg="add del mod topLvl">
          <ac:chgData name="Sai Arvind" userId="4be58695-eae9-4703-8993-7d37aad53b21" providerId="ADAL" clId="{996FF9A9-C974-443F-8618-837E1F831A03}" dt="2024-06-18T05:57:32.445" v="2200"/>
          <ac:grpSpMkLst>
            <pc:docMk/>
            <pc:sldMk cId="455564406" sldId="2147482685"/>
            <ac:grpSpMk id="112" creationId="{37C18B4F-13CF-D1FA-E9FB-A6BC9B4F8407}"/>
          </ac:grpSpMkLst>
        </pc:grpChg>
        <pc:grpChg chg="add del mod">
          <ac:chgData name="Sai Arvind" userId="4be58695-eae9-4703-8993-7d37aad53b21" providerId="ADAL" clId="{996FF9A9-C974-443F-8618-837E1F831A03}" dt="2024-06-18T05:57:25.867" v="2196"/>
          <ac:grpSpMkLst>
            <pc:docMk/>
            <pc:sldMk cId="455564406" sldId="2147482685"/>
            <ac:grpSpMk id="113" creationId="{6423B5DC-0358-44A8-854E-F9A5161F857C}"/>
          </ac:grpSpMkLst>
        </pc:grpChg>
        <pc:grpChg chg="add del mod">
          <ac:chgData name="Sai Arvind" userId="4be58695-eae9-4703-8993-7d37aad53b21" providerId="ADAL" clId="{996FF9A9-C974-443F-8618-837E1F831A03}" dt="2024-06-18T05:57:31.895" v="2199"/>
          <ac:grpSpMkLst>
            <pc:docMk/>
            <pc:sldMk cId="455564406" sldId="2147482685"/>
            <ac:grpSpMk id="114" creationId="{27542E79-A473-AF10-D4ED-9B3C2471ABBE}"/>
          </ac:grpSpMkLst>
        </pc:grpChg>
        <pc:grpChg chg="add mod topLvl">
          <ac:chgData name="Sai Arvind" userId="4be58695-eae9-4703-8993-7d37aad53b21" providerId="ADAL" clId="{996FF9A9-C974-443F-8618-837E1F831A03}" dt="2024-06-18T05:58:37.907" v="2271"/>
          <ac:grpSpMkLst>
            <pc:docMk/>
            <pc:sldMk cId="455564406" sldId="2147482685"/>
            <ac:grpSpMk id="115" creationId="{1AA53E4E-2E0F-A5CD-AD04-759BEB655159}"/>
          </ac:grpSpMkLst>
        </pc:grpChg>
        <pc:grpChg chg="add mod topLvl">
          <ac:chgData name="Sai Arvind" userId="4be58695-eae9-4703-8993-7d37aad53b21" providerId="ADAL" clId="{996FF9A9-C974-443F-8618-837E1F831A03}" dt="2024-06-18T05:58:37.907" v="2271"/>
          <ac:grpSpMkLst>
            <pc:docMk/>
            <pc:sldMk cId="455564406" sldId="2147482685"/>
            <ac:grpSpMk id="116" creationId="{EC8BE481-C5E5-A006-E057-F8B7F4DCB422}"/>
          </ac:grpSpMkLst>
        </pc:grpChg>
        <pc:grpChg chg="add mod topLvl">
          <ac:chgData name="Sai Arvind" userId="4be58695-eae9-4703-8993-7d37aad53b21" providerId="ADAL" clId="{996FF9A9-C974-443F-8618-837E1F831A03}" dt="2024-06-18T05:58:37.907" v="2271"/>
          <ac:grpSpMkLst>
            <pc:docMk/>
            <pc:sldMk cId="455564406" sldId="2147482685"/>
            <ac:grpSpMk id="117" creationId="{02CF2B70-407F-0AC5-BAD4-9A99DA8F3649}"/>
          </ac:grpSpMkLst>
        </pc:grpChg>
        <pc:grpChg chg="add mod topLvl">
          <ac:chgData name="Sai Arvind" userId="4be58695-eae9-4703-8993-7d37aad53b21" providerId="ADAL" clId="{996FF9A9-C974-443F-8618-837E1F831A03}" dt="2024-06-18T05:58:37.907" v="2271"/>
          <ac:grpSpMkLst>
            <pc:docMk/>
            <pc:sldMk cId="455564406" sldId="2147482685"/>
            <ac:grpSpMk id="118" creationId="{46C83A3A-5B5B-1E7B-1564-F98BEA2648BC}"/>
          </ac:grpSpMkLst>
        </pc:grpChg>
        <pc:grpChg chg="add mod topLvl">
          <ac:chgData name="Sai Arvind" userId="4be58695-eae9-4703-8993-7d37aad53b21" providerId="ADAL" clId="{996FF9A9-C974-443F-8618-837E1F831A03}" dt="2024-06-18T05:58:37.907" v="2271"/>
          <ac:grpSpMkLst>
            <pc:docMk/>
            <pc:sldMk cId="455564406" sldId="2147482685"/>
            <ac:grpSpMk id="119" creationId="{3FE246FB-78DA-5D4B-2AC8-79B618D9D0B5}"/>
          </ac:grpSpMkLst>
        </pc:grpChg>
        <pc:grpChg chg="add mod topLvl">
          <ac:chgData name="Sai Arvind" userId="4be58695-eae9-4703-8993-7d37aad53b21" providerId="ADAL" clId="{996FF9A9-C974-443F-8618-837E1F831A03}" dt="2024-06-18T05:58:37.907" v="2271"/>
          <ac:grpSpMkLst>
            <pc:docMk/>
            <pc:sldMk cId="455564406" sldId="2147482685"/>
            <ac:grpSpMk id="120" creationId="{5CBDFFED-2E1F-9EAA-97A0-C8C54937ECD1}"/>
          </ac:grpSpMkLst>
        </pc:grpChg>
        <pc:grpChg chg="add mod topLvl">
          <ac:chgData name="Sai Arvind" userId="4be58695-eae9-4703-8993-7d37aad53b21" providerId="ADAL" clId="{996FF9A9-C974-443F-8618-837E1F831A03}" dt="2024-06-18T05:58:37.907" v="2271"/>
          <ac:grpSpMkLst>
            <pc:docMk/>
            <pc:sldMk cId="455564406" sldId="2147482685"/>
            <ac:grpSpMk id="121" creationId="{AA3752DB-FE94-A9D3-BDE0-4E06372D0BE9}"/>
          </ac:grpSpMkLst>
        </pc:grpChg>
        <pc:grpChg chg="add mod topLvl">
          <ac:chgData name="Sai Arvind" userId="4be58695-eae9-4703-8993-7d37aad53b21" providerId="ADAL" clId="{996FF9A9-C974-443F-8618-837E1F831A03}" dt="2024-06-18T05:58:37.907" v="2271"/>
          <ac:grpSpMkLst>
            <pc:docMk/>
            <pc:sldMk cId="455564406" sldId="2147482685"/>
            <ac:grpSpMk id="122" creationId="{33C98E16-95AE-38C2-00C2-761B89E40015}"/>
          </ac:grpSpMkLst>
        </pc:grpChg>
        <pc:grpChg chg="add mod topLvl">
          <ac:chgData name="Sai Arvind" userId="4be58695-eae9-4703-8993-7d37aad53b21" providerId="ADAL" clId="{996FF9A9-C974-443F-8618-837E1F831A03}" dt="2024-06-18T05:58:37.907" v="2271"/>
          <ac:grpSpMkLst>
            <pc:docMk/>
            <pc:sldMk cId="455564406" sldId="2147482685"/>
            <ac:grpSpMk id="123" creationId="{A80C9584-290F-049B-4302-1672CCDEA4CC}"/>
          </ac:grpSpMkLst>
        </pc:grpChg>
        <pc:grpChg chg="add mod topLvl">
          <ac:chgData name="Sai Arvind" userId="4be58695-eae9-4703-8993-7d37aad53b21" providerId="ADAL" clId="{996FF9A9-C974-443F-8618-837E1F831A03}" dt="2024-06-18T05:58:37.907" v="2271"/>
          <ac:grpSpMkLst>
            <pc:docMk/>
            <pc:sldMk cId="455564406" sldId="2147482685"/>
            <ac:grpSpMk id="124" creationId="{8887C964-9829-56EC-AB52-B6F8EF2C1116}"/>
          </ac:grpSpMkLst>
        </pc:grpChg>
        <pc:grpChg chg="add mod topLvl">
          <ac:chgData name="Sai Arvind" userId="4be58695-eae9-4703-8993-7d37aad53b21" providerId="ADAL" clId="{996FF9A9-C974-443F-8618-837E1F831A03}" dt="2024-06-18T05:58:37.907" v="2271"/>
          <ac:grpSpMkLst>
            <pc:docMk/>
            <pc:sldMk cId="455564406" sldId="2147482685"/>
            <ac:grpSpMk id="125" creationId="{6A7552F9-356D-2462-8B38-5887A7CBE9A1}"/>
          </ac:grpSpMkLst>
        </pc:grpChg>
        <pc:grpChg chg="add mod topLvl">
          <ac:chgData name="Sai Arvind" userId="4be58695-eae9-4703-8993-7d37aad53b21" providerId="ADAL" clId="{996FF9A9-C974-443F-8618-837E1F831A03}" dt="2024-06-18T05:58:37.907" v="2271"/>
          <ac:grpSpMkLst>
            <pc:docMk/>
            <pc:sldMk cId="455564406" sldId="2147482685"/>
            <ac:grpSpMk id="126" creationId="{268199EE-A465-4D4A-3E00-9CCB8F575AA3}"/>
          </ac:grpSpMkLst>
        </pc:grpChg>
        <pc:grpChg chg="add mod topLvl">
          <ac:chgData name="Sai Arvind" userId="4be58695-eae9-4703-8993-7d37aad53b21" providerId="ADAL" clId="{996FF9A9-C974-443F-8618-837E1F831A03}" dt="2024-06-18T05:58:37.907" v="2271"/>
          <ac:grpSpMkLst>
            <pc:docMk/>
            <pc:sldMk cId="455564406" sldId="2147482685"/>
            <ac:grpSpMk id="127" creationId="{8A968F81-88D2-686D-17F8-DB5C81B62E59}"/>
          </ac:grpSpMkLst>
        </pc:grpChg>
        <pc:grpChg chg="add mod topLvl">
          <ac:chgData name="Sai Arvind" userId="4be58695-eae9-4703-8993-7d37aad53b21" providerId="ADAL" clId="{996FF9A9-C974-443F-8618-837E1F831A03}" dt="2024-06-18T05:58:37.907" v="2271"/>
          <ac:grpSpMkLst>
            <pc:docMk/>
            <pc:sldMk cId="455564406" sldId="2147482685"/>
            <ac:grpSpMk id="128" creationId="{91CF365D-6280-DDB6-5E99-546BD7BDEC25}"/>
          </ac:grpSpMkLst>
        </pc:grpChg>
        <pc:grpChg chg="add del mod">
          <ac:chgData name="Sai Arvind" userId="4be58695-eae9-4703-8993-7d37aad53b21" providerId="ADAL" clId="{996FF9A9-C974-443F-8618-837E1F831A03}" dt="2024-06-18T05:58:37.907" v="2271"/>
          <ac:grpSpMkLst>
            <pc:docMk/>
            <pc:sldMk cId="455564406" sldId="2147482685"/>
            <ac:grpSpMk id="129" creationId="{2BE7A61A-BF45-29B0-197A-A56DD3B9C43D}"/>
          </ac:grpSpMkLst>
        </pc:grpChg>
        <pc:grpChg chg="add del mod">
          <ac:chgData name="Sai Arvind" userId="4be58695-eae9-4703-8993-7d37aad53b21" providerId="ADAL" clId="{996FF9A9-C974-443F-8618-837E1F831A03}" dt="2024-06-18T05:58:49.635" v="2275"/>
          <ac:grpSpMkLst>
            <pc:docMk/>
            <pc:sldMk cId="455564406" sldId="2147482685"/>
            <ac:grpSpMk id="136" creationId="{BCC3359B-6DDB-89E6-B315-583C640959FE}"/>
          </ac:grpSpMkLst>
        </pc:grpChg>
        <pc:grpChg chg="add del mod">
          <ac:chgData name="Sai Arvind" userId="4be58695-eae9-4703-8993-7d37aad53b21" providerId="ADAL" clId="{996FF9A9-C974-443F-8618-837E1F831A03}" dt="2024-06-18T05:58:49.635" v="2275"/>
          <ac:grpSpMkLst>
            <pc:docMk/>
            <pc:sldMk cId="455564406" sldId="2147482685"/>
            <ac:grpSpMk id="139" creationId="{29FA93BB-1129-90E8-AD3A-04144D8B3838}"/>
          </ac:grpSpMkLst>
        </pc:grpChg>
        <pc:grpChg chg="add del mod">
          <ac:chgData name="Sai Arvind" userId="4be58695-eae9-4703-8993-7d37aad53b21" providerId="ADAL" clId="{996FF9A9-C974-443F-8618-837E1F831A03}" dt="2024-06-18T05:58:49.635" v="2275"/>
          <ac:grpSpMkLst>
            <pc:docMk/>
            <pc:sldMk cId="455564406" sldId="2147482685"/>
            <ac:grpSpMk id="142" creationId="{42DA2BD1-4A7C-7C81-B32F-D5188F822B0E}"/>
          </ac:grpSpMkLst>
        </pc:grpChg>
        <pc:grpChg chg="add del mod">
          <ac:chgData name="Sai Arvind" userId="4be58695-eae9-4703-8993-7d37aad53b21" providerId="ADAL" clId="{996FF9A9-C974-443F-8618-837E1F831A03}" dt="2024-06-18T05:58:49.635" v="2275"/>
          <ac:grpSpMkLst>
            <pc:docMk/>
            <pc:sldMk cId="455564406" sldId="2147482685"/>
            <ac:grpSpMk id="145" creationId="{B1E139C1-E5E0-F47B-7820-9175A6B3790D}"/>
          </ac:grpSpMkLst>
        </pc:grpChg>
        <pc:grpChg chg="add del mod">
          <ac:chgData name="Sai Arvind" userId="4be58695-eae9-4703-8993-7d37aad53b21" providerId="ADAL" clId="{996FF9A9-C974-443F-8618-837E1F831A03}" dt="2024-06-18T05:58:49.635" v="2275"/>
          <ac:grpSpMkLst>
            <pc:docMk/>
            <pc:sldMk cId="455564406" sldId="2147482685"/>
            <ac:grpSpMk id="148" creationId="{57A4432F-38D8-81D8-681D-F0FCAF57FD70}"/>
          </ac:grpSpMkLst>
        </pc:grpChg>
        <pc:grpChg chg="add del mod">
          <ac:chgData name="Sai Arvind" userId="4be58695-eae9-4703-8993-7d37aad53b21" providerId="ADAL" clId="{996FF9A9-C974-443F-8618-837E1F831A03}" dt="2024-06-18T05:58:49.635" v="2275"/>
          <ac:grpSpMkLst>
            <pc:docMk/>
            <pc:sldMk cId="455564406" sldId="2147482685"/>
            <ac:grpSpMk id="151" creationId="{3E2F6FF6-80AB-BB1E-5775-491A00B56BCA}"/>
          </ac:grpSpMkLst>
        </pc:grpChg>
        <pc:grpChg chg="add del mod">
          <ac:chgData name="Sai Arvind" userId="4be58695-eae9-4703-8993-7d37aad53b21" providerId="ADAL" clId="{996FF9A9-C974-443F-8618-837E1F831A03}" dt="2024-06-18T05:58:49.635" v="2275"/>
          <ac:grpSpMkLst>
            <pc:docMk/>
            <pc:sldMk cId="455564406" sldId="2147482685"/>
            <ac:grpSpMk id="154" creationId="{83797A7F-595D-3484-C992-001B64662C38}"/>
          </ac:grpSpMkLst>
        </pc:grpChg>
        <pc:grpChg chg="add mod">
          <ac:chgData name="Sai Arvind" userId="4be58695-eae9-4703-8993-7d37aad53b21" providerId="ADAL" clId="{996FF9A9-C974-443F-8618-837E1F831A03}" dt="2024-06-18T06:00:39.964" v="2315" actId="1076"/>
          <ac:grpSpMkLst>
            <pc:docMk/>
            <pc:sldMk cId="455564406" sldId="2147482685"/>
            <ac:grpSpMk id="157" creationId="{CE341CA5-C173-519D-A014-6DFC8D41E2B4}"/>
          </ac:grpSpMkLst>
        </pc:grpChg>
        <pc:grpChg chg="add mod">
          <ac:chgData name="Sai Arvind" userId="4be58695-eae9-4703-8993-7d37aad53b21" providerId="ADAL" clId="{996FF9A9-C974-443F-8618-837E1F831A03}" dt="2024-06-18T06:00:39.964" v="2315" actId="1076"/>
          <ac:grpSpMkLst>
            <pc:docMk/>
            <pc:sldMk cId="455564406" sldId="2147482685"/>
            <ac:grpSpMk id="158" creationId="{68D14105-307C-600C-ED71-F7CAA8AB71CC}"/>
          </ac:grpSpMkLst>
        </pc:grpChg>
        <pc:grpChg chg="add mod">
          <ac:chgData name="Sai Arvind" userId="4be58695-eae9-4703-8993-7d37aad53b21" providerId="ADAL" clId="{996FF9A9-C974-443F-8618-837E1F831A03}" dt="2024-06-18T06:00:39.964" v="2315" actId="1076"/>
          <ac:grpSpMkLst>
            <pc:docMk/>
            <pc:sldMk cId="455564406" sldId="2147482685"/>
            <ac:grpSpMk id="159" creationId="{58BCE9B3-4187-57FC-E73C-52257730FE9B}"/>
          </ac:grpSpMkLst>
        </pc:grpChg>
        <pc:grpChg chg="add mod">
          <ac:chgData name="Sai Arvind" userId="4be58695-eae9-4703-8993-7d37aad53b21" providerId="ADAL" clId="{996FF9A9-C974-443F-8618-837E1F831A03}" dt="2024-06-18T06:00:39.964" v="2315" actId="1076"/>
          <ac:grpSpMkLst>
            <pc:docMk/>
            <pc:sldMk cId="455564406" sldId="2147482685"/>
            <ac:grpSpMk id="160" creationId="{839A6BD3-B577-51B4-46EB-4E0B1A52E457}"/>
          </ac:grpSpMkLst>
        </pc:grpChg>
        <pc:grpChg chg="add mod">
          <ac:chgData name="Sai Arvind" userId="4be58695-eae9-4703-8993-7d37aad53b21" providerId="ADAL" clId="{996FF9A9-C974-443F-8618-837E1F831A03}" dt="2024-06-18T06:00:39.964" v="2315" actId="1076"/>
          <ac:grpSpMkLst>
            <pc:docMk/>
            <pc:sldMk cId="455564406" sldId="2147482685"/>
            <ac:grpSpMk id="161" creationId="{FC96F84B-2367-05ED-989C-D80FFACE6E3B}"/>
          </ac:grpSpMkLst>
        </pc:grpChg>
        <pc:grpChg chg="add mod">
          <ac:chgData name="Sai Arvind" userId="4be58695-eae9-4703-8993-7d37aad53b21" providerId="ADAL" clId="{996FF9A9-C974-443F-8618-837E1F831A03}" dt="2024-06-18T06:00:39.964" v="2315" actId="1076"/>
          <ac:grpSpMkLst>
            <pc:docMk/>
            <pc:sldMk cId="455564406" sldId="2147482685"/>
            <ac:grpSpMk id="162" creationId="{AA2E9175-5B82-CADB-D03B-881F95EF4ED4}"/>
          </ac:grpSpMkLst>
        </pc:grpChg>
        <pc:grpChg chg="add mod">
          <ac:chgData name="Sai Arvind" userId="4be58695-eae9-4703-8993-7d37aad53b21" providerId="ADAL" clId="{996FF9A9-C974-443F-8618-837E1F831A03}" dt="2024-06-18T06:00:39.964" v="2315" actId="1076"/>
          <ac:grpSpMkLst>
            <pc:docMk/>
            <pc:sldMk cId="455564406" sldId="2147482685"/>
            <ac:grpSpMk id="163" creationId="{B8BCDD13-B500-A48F-18C5-6D8B03C39AC2}"/>
          </ac:grpSpMkLst>
        </pc:grpChg>
        <pc:grpChg chg="add del mod">
          <ac:chgData name="Sai Arvind" userId="4be58695-eae9-4703-8993-7d37aad53b21" providerId="ADAL" clId="{996FF9A9-C974-443F-8618-837E1F831A03}" dt="2024-06-18T06:01:49.617" v="2326"/>
          <ac:grpSpMkLst>
            <pc:docMk/>
            <pc:sldMk cId="455564406" sldId="2147482685"/>
            <ac:grpSpMk id="167" creationId="{F2714850-97F9-7204-2EBD-63F87241D17E}"/>
          </ac:grpSpMkLst>
        </pc:grpChg>
        <pc:grpChg chg="add del mod">
          <ac:chgData name="Sai Arvind" userId="4be58695-eae9-4703-8993-7d37aad53b21" providerId="ADAL" clId="{996FF9A9-C974-443F-8618-837E1F831A03}" dt="2024-06-18T06:02:00.177" v="2338"/>
          <ac:grpSpMkLst>
            <pc:docMk/>
            <pc:sldMk cId="455564406" sldId="2147482685"/>
            <ac:grpSpMk id="168" creationId="{49822FC2-1C79-FA39-638C-2D7496202B94}"/>
          </ac:grpSpMkLst>
        </pc:grpChg>
        <pc:grpChg chg="add del mod">
          <ac:chgData name="Sai Arvind" userId="4be58695-eae9-4703-8993-7d37aad53b21" providerId="ADAL" clId="{996FF9A9-C974-443F-8618-837E1F831A03}" dt="2024-06-18T06:06:31.163" v="2505"/>
          <ac:grpSpMkLst>
            <pc:docMk/>
            <pc:sldMk cId="455564406" sldId="2147482685"/>
            <ac:grpSpMk id="170" creationId="{C2CB7EAB-D73C-A3EA-708F-640DD912662E}"/>
          </ac:grpSpMkLst>
        </pc:grpChg>
        <pc:grpChg chg="add del mod">
          <ac:chgData name="Sai Arvind" userId="4be58695-eae9-4703-8993-7d37aad53b21" providerId="ADAL" clId="{996FF9A9-C974-443F-8618-837E1F831A03}" dt="2024-06-18T06:06:41.314" v="2514"/>
          <ac:grpSpMkLst>
            <pc:docMk/>
            <pc:sldMk cId="455564406" sldId="2147482685"/>
            <ac:grpSpMk id="171" creationId="{F39EB3DD-E691-344C-E247-3ED859B6700B}"/>
          </ac:grpSpMkLst>
        </pc:grpChg>
        <pc:grpChg chg="add del mod">
          <ac:chgData name="Sai Arvind" userId="4be58695-eae9-4703-8993-7d37aad53b21" providerId="ADAL" clId="{996FF9A9-C974-443F-8618-837E1F831A03}" dt="2024-06-18T06:06:45.448" v="2521"/>
          <ac:grpSpMkLst>
            <pc:docMk/>
            <pc:sldMk cId="455564406" sldId="2147482685"/>
            <ac:grpSpMk id="172" creationId="{38659461-F1D6-9DDD-3D65-2631A3B0AEF5}"/>
          </ac:grpSpMkLst>
        </pc:grpChg>
        <pc:grpChg chg="add del mod">
          <ac:chgData name="Sai Arvind" userId="4be58695-eae9-4703-8993-7d37aad53b21" providerId="ADAL" clId="{996FF9A9-C974-443F-8618-837E1F831A03}" dt="2024-06-18T06:06:49.860" v="2536"/>
          <ac:grpSpMkLst>
            <pc:docMk/>
            <pc:sldMk cId="455564406" sldId="2147482685"/>
            <ac:grpSpMk id="173" creationId="{6B31410F-E933-201C-5ECD-802D6A18AF1F}"/>
          </ac:grpSpMkLst>
        </pc:grpChg>
        <pc:grpChg chg="add del mod">
          <ac:chgData name="Sai Arvind" userId="4be58695-eae9-4703-8993-7d37aad53b21" providerId="ADAL" clId="{996FF9A9-C974-443F-8618-837E1F831A03}" dt="2024-06-18T06:08:01.260" v="2575"/>
          <ac:grpSpMkLst>
            <pc:docMk/>
            <pc:sldMk cId="455564406" sldId="2147482685"/>
            <ac:grpSpMk id="176" creationId="{BBD36452-85FB-3749-8A6C-B1E1E17184C7}"/>
          </ac:grpSpMkLst>
        </pc:grpChg>
        <pc:grpChg chg="add del mod">
          <ac:chgData name="Sai Arvind" userId="4be58695-eae9-4703-8993-7d37aad53b21" providerId="ADAL" clId="{996FF9A9-C974-443F-8618-837E1F831A03}" dt="2024-06-18T06:10:11.412" v="2637"/>
          <ac:grpSpMkLst>
            <pc:docMk/>
            <pc:sldMk cId="455564406" sldId="2147482685"/>
            <ac:grpSpMk id="177" creationId="{89FACBC1-5393-B4FA-070C-65997418CDAA}"/>
          </ac:grpSpMkLst>
        </pc:grpChg>
        <pc:grpChg chg="add del mod">
          <ac:chgData name="Sai Arvind" userId="4be58695-eae9-4703-8993-7d37aad53b21" providerId="ADAL" clId="{996FF9A9-C974-443F-8618-837E1F831A03}" dt="2024-06-18T06:10:11.412" v="2637"/>
          <ac:grpSpMkLst>
            <pc:docMk/>
            <pc:sldMk cId="455564406" sldId="2147482685"/>
            <ac:grpSpMk id="178" creationId="{E1D59401-C198-8153-E16D-41A22B42727A}"/>
          </ac:grpSpMkLst>
        </pc:grpChg>
        <pc:grpChg chg="add del mod">
          <ac:chgData name="Sai Arvind" userId="4be58695-eae9-4703-8993-7d37aad53b21" providerId="ADAL" clId="{996FF9A9-C974-443F-8618-837E1F831A03}" dt="2024-06-18T06:10:11.412" v="2637"/>
          <ac:grpSpMkLst>
            <pc:docMk/>
            <pc:sldMk cId="455564406" sldId="2147482685"/>
            <ac:grpSpMk id="181" creationId="{2CBA0613-E186-9E2A-9C12-060285B0A7B1}"/>
          </ac:grpSpMkLst>
        </pc:grpChg>
        <pc:grpChg chg="add del mod">
          <ac:chgData name="Sai Arvind" userId="4be58695-eae9-4703-8993-7d37aad53b21" providerId="ADAL" clId="{996FF9A9-C974-443F-8618-837E1F831A03}" dt="2024-06-18T06:10:11.412" v="2637"/>
          <ac:grpSpMkLst>
            <pc:docMk/>
            <pc:sldMk cId="455564406" sldId="2147482685"/>
            <ac:grpSpMk id="184" creationId="{A4ABBB9E-2AB7-8527-50DE-FB73DF0E84F3}"/>
          </ac:grpSpMkLst>
        </pc:grpChg>
        <pc:grpChg chg="add mod">
          <ac:chgData name="Sai Arvind" userId="4be58695-eae9-4703-8993-7d37aad53b21" providerId="ADAL" clId="{996FF9A9-C974-443F-8618-837E1F831A03}" dt="2024-06-18T06:10:23.155" v="2655" actId="338"/>
          <ac:grpSpMkLst>
            <pc:docMk/>
            <pc:sldMk cId="455564406" sldId="2147482685"/>
            <ac:grpSpMk id="187" creationId="{7E3EA4B4-F46D-2EEE-9825-957F84C34480}"/>
          </ac:grpSpMkLst>
        </pc:grpChg>
        <pc:grpChg chg="add mod">
          <ac:chgData name="Sai Arvind" userId="4be58695-eae9-4703-8993-7d37aad53b21" providerId="ADAL" clId="{996FF9A9-C974-443F-8618-837E1F831A03}" dt="2024-06-18T06:10:23.155" v="2655" actId="338"/>
          <ac:grpSpMkLst>
            <pc:docMk/>
            <pc:sldMk cId="455564406" sldId="2147482685"/>
            <ac:grpSpMk id="188" creationId="{22F6C938-3E39-ABEF-E133-83336E0B4E57}"/>
          </ac:grpSpMkLst>
        </pc:grpChg>
        <pc:grpChg chg="add mod">
          <ac:chgData name="Sai Arvind" userId="4be58695-eae9-4703-8993-7d37aad53b21" providerId="ADAL" clId="{996FF9A9-C974-443F-8618-837E1F831A03}" dt="2024-06-18T06:10:23.155" v="2655" actId="338"/>
          <ac:grpSpMkLst>
            <pc:docMk/>
            <pc:sldMk cId="455564406" sldId="2147482685"/>
            <ac:grpSpMk id="189" creationId="{3BCC9EB1-CDF9-FC85-9BBE-9A5D6D469C58}"/>
          </ac:grpSpMkLst>
        </pc:grpChg>
        <pc:grpChg chg="add mod">
          <ac:chgData name="Sai Arvind" userId="4be58695-eae9-4703-8993-7d37aad53b21" providerId="ADAL" clId="{996FF9A9-C974-443F-8618-837E1F831A03}" dt="2024-06-18T06:10:23.155" v="2655" actId="338"/>
          <ac:grpSpMkLst>
            <pc:docMk/>
            <pc:sldMk cId="455564406" sldId="2147482685"/>
            <ac:grpSpMk id="190" creationId="{8165A978-D0FD-8353-7C46-147CF259D69B}"/>
          </ac:grpSpMkLst>
        </pc:grpChg>
        <pc:cxnChg chg="add mod topLvl">
          <ac:chgData name="Sai Arvind" userId="4be58695-eae9-4703-8993-7d37aad53b21" providerId="ADAL" clId="{996FF9A9-C974-443F-8618-837E1F831A03}" dt="2024-06-18T05:58:37.907" v="2271"/>
          <ac:cxnSpMkLst>
            <pc:docMk/>
            <pc:sldMk cId="455564406" sldId="2147482685"/>
            <ac:cxnSpMk id="4" creationId="{EC716B1D-0C70-FBE7-D478-D4D1CA1BE259}"/>
          </ac:cxnSpMkLst>
        </pc:cxnChg>
        <pc:cxnChg chg="add mod topLvl">
          <ac:chgData name="Sai Arvind" userId="4be58695-eae9-4703-8993-7d37aad53b21" providerId="ADAL" clId="{996FF9A9-C974-443F-8618-837E1F831A03}" dt="2024-06-18T05:58:37.907" v="2271"/>
          <ac:cxnSpMkLst>
            <pc:docMk/>
            <pc:sldMk cId="455564406" sldId="2147482685"/>
            <ac:cxnSpMk id="5" creationId="{03B8EB03-3970-719E-EAFD-EE8278488BFD}"/>
          </ac:cxnSpMkLst>
        </pc:cxnChg>
        <pc:cxnChg chg="add mod topLvl">
          <ac:chgData name="Sai Arvind" userId="4be58695-eae9-4703-8993-7d37aad53b21" providerId="ADAL" clId="{996FF9A9-C974-443F-8618-837E1F831A03}" dt="2024-06-18T05:58:37.907" v="2271"/>
          <ac:cxnSpMkLst>
            <pc:docMk/>
            <pc:sldMk cId="455564406" sldId="2147482685"/>
            <ac:cxnSpMk id="9" creationId="{6888DE4F-CF16-B07A-84E8-48F04CE1B119}"/>
          </ac:cxnSpMkLst>
        </pc:cxnChg>
        <pc:cxnChg chg="add mod topLvl">
          <ac:chgData name="Sai Arvind" userId="4be58695-eae9-4703-8993-7d37aad53b21" providerId="ADAL" clId="{996FF9A9-C974-443F-8618-837E1F831A03}" dt="2024-06-18T05:58:37.907" v="2271"/>
          <ac:cxnSpMkLst>
            <pc:docMk/>
            <pc:sldMk cId="455564406" sldId="2147482685"/>
            <ac:cxnSpMk id="57" creationId="{5216BAE7-A263-64B9-8981-5C56EAE977B9}"/>
          </ac:cxnSpMkLst>
        </pc:cxnChg>
        <pc:cxnChg chg="add mod topLvl">
          <ac:chgData name="Sai Arvind" userId="4be58695-eae9-4703-8993-7d37aad53b21" providerId="ADAL" clId="{996FF9A9-C974-443F-8618-837E1F831A03}" dt="2024-06-18T05:58:37.907" v="2271"/>
          <ac:cxnSpMkLst>
            <pc:docMk/>
            <pc:sldMk cId="455564406" sldId="2147482685"/>
            <ac:cxnSpMk id="58" creationId="{184CB2FD-78E4-714A-F9F6-45828A2F0876}"/>
          </ac:cxnSpMkLst>
        </pc:cxnChg>
        <pc:cxnChg chg="add mod topLvl">
          <ac:chgData name="Sai Arvind" userId="4be58695-eae9-4703-8993-7d37aad53b21" providerId="ADAL" clId="{996FF9A9-C974-443F-8618-837E1F831A03}" dt="2024-06-18T05:58:37.907" v="2271"/>
          <ac:cxnSpMkLst>
            <pc:docMk/>
            <pc:sldMk cId="455564406" sldId="2147482685"/>
            <ac:cxnSpMk id="59" creationId="{CA5029DF-EECF-3ADC-33F0-364A06B5ACA6}"/>
          </ac:cxnSpMkLst>
        </pc:cxnChg>
        <pc:cxnChg chg="add mod topLvl">
          <ac:chgData name="Sai Arvind" userId="4be58695-eae9-4703-8993-7d37aad53b21" providerId="ADAL" clId="{996FF9A9-C974-443F-8618-837E1F831A03}" dt="2024-06-18T05:58:37.907" v="2271"/>
          <ac:cxnSpMkLst>
            <pc:docMk/>
            <pc:sldMk cId="455564406" sldId="2147482685"/>
            <ac:cxnSpMk id="60" creationId="{6BA3B8A5-5BC8-60E9-E61C-AEE6432D02A1}"/>
          </ac:cxnSpMkLst>
        </pc:cxnChg>
        <pc:cxnChg chg="add mod topLvl">
          <ac:chgData name="Sai Arvind" userId="4be58695-eae9-4703-8993-7d37aad53b21" providerId="ADAL" clId="{996FF9A9-C974-443F-8618-837E1F831A03}" dt="2024-06-18T05:58:37.907" v="2271"/>
          <ac:cxnSpMkLst>
            <pc:docMk/>
            <pc:sldMk cId="455564406" sldId="2147482685"/>
            <ac:cxnSpMk id="61" creationId="{5AE20944-8052-2441-DD28-A0CCDB7D033E}"/>
          </ac:cxnSpMkLst>
        </pc:cxnChg>
        <pc:cxnChg chg="add mod topLvl">
          <ac:chgData name="Sai Arvind" userId="4be58695-eae9-4703-8993-7d37aad53b21" providerId="ADAL" clId="{996FF9A9-C974-443F-8618-837E1F831A03}" dt="2024-06-18T05:58:37.907" v="2271"/>
          <ac:cxnSpMkLst>
            <pc:docMk/>
            <pc:sldMk cId="455564406" sldId="2147482685"/>
            <ac:cxnSpMk id="62" creationId="{DC8B5D64-4659-C8B0-1136-B2894644B2C8}"/>
          </ac:cxnSpMkLst>
        </pc:cxnChg>
        <pc:cxnChg chg="add mod topLvl">
          <ac:chgData name="Sai Arvind" userId="4be58695-eae9-4703-8993-7d37aad53b21" providerId="ADAL" clId="{996FF9A9-C974-443F-8618-837E1F831A03}" dt="2024-06-18T05:58:37.907" v="2271"/>
          <ac:cxnSpMkLst>
            <pc:docMk/>
            <pc:sldMk cId="455564406" sldId="2147482685"/>
            <ac:cxnSpMk id="66" creationId="{935D2BA5-E3A1-73B3-29C2-84CBD87C80A0}"/>
          </ac:cxnSpMkLst>
        </pc:cxnChg>
        <pc:cxnChg chg="add mod topLvl">
          <ac:chgData name="Sai Arvind" userId="4be58695-eae9-4703-8993-7d37aad53b21" providerId="ADAL" clId="{996FF9A9-C974-443F-8618-837E1F831A03}" dt="2024-06-18T05:58:37.907" v="2271"/>
          <ac:cxnSpMkLst>
            <pc:docMk/>
            <pc:sldMk cId="455564406" sldId="2147482685"/>
            <ac:cxnSpMk id="70" creationId="{971777FC-34D3-DD8E-A306-79318ED56F8D}"/>
          </ac:cxnSpMkLst>
        </pc:cxnChg>
        <pc:cxnChg chg="add mod topLvl">
          <ac:chgData name="Sai Arvind" userId="4be58695-eae9-4703-8993-7d37aad53b21" providerId="ADAL" clId="{996FF9A9-C974-443F-8618-837E1F831A03}" dt="2024-06-18T05:58:37.907" v="2271"/>
          <ac:cxnSpMkLst>
            <pc:docMk/>
            <pc:sldMk cId="455564406" sldId="2147482685"/>
            <ac:cxnSpMk id="74" creationId="{3C9D87F6-03CA-E987-2152-7E9C95CD9B0F}"/>
          </ac:cxnSpMkLst>
        </pc:cxnChg>
        <pc:cxnChg chg="add mod">
          <ac:chgData name="Sai Arvind" userId="4be58695-eae9-4703-8993-7d37aad53b21" providerId="ADAL" clId="{996FF9A9-C974-443F-8618-837E1F831A03}" dt="2024-06-18T06:00:39.964" v="2315" actId="1076"/>
          <ac:cxnSpMkLst>
            <pc:docMk/>
            <pc:sldMk cId="455564406" sldId="2147482685"/>
            <ac:cxnSpMk id="130" creationId="{2800B013-D239-15DA-D239-C1627648F044}"/>
          </ac:cxnSpMkLst>
        </pc:cxnChg>
        <pc:cxnChg chg="add mod">
          <ac:chgData name="Sai Arvind" userId="4be58695-eae9-4703-8993-7d37aad53b21" providerId="ADAL" clId="{996FF9A9-C974-443F-8618-837E1F831A03}" dt="2024-06-18T06:00:39.964" v="2315" actId="1076"/>
          <ac:cxnSpMkLst>
            <pc:docMk/>
            <pc:sldMk cId="455564406" sldId="2147482685"/>
            <ac:cxnSpMk id="131" creationId="{0144C9BD-4982-814B-D90C-8B36970D5546}"/>
          </ac:cxnSpMkLst>
        </pc:cxnChg>
        <pc:cxnChg chg="add mod">
          <ac:chgData name="Sai Arvind" userId="4be58695-eae9-4703-8993-7d37aad53b21" providerId="ADAL" clId="{996FF9A9-C974-443F-8618-837E1F831A03}" dt="2024-06-18T06:00:39.964" v="2315" actId="1076"/>
          <ac:cxnSpMkLst>
            <pc:docMk/>
            <pc:sldMk cId="455564406" sldId="2147482685"/>
            <ac:cxnSpMk id="132" creationId="{C5CA003A-E27B-6DF1-2F6D-462D0818E6A6}"/>
          </ac:cxnSpMkLst>
        </pc:cxnChg>
        <pc:cxnChg chg="add mod">
          <ac:chgData name="Sai Arvind" userId="4be58695-eae9-4703-8993-7d37aad53b21" providerId="ADAL" clId="{996FF9A9-C974-443F-8618-837E1F831A03}" dt="2024-06-18T06:00:39.964" v="2315" actId="1076"/>
          <ac:cxnSpMkLst>
            <pc:docMk/>
            <pc:sldMk cId="455564406" sldId="2147482685"/>
            <ac:cxnSpMk id="133" creationId="{BBB260BA-9798-5B0C-FAF6-60906E7A6AA9}"/>
          </ac:cxnSpMkLst>
        </pc:cxnChg>
        <pc:cxnChg chg="add mod">
          <ac:chgData name="Sai Arvind" userId="4be58695-eae9-4703-8993-7d37aad53b21" providerId="ADAL" clId="{996FF9A9-C974-443F-8618-837E1F831A03}" dt="2024-06-18T06:00:39.964" v="2315" actId="1076"/>
          <ac:cxnSpMkLst>
            <pc:docMk/>
            <pc:sldMk cId="455564406" sldId="2147482685"/>
            <ac:cxnSpMk id="134" creationId="{C0398EC5-8E4D-65CB-B046-33EF6470F971}"/>
          </ac:cxnSpMkLst>
        </pc:cxnChg>
        <pc:cxnChg chg="add mod">
          <ac:chgData name="Sai Arvind" userId="4be58695-eae9-4703-8993-7d37aad53b21" providerId="ADAL" clId="{996FF9A9-C974-443F-8618-837E1F831A03}" dt="2024-06-18T06:00:39.964" v="2315" actId="1076"/>
          <ac:cxnSpMkLst>
            <pc:docMk/>
            <pc:sldMk cId="455564406" sldId="2147482685"/>
            <ac:cxnSpMk id="135" creationId="{7D17E4BB-EDBD-7747-F2D1-907202959CCF}"/>
          </ac:cxnSpMkLst>
        </pc:cxnChg>
        <pc:cxnChg chg="add mod">
          <ac:chgData name="Sai Arvind" userId="4be58695-eae9-4703-8993-7d37aad53b21" providerId="ADAL" clId="{996FF9A9-C974-443F-8618-837E1F831A03}" dt="2024-06-18T06:01:14.869" v="2322" actId="208"/>
          <ac:cxnSpMkLst>
            <pc:docMk/>
            <pc:sldMk cId="455564406" sldId="2147482685"/>
            <ac:cxnSpMk id="164" creationId="{8B011A1E-E521-D131-D8C9-B4DE2CB8A939}"/>
          </ac:cxnSpMkLst>
        </pc:cxnChg>
      </pc:sldChg>
      <pc:sldChg chg="addSp delSp modSp mod modClrScheme chgLayout">
        <pc:chgData name="Sai Arvind" userId="4be58695-eae9-4703-8993-7d37aad53b21" providerId="ADAL" clId="{996FF9A9-C974-443F-8618-837E1F831A03}" dt="2024-06-18T06:20:38.061" v="2972" actId="14100"/>
        <pc:sldMkLst>
          <pc:docMk/>
          <pc:sldMk cId="2138237778" sldId="2147482688"/>
        </pc:sldMkLst>
        <pc:spChg chg="mod ord">
          <ac:chgData name="Sai Arvind" userId="4be58695-eae9-4703-8993-7d37aad53b21" providerId="ADAL" clId="{996FF9A9-C974-443F-8618-837E1F831A03}" dt="2024-06-18T06:19:17.802" v="2927" actId="139"/>
          <ac:spMkLst>
            <pc:docMk/>
            <pc:sldMk cId="2138237778" sldId="2147482688"/>
            <ac:spMk id="2" creationId="{F2F39935-05AF-A634-27A8-499EB349F9AF}"/>
          </ac:spMkLst>
        </pc:spChg>
        <pc:spChg chg="mod ord">
          <ac:chgData name="Sai Arvind" userId="4be58695-eae9-4703-8993-7d37aad53b21" providerId="ADAL" clId="{996FF9A9-C974-443F-8618-837E1F831A03}" dt="2024-06-18T06:19:16.402" v="2925" actId="6264"/>
          <ac:spMkLst>
            <pc:docMk/>
            <pc:sldMk cId="2138237778" sldId="2147482688"/>
            <ac:spMk id="4" creationId="{6BE7FC9A-3392-1344-BD93-493BB49841AF}"/>
          </ac:spMkLst>
        </pc:spChg>
        <pc:spChg chg="add del mod">
          <ac:chgData name="Sai Arvind" userId="4be58695-eae9-4703-8993-7d37aad53b21" providerId="ADAL" clId="{996FF9A9-C974-443F-8618-837E1F831A03}" dt="2024-06-18T06:19:16.402" v="2925" actId="6264"/>
          <ac:spMkLst>
            <pc:docMk/>
            <pc:sldMk cId="2138237778" sldId="2147482688"/>
            <ac:spMk id="5" creationId="{7FDEC5BA-7F89-B309-A307-FABA757B0B03}"/>
          </ac:spMkLst>
        </pc:spChg>
        <pc:spChg chg="add del mod">
          <ac:chgData name="Sai Arvind" userId="4be58695-eae9-4703-8993-7d37aad53b21" providerId="ADAL" clId="{996FF9A9-C974-443F-8618-837E1F831A03}" dt="2024-06-18T06:19:16.402" v="2925" actId="6264"/>
          <ac:spMkLst>
            <pc:docMk/>
            <pc:sldMk cId="2138237778" sldId="2147482688"/>
            <ac:spMk id="6" creationId="{8BA30218-3B41-721E-FDB8-032ADC356649}"/>
          </ac:spMkLst>
        </pc:spChg>
        <pc:spChg chg="add mod">
          <ac:chgData name="Sai Arvind" userId="4be58695-eae9-4703-8993-7d37aad53b21" providerId="ADAL" clId="{996FF9A9-C974-443F-8618-837E1F831A03}" dt="2024-06-18T06:20:11.539" v="2947"/>
          <ac:spMkLst>
            <pc:docMk/>
            <pc:sldMk cId="2138237778" sldId="2147482688"/>
            <ac:spMk id="7" creationId="{165BE0F3-951D-8DDC-3942-B36A20D79E20}"/>
          </ac:spMkLst>
        </pc:spChg>
        <pc:spChg chg="add mod">
          <ac:chgData name="Sai Arvind" userId="4be58695-eae9-4703-8993-7d37aad53b21" providerId="ADAL" clId="{996FF9A9-C974-443F-8618-837E1F831A03}" dt="2024-06-18T06:20:11.539" v="2946"/>
          <ac:spMkLst>
            <pc:docMk/>
            <pc:sldMk cId="2138237778" sldId="2147482688"/>
            <ac:spMk id="8" creationId="{30BC5FE5-CF25-51AA-AE3D-07948D38E876}"/>
          </ac:spMkLst>
        </pc:spChg>
        <pc:spChg chg="add mod">
          <ac:chgData name="Sai Arvind" userId="4be58695-eae9-4703-8993-7d37aad53b21" providerId="ADAL" clId="{996FF9A9-C974-443F-8618-837E1F831A03}" dt="2024-06-18T06:19:21.644" v="2929"/>
          <ac:spMkLst>
            <pc:docMk/>
            <pc:sldMk cId="2138237778" sldId="2147482688"/>
            <ac:spMk id="9" creationId="{26DF36A1-B4DD-06BC-8A97-C8097422C1A0}"/>
          </ac:spMkLst>
        </pc:spChg>
        <pc:spChg chg="del mod">
          <ac:chgData name="Sai Arvind" userId="4be58695-eae9-4703-8993-7d37aad53b21" providerId="ADAL" clId="{996FF9A9-C974-443F-8618-837E1F831A03}" dt="2024-06-18T06:19:44.432" v="2938" actId="478"/>
          <ac:spMkLst>
            <pc:docMk/>
            <pc:sldMk cId="2138237778" sldId="2147482688"/>
            <ac:spMk id="10" creationId="{21F4F1D9-4FA1-BD69-D258-0AE30C4B8C96}"/>
          </ac:spMkLst>
        </pc:spChg>
        <pc:spChg chg="add mod topLvl">
          <ac:chgData name="Sai Arvind" userId="4be58695-eae9-4703-8993-7d37aad53b21" providerId="ADAL" clId="{996FF9A9-C974-443F-8618-837E1F831A03}" dt="2024-06-18T06:20:23.189" v="2953"/>
          <ac:spMkLst>
            <pc:docMk/>
            <pc:sldMk cId="2138237778" sldId="2147482688"/>
            <ac:spMk id="11" creationId="{D787A82D-1BBD-44E3-E00C-7A60A41F2676}"/>
          </ac:spMkLst>
        </pc:spChg>
        <pc:spChg chg="add mod">
          <ac:chgData name="Sai Arvind" userId="4be58695-eae9-4703-8993-7d37aad53b21" providerId="ADAL" clId="{996FF9A9-C974-443F-8618-837E1F831A03}" dt="2024-06-18T06:20:32.128" v="2956" actId="14100"/>
          <ac:spMkLst>
            <pc:docMk/>
            <pc:sldMk cId="2138237778" sldId="2147482688"/>
            <ac:spMk id="12" creationId="{21626A84-BD35-939B-A601-CF0A2C3314A5}"/>
          </ac:spMkLst>
        </pc:spChg>
        <pc:spChg chg="add mod">
          <ac:chgData name="Sai Arvind" userId="4be58695-eae9-4703-8993-7d37aad53b21" providerId="ADAL" clId="{996FF9A9-C974-443F-8618-837E1F831A03}" dt="2024-06-18T06:20:00.409" v="2943" actId="14100"/>
          <ac:spMkLst>
            <pc:docMk/>
            <pc:sldMk cId="2138237778" sldId="2147482688"/>
            <ac:spMk id="13" creationId="{79C02CA0-9AD8-6358-6D16-734186F4E33D}"/>
          </ac:spMkLst>
        </pc:spChg>
        <pc:spChg chg="del mod">
          <ac:chgData name="Sai Arvind" userId="4be58695-eae9-4703-8993-7d37aad53b21" providerId="ADAL" clId="{996FF9A9-C974-443F-8618-837E1F831A03}" dt="2024-06-18T06:19:44.432" v="2938" actId="478"/>
          <ac:spMkLst>
            <pc:docMk/>
            <pc:sldMk cId="2138237778" sldId="2147482688"/>
            <ac:spMk id="16" creationId="{486D42F5-D0C2-F935-47D5-DFEC4DBBFC96}"/>
          </ac:spMkLst>
        </pc:spChg>
        <pc:spChg chg="del mod">
          <ac:chgData name="Sai Arvind" userId="4be58695-eae9-4703-8993-7d37aad53b21" providerId="ADAL" clId="{996FF9A9-C974-443F-8618-837E1F831A03}" dt="2024-06-18T06:19:44.432" v="2938" actId="478"/>
          <ac:spMkLst>
            <pc:docMk/>
            <pc:sldMk cId="2138237778" sldId="2147482688"/>
            <ac:spMk id="17" creationId="{60F564EA-CD32-D9CA-8D0E-3CE1D37F6DA7}"/>
          </ac:spMkLst>
        </pc:spChg>
        <pc:spChg chg="del mod">
          <ac:chgData name="Sai Arvind" userId="4be58695-eae9-4703-8993-7d37aad53b21" providerId="ADAL" clId="{996FF9A9-C974-443F-8618-837E1F831A03}" dt="2024-06-18T06:19:44.432" v="2938" actId="478"/>
          <ac:spMkLst>
            <pc:docMk/>
            <pc:sldMk cId="2138237778" sldId="2147482688"/>
            <ac:spMk id="18" creationId="{C20E949E-182E-7376-B673-B3E6C99F1697}"/>
          </ac:spMkLst>
        </pc:spChg>
        <pc:grpChg chg="add del mod">
          <ac:chgData name="Sai Arvind" userId="4be58695-eae9-4703-8993-7d37aad53b21" providerId="ADAL" clId="{996FF9A9-C974-443F-8618-837E1F831A03}" dt="2024-06-18T06:20:23.189" v="2953"/>
          <ac:grpSpMkLst>
            <pc:docMk/>
            <pc:sldMk cId="2138237778" sldId="2147482688"/>
            <ac:grpSpMk id="19" creationId="{AD8C2CA2-D766-E152-5ADD-A227B0C04B0B}"/>
          </ac:grpSpMkLst>
        </pc:grpChg>
        <pc:picChg chg="mod">
          <ac:chgData name="Sai Arvind" userId="4be58695-eae9-4703-8993-7d37aad53b21" providerId="ADAL" clId="{996FF9A9-C974-443F-8618-837E1F831A03}" dt="2024-06-18T06:20:38.061" v="2972" actId="14100"/>
          <ac:picMkLst>
            <pc:docMk/>
            <pc:sldMk cId="2138237778" sldId="2147482688"/>
            <ac:picMk id="3" creationId="{5A54BAF6-D939-3CB5-884E-6847817B03E1}"/>
          </ac:picMkLst>
        </pc:picChg>
        <pc:picChg chg="add mod">
          <ac:chgData name="Sai Arvind" userId="4be58695-eae9-4703-8993-7d37aad53b21" providerId="ADAL" clId="{996FF9A9-C974-443F-8618-837E1F831A03}" dt="2024-06-18T06:19:21.644" v="2929"/>
          <ac:picMkLst>
            <pc:docMk/>
            <pc:sldMk cId="2138237778" sldId="2147482688"/>
            <ac:picMk id="14" creationId="{395F5417-D2C3-C630-38F7-902C647408D0}"/>
          </ac:picMkLst>
        </pc:picChg>
        <pc:picChg chg="add mod topLvl">
          <ac:chgData name="Sai Arvind" userId="4be58695-eae9-4703-8993-7d37aad53b21" providerId="ADAL" clId="{996FF9A9-C974-443F-8618-837E1F831A03}" dt="2024-06-18T06:20:23.189" v="2953"/>
          <ac:picMkLst>
            <pc:docMk/>
            <pc:sldMk cId="2138237778" sldId="2147482688"/>
            <ac:picMk id="15" creationId="{5743DF82-19E9-0B66-07A8-2665F2E7E3DA}"/>
          </ac:picMkLst>
        </pc:picChg>
      </pc:sldChg>
      <pc:sldChg chg="addSp delSp modSp mod modClrScheme chgLayout">
        <pc:chgData name="Sai Arvind" userId="4be58695-eae9-4703-8993-7d37aad53b21" providerId="ADAL" clId="{996FF9A9-C974-443F-8618-837E1F831A03}" dt="2024-06-18T06:22:40.939" v="3071" actId="255"/>
        <pc:sldMkLst>
          <pc:docMk/>
          <pc:sldMk cId="696271254" sldId="2147482690"/>
        </pc:sldMkLst>
        <pc:spChg chg="mod ord">
          <ac:chgData name="Sai Arvind" userId="4be58695-eae9-4703-8993-7d37aad53b21" providerId="ADAL" clId="{996FF9A9-C974-443F-8618-837E1F831A03}" dt="2024-06-18T06:20:57.332" v="2976" actId="139"/>
          <ac:spMkLst>
            <pc:docMk/>
            <pc:sldMk cId="696271254" sldId="2147482690"/>
            <ac:spMk id="2" creationId="{F2F39935-05AF-A634-27A8-499EB349F9AF}"/>
          </ac:spMkLst>
        </pc:spChg>
        <pc:spChg chg="add mod">
          <ac:chgData name="Sai Arvind" userId="4be58695-eae9-4703-8993-7d37aad53b21" providerId="ADAL" clId="{996FF9A9-C974-443F-8618-837E1F831A03}" dt="2024-06-18T06:20:58.196" v="2977"/>
          <ac:spMkLst>
            <pc:docMk/>
            <pc:sldMk cId="696271254" sldId="2147482690"/>
            <ac:spMk id="3" creationId="{327E90A3-81CC-8593-91C4-E1F4FDFEF8A0}"/>
          </ac:spMkLst>
        </pc:spChg>
        <pc:spChg chg="mod ord">
          <ac:chgData name="Sai Arvind" userId="4be58695-eae9-4703-8993-7d37aad53b21" providerId="ADAL" clId="{996FF9A9-C974-443F-8618-837E1F831A03}" dt="2024-06-18T06:20:55.293" v="2974" actId="700"/>
          <ac:spMkLst>
            <pc:docMk/>
            <pc:sldMk cId="696271254" sldId="2147482690"/>
            <ac:spMk id="4" creationId="{6BE7FC9A-3392-1344-BD93-493BB49841AF}"/>
          </ac:spMkLst>
        </pc:spChg>
        <pc:spChg chg="add mod">
          <ac:chgData name="Sai Arvind" userId="4be58695-eae9-4703-8993-7d37aad53b21" providerId="ADAL" clId="{996FF9A9-C974-443F-8618-837E1F831A03}" dt="2024-06-18T06:20:58.196" v="2977"/>
          <ac:spMkLst>
            <pc:docMk/>
            <pc:sldMk cId="696271254" sldId="2147482690"/>
            <ac:spMk id="6" creationId="{620172CA-D638-C992-F780-5FC67542B85A}"/>
          </ac:spMkLst>
        </pc:spChg>
        <pc:spChg chg="add mod">
          <ac:chgData name="Sai Arvind" userId="4be58695-eae9-4703-8993-7d37aad53b21" providerId="ADAL" clId="{996FF9A9-C974-443F-8618-837E1F831A03}" dt="2024-06-18T06:20:58.196" v="2977"/>
          <ac:spMkLst>
            <pc:docMk/>
            <pc:sldMk cId="696271254" sldId="2147482690"/>
            <ac:spMk id="7" creationId="{0BF98CE0-93A1-0830-7366-F0D2D8232642}"/>
          </ac:spMkLst>
        </pc:spChg>
        <pc:spChg chg="add mod">
          <ac:chgData name="Sai Arvind" userId="4be58695-eae9-4703-8993-7d37aad53b21" providerId="ADAL" clId="{996FF9A9-C974-443F-8618-837E1F831A03}" dt="2024-06-18T06:22:40.939" v="3071" actId="255"/>
          <ac:spMkLst>
            <pc:docMk/>
            <pc:sldMk cId="696271254" sldId="2147482690"/>
            <ac:spMk id="8" creationId="{1FB684D5-0C23-371B-90B6-41143695646C}"/>
          </ac:spMkLst>
        </pc:spChg>
        <pc:spChg chg="add mod">
          <ac:chgData name="Sai Arvind" userId="4be58695-eae9-4703-8993-7d37aad53b21" providerId="ADAL" clId="{996FF9A9-C974-443F-8618-837E1F831A03}" dt="2024-06-18T06:22:40.939" v="3071" actId="255"/>
          <ac:spMkLst>
            <pc:docMk/>
            <pc:sldMk cId="696271254" sldId="2147482690"/>
            <ac:spMk id="9" creationId="{A8764802-6463-9FED-D301-0A3E1D57B9AE}"/>
          </ac:spMkLst>
        </pc:spChg>
        <pc:spChg chg="del mod">
          <ac:chgData name="Sai Arvind" userId="4be58695-eae9-4703-8993-7d37aad53b21" providerId="ADAL" clId="{996FF9A9-C974-443F-8618-837E1F831A03}" dt="2024-06-18T06:22:09.735" v="3059" actId="478"/>
          <ac:spMkLst>
            <pc:docMk/>
            <pc:sldMk cId="696271254" sldId="2147482690"/>
            <ac:spMk id="10" creationId="{21F4F1D9-4FA1-BD69-D258-0AE30C4B8C96}"/>
          </ac:spMkLst>
        </pc:spChg>
        <pc:spChg chg="add mod">
          <ac:chgData name="Sai Arvind" userId="4be58695-eae9-4703-8993-7d37aad53b21" providerId="ADAL" clId="{996FF9A9-C974-443F-8618-837E1F831A03}" dt="2024-06-18T06:20:58.196" v="2977"/>
          <ac:spMkLst>
            <pc:docMk/>
            <pc:sldMk cId="696271254" sldId="2147482690"/>
            <ac:spMk id="12" creationId="{19C0C884-3059-4215-650A-8F27A7C3DD77}"/>
          </ac:spMkLst>
        </pc:spChg>
        <pc:spChg chg="del mod">
          <ac:chgData name="Sai Arvind" userId="4be58695-eae9-4703-8993-7d37aad53b21" providerId="ADAL" clId="{996FF9A9-C974-443F-8618-837E1F831A03}" dt="2024-06-18T06:22:09.735" v="3059" actId="478"/>
          <ac:spMkLst>
            <pc:docMk/>
            <pc:sldMk cId="696271254" sldId="2147482690"/>
            <ac:spMk id="16" creationId="{486D42F5-D0C2-F935-47D5-DFEC4DBBFC96}"/>
          </ac:spMkLst>
        </pc:spChg>
        <pc:spChg chg="del mod">
          <ac:chgData name="Sai Arvind" userId="4be58695-eae9-4703-8993-7d37aad53b21" providerId="ADAL" clId="{996FF9A9-C974-443F-8618-837E1F831A03}" dt="2024-06-18T06:22:09.735" v="3059" actId="478"/>
          <ac:spMkLst>
            <pc:docMk/>
            <pc:sldMk cId="696271254" sldId="2147482690"/>
            <ac:spMk id="17" creationId="{60F564EA-CD32-D9CA-8D0E-3CE1D37F6DA7}"/>
          </ac:spMkLst>
        </pc:spChg>
        <pc:spChg chg="del mod">
          <ac:chgData name="Sai Arvind" userId="4be58695-eae9-4703-8993-7d37aad53b21" providerId="ADAL" clId="{996FF9A9-C974-443F-8618-837E1F831A03}" dt="2024-06-18T06:22:09.735" v="3059" actId="478"/>
          <ac:spMkLst>
            <pc:docMk/>
            <pc:sldMk cId="696271254" sldId="2147482690"/>
            <ac:spMk id="18" creationId="{C20E949E-182E-7376-B673-B3E6C99F1697}"/>
          </ac:spMkLst>
        </pc:spChg>
        <pc:picChg chg="mod">
          <ac:chgData name="Sai Arvind" userId="4be58695-eae9-4703-8993-7d37aad53b21" providerId="ADAL" clId="{996FF9A9-C974-443F-8618-837E1F831A03}" dt="2024-06-18T06:22:22.647" v="3069" actId="1035"/>
          <ac:picMkLst>
            <pc:docMk/>
            <pc:sldMk cId="696271254" sldId="2147482690"/>
            <ac:picMk id="5" creationId="{77B2C34F-8D4E-3779-CC73-79E29610CBFC}"/>
          </ac:picMkLst>
        </pc:picChg>
        <pc:picChg chg="add mod">
          <ac:chgData name="Sai Arvind" userId="4be58695-eae9-4703-8993-7d37aad53b21" providerId="ADAL" clId="{996FF9A9-C974-443F-8618-837E1F831A03}" dt="2024-06-18T06:20:58.196" v="2977"/>
          <ac:picMkLst>
            <pc:docMk/>
            <pc:sldMk cId="696271254" sldId="2147482690"/>
            <ac:picMk id="11" creationId="{9F3B448E-F103-9740-AC0C-0AA1B074AECF}"/>
          </ac:picMkLst>
        </pc:picChg>
        <pc:picChg chg="add mod">
          <ac:chgData name="Sai Arvind" userId="4be58695-eae9-4703-8993-7d37aad53b21" providerId="ADAL" clId="{996FF9A9-C974-443F-8618-837E1F831A03}" dt="2024-06-18T06:20:58.196" v="2977"/>
          <ac:picMkLst>
            <pc:docMk/>
            <pc:sldMk cId="696271254" sldId="2147482690"/>
            <ac:picMk id="13" creationId="{49A33EAF-4687-860D-86D1-CB0FB23BE9A7}"/>
          </ac:picMkLst>
        </pc:picChg>
      </pc:sldChg>
      <pc:sldChg chg="addSp delSp modSp mod modClrScheme chgLayout">
        <pc:chgData name="Sai Arvind" userId="4be58695-eae9-4703-8993-7d37aad53b21" providerId="ADAL" clId="{996FF9A9-C974-443F-8618-837E1F831A03}" dt="2024-06-18T06:23:20.581" v="3088" actId="1076"/>
        <pc:sldMkLst>
          <pc:docMk/>
          <pc:sldMk cId="2936270770" sldId="2147482692"/>
        </pc:sldMkLst>
        <pc:spChg chg="mod ord">
          <ac:chgData name="Sai Arvind" userId="4be58695-eae9-4703-8993-7d37aad53b21" providerId="ADAL" clId="{996FF9A9-C974-443F-8618-837E1F831A03}" dt="2024-06-18T06:22:55.575" v="3077" actId="139"/>
          <ac:spMkLst>
            <pc:docMk/>
            <pc:sldMk cId="2936270770" sldId="2147482692"/>
            <ac:spMk id="2" creationId="{F2F39935-05AF-A634-27A8-499EB349F9AF}"/>
          </ac:spMkLst>
        </pc:spChg>
        <pc:spChg chg="mod ord">
          <ac:chgData name="Sai Arvind" userId="4be58695-eae9-4703-8993-7d37aad53b21" providerId="ADAL" clId="{996FF9A9-C974-443F-8618-837E1F831A03}" dt="2024-06-18T06:22:53.996" v="3075" actId="6264"/>
          <ac:spMkLst>
            <pc:docMk/>
            <pc:sldMk cId="2936270770" sldId="2147482692"/>
            <ac:spMk id="4" creationId="{6BE7FC9A-3392-1344-BD93-493BB49841AF}"/>
          </ac:spMkLst>
        </pc:spChg>
        <pc:spChg chg="add mod">
          <ac:chgData name="Sai Arvind" userId="4be58695-eae9-4703-8993-7d37aad53b21" providerId="ADAL" clId="{996FF9A9-C974-443F-8618-837E1F831A03}" dt="2024-06-18T06:22:50.214" v="3073"/>
          <ac:spMkLst>
            <pc:docMk/>
            <pc:sldMk cId="2936270770" sldId="2147482692"/>
            <ac:spMk id="5" creationId="{14170532-82E7-8B98-7EA9-BB93D2A522B5}"/>
          </ac:spMkLst>
        </pc:spChg>
        <pc:spChg chg="add mod">
          <ac:chgData name="Sai Arvind" userId="4be58695-eae9-4703-8993-7d37aad53b21" providerId="ADAL" clId="{996FF9A9-C974-443F-8618-837E1F831A03}" dt="2024-06-18T06:22:50.214" v="3073"/>
          <ac:spMkLst>
            <pc:docMk/>
            <pc:sldMk cId="2936270770" sldId="2147482692"/>
            <ac:spMk id="6" creationId="{8C5FC258-E315-FD3B-B4F8-0D07D697420E}"/>
          </ac:spMkLst>
        </pc:spChg>
        <pc:spChg chg="add mod">
          <ac:chgData name="Sai Arvind" userId="4be58695-eae9-4703-8993-7d37aad53b21" providerId="ADAL" clId="{996FF9A9-C974-443F-8618-837E1F831A03}" dt="2024-06-18T06:22:50.214" v="3073"/>
          <ac:spMkLst>
            <pc:docMk/>
            <pc:sldMk cId="2936270770" sldId="2147482692"/>
            <ac:spMk id="7" creationId="{59BEEF01-A1C1-D5A9-2C77-3463D0C500A3}"/>
          </ac:spMkLst>
        </pc:spChg>
        <pc:spChg chg="add mod">
          <ac:chgData name="Sai Arvind" userId="4be58695-eae9-4703-8993-7d37aad53b21" providerId="ADAL" clId="{996FF9A9-C974-443F-8618-837E1F831A03}" dt="2024-06-18T06:23:09.020" v="3083"/>
          <ac:spMkLst>
            <pc:docMk/>
            <pc:sldMk cId="2936270770" sldId="2147482692"/>
            <ac:spMk id="8" creationId="{A6E25AE2-8116-DEBB-62B7-849243DE3C07}"/>
          </ac:spMkLst>
        </pc:spChg>
        <pc:spChg chg="add mod">
          <ac:chgData name="Sai Arvind" userId="4be58695-eae9-4703-8993-7d37aad53b21" providerId="ADAL" clId="{996FF9A9-C974-443F-8618-837E1F831A03}" dt="2024-06-18T06:23:01.756" v="3080"/>
          <ac:spMkLst>
            <pc:docMk/>
            <pc:sldMk cId="2936270770" sldId="2147482692"/>
            <ac:spMk id="9" creationId="{B8BA9A63-D212-942F-3A0F-8DE86F8C8C81}"/>
          </ac:spMkLst>
        </pc:spChg>
        <pc:spChg chg="del mod">
          <ac:chgData name="Sai Arvind" userId="4be58695-eae9-4703-8993-7d37aad53b21" providerId="ADAL" clId="{996FF9A9-C974-443F-8618-837E1F831A03}" dt="2024-06-18T06:23:12.671" v="3084" actId="478"/>
          <ac:spMkLst>
            <pc:docMk/>
            <pc:sldMk cId="2936270770" sldId="2147482692"/>
            <ac:spMk id="10" creationId="{21F4F1D9-4FA1-BD69-D258-0AE30C4B8C96}"/>
          </ac:spMkLst>
        </pc:spChg>
        <pc:spChg chg="add mod">
          <ac:chgData name="Sai Arvind" userId="4be58695-eae9-4703-8993-7d37aad53b21" providerId="ADAL" clId="{996FF9A9-C974-443F-8618-837E1F831A03}" dt="2024-06-18T06:22:50.214" v="3073"/>
          <ac:spMkLst>
            <pc:docMk/>
            <pc:sldMk cId="2936270770" sldId="2147482692"/>
            <ac:spMk id="12" creationId="{A03AD86B-F71D-BBB9-0AE1-834EBF760FE8}"/>
          </ac:spMkLst>
        </pc:spChg>
        <pc:spChg chg="add del mod">
          <ac:chgData name="Sai Arvind" userId="4be58695-eae9-4703-8993-7d37aad53b21" providerId="ADAL" clId="{996FF9A9-C974-443F-8618-837E1F831A03}" dt="2024-06-18T06:22:53.996" v="3075" actId="6264"/>
          <ac:spMkLst>
            <pc:docMk/>
            <pc:sldMk cId="2936270770" sldId="2147482692"/>
            <ac:spMk id="14" creationId="{3F4DA970-7982-F38A-68EF-DC83E5F9C8B3}"/>
          </ac:spMkLst>
        </pc:spChg>
        <pc:spChg chg="add del mod">
          <ac:chgData name="Sai Arvind" userId="4be58695-eae9-4703-8993-7d37aad53b21" providerId="ADAL" clId="{996FF9A9-C974-443F-8618-837E1F831A03}" dt="2024-06-18T06:22:53.996" v="3075" actId="6264"/>
          <ac:spMkLst>
            <pc:docMk/>
            <pc:sldMk cId="2936270770" sldId="2147482692"/>
            <ac:spMk id="15" creationId="{DBD4EFF5-0FF4-FB90-EA37-5D6324B97D61}"/>
          </ac:spMkLst>
        </pc:spChg>
        <pc:spChg chg="del mod">
          <ac:chgData name="Sai Arvind" userId="4be58695-eae9-4703-8993-7d37aad53b21" providerId="ADAL" clId="{996FF9A9-C974-443F-8618-837E1F831A03}" dt="2024-06-18T06:23:12.671" v="3084" actId="478"/>
          <ac:spMkLst>
            <pc:docMk/>
            <pc:sldMk cId="2936270770" sldId="2147482692"/>
            <ac:spMk id="16" creationId="{486D42F5-D0C2-F935-47D5-DFEC4DBBFC96}"/>
          </ac:spMkLst>
        </pc:spChg>
        <pc:spChg chg="del mod">
          <ac:chgData name="Sai Arvind" userId="4be58695-eae9-4703-8993-7d37aad53b21" providerId="ADAL" clId="{996FF9A9-C974-443F-8618-837E1F831A03}" dt="2024-06-18T06:23:12.671" v="3084" actId="478"/>
          <ac:spMkLst>
            <pc:docMk/>
            <pc:sldMk cId="2936270770" sldId="2147482692"/>
            <ac:spMk id="17" creationId="{60F564EA-CD32-D9CA-8D0E-3CE1D37F6DA7}"/>
          </ac:spMkLst>
        </pc:spChg>
        <pc:spChg chg="del mod">
          <ac:chgData name="Sai Arvind" userId="4be58695-eae9-4703-8993-7d37aad53b21" providerId="ADAL" clId="{996FF9A9-C974-443F-8618-837E1F831A03}" dt="2024-06-18T06:23:12.671" v="3084" actId="478"/>
          <ac:spMkLst>
            <pc:docMk/>
            <pc:sldMk cId="2936270770" sldId="2147482692"/>
            <ac:spMk id="18" creationId="{C20E949E-182E-7376-B673-B3E6C99F1697}"/>
          </ac:spMkLst>
        </pc:spChg>
        <pc:picChg chg="mod">
          <ac:chgData name="Sai Arvind" userId="4be58695-eae9-4703-8993-7d37aad53b21" providerId="ADAL" clId="{996FF9A9-C974-443F-8618-837E1F831A03}" dt="2024-06-18T06:23:20.581" v="3088" actId="1076"/>
          <ac:picMkLst>
            <pc:docMk/>
            <pc:sldMk cId="2936270770" sldId="2147482692"/>
            <ac:picMk id="3" creationId="{71C94A1B-A3E5-7F41-A031-5E9BC35B99D6}"/>
          </ac:picMkLst>
        </pc:picChg>
        <pc:picChg chg="add mod">
          <ac:chgData name="Sai Arvind" userId="4be58695-eae9-4703-8993-7d37aad53b21" providerId="ADAL" clId="{996FF9A9-C974-443F-8618-837E1F831A03}" dt="2024-06-18T06:22:50.214" v="3073"/>
          <ac:picMkLst>
            <pc:docMk/>
            <pc:sldMk cId="2936270770" sldId="2147482692"/>
            <ac:picMk id="11" creationId="{7F0F9995-E74D-96AC-3934-C5A321A8C5F7}"/>
          </ac:picMkLst>
        </pc:picChg>
        <pc:picChg chg="add mod">
          <ac:chgData name="Sai Arvind" userId="4be58695-eae9-4703-8993-7d37aad53b21" providerId="ADAL" clId="{996FF9A9-C974-443F-8618-837E1F831A03}" dt="2024-06-18T06:22:50.214" v="3073"/>
          <ac:picMkLst>
            <pc:docMk/>
            <pc:sldMk cId="2936270770" sldId="2147482692"/>
            <ac:picMk id="13" creationId="{B047CA39-C80B-EEC6-9C68-29901B813029}"/>
          </ac:picMkLst>
        </pc:picChg>
      </pc:sldChg>
      <pc:sldChg chg="addSp delSp modSp mod modClrScheme chgLayout">
        <pc:chgData name="Sai Arvind" userId="4be58695-eae9-4703-8993-7d37aad53b21" providerId="ADAL" clId="{996FF9A9-C974-443F-8618-837E1F831A03}" dt="2024-06-18T06:32:17.782" v="3461" actId="1036"/>
        <pc:sldMkLst>
          <pc:docMk/>
          <pc:sldMk cId="2846337546" sldId="2147482693"/>
        </pc:sldMkLst>
        <pc:spChg chg="mod ord">
          <ac:chgData name="Sai Arvind" userId="4be58695-eae9-4703-8993-7d37aad53b21" providerId="ADAL" clId="{996FF9A9-C974-443F-8618-837E1F831A03}" dt="2024-06-18T06:23:46.540" v="3092" actId="139"/>
          <ac:spMkLst>
            <pc:docMk/>
            <pc:sldMk cId="2846337546" sldId="2147482693"/>
            <ac:spMk id="2" creationId="{6AC12E71-8344-700C-2D85-D021B891B0B4}"/>
          </ac:spMkLst>
        </pc:spChg>
        <pc:spChg chg="del mod">
          <ac:chgData name="Sai Arvind" userId="4be58695-eae9-4703-8993-7d37aad53b21" providerId="ADAL" clId="{996FF9A9-C974-443F-8618-837E1F831A03}" dt="2024-06-18T06:29:47.530" v="3380" actId="478"/>
          <ac:spMkLst>
            <pc:docMk/>
            <pc:sldMk cId="2846337546" sldId="2147482693"/>
            <ac:spMk id="3" creationId="{2A90B303-4826-B369-6BCA-9F541524CDA5}"/>
          </ac:spMkLst>
        </pc:spChg>
        <pc:spChg chg="add del mod ord">
          <ac:chgData name="Sai Arvind" userId="4be58695-eae9-4703-8993-7d37aad53b21" providerId="ADAL" clId="{996FF9A9-C974-443F-8618-837E1F831A03}" dt="2024-06-18T06:23:45.014" v="3090" actId="6264"/>
          <ac:spMkLst>
            <pc:docMk/>
            <pc:sldMk cId="2846337546" sldId="2147482693"/>
            <ac:spMk id="4" creationId="{1DA4B5E6-1D6B-9FA4-0FC5-817FD17F8EFC}"/>
          </ac:spMkLst>
        </pc:spChg>
        <pc:spChg chg="add del mod">
          <ac:chgData name="Sai Arvind" userId="4be58695-eae9-4703-8993-7d37aad53b21" providerId="ADAL" clId="{996FF9A9-C974-443F-8618-837E1F831A03}" dt="2024-06-18T06:23:45.014" v="3090" actId="6264"/>
          <ac:spMkLst>
            <pc:docMk/>
            <pc:sldMk cId="2846337546" sldId="2147482693"/>
            <ac:spMk id="5" creationId="{1244C3D3-7E23-5A9A-46A0-5C4323EC32FC}"/>
          </ac:spMkLst>
        </pc:spChg>
        <pc:spChg chg="add del mod ord">
          <ac:chgData name="Sai Arvind" userId="4be58695-eae9-4703-8993-7d37aad53b21" providerId="ADAL" clId="{996FF9A9-C974-443F-8618-837E1F831A03}" dt="2024-06-18T06:25:45.666" v="3124" actId="478"/>
          <ac:spMkLst>
            <pc:docMk/>
            <pc:sldMk cId="2846337546" sldId="2147482693"/>
            <ac:spMk id="6" creationId="{9C0E6F3E-D23C-DFAA-39C5-216E1A27BB7E}"/>
          </ac:spMkLst>
        </pc:spChg>
        <pc:spChg chg="add mod ord topLvl">
          <ac:chgData name="Sai Arvind" userId="4be58695-eae9-4703-8993-7d37aad53b21" providerId="ADAL" clId="{996FF9A9-C974-443F-8618-837E1F831A03}" dt="2024-06-18T06:29:40.511" v="3379"/>
          <ac:spMkLst>
            <pc:docMk/>
            <pc:sldMk cId="2846337546" sldId="2147482693"/>
            <ac:spMk id="7" creationId="{5C9E00AF-7259-79AA-E836-7ABE8CD58DAA}"/>
          </ac:spMkLst>
        </pc:spChg>
        <pc:spChg chg="add mod topLvl">
          <ac:chgData name="Sai Arvind" userId="4be58695-eae9-4703-8993-7d37aad53b21" providerId="ADAL" clId="{996FF9A9-C974-443F-8618-837E1F831A03}" dt="2024-06-18T06:29:40.511" v="3379"/>
          <ac:spMkLst>
            <pc:docMk/>
            <pc:sldMk cId="2846337546" sldId="2147482693"/>
            <ac:spMk id="8" creationId="{BFF477F3-6FA1-237C-0D99-83EBB1DF2981}"/>
          </ac:spMkLst>
        </pc:spChg>
        <pc:spChg chg="add mod topLvl">
          <ac:chgData name="Sai Arvind" userId="4be58695-eae9-4703-8993-7d37aad53b21" providerId="ADAL" clId="{996FF9A9-C974-443F-8618-837E1F831A03}" dt="2024-06-18T06:29:40.511" v="3379"/>
          <ac:spMkLst>
            <pc:docMk/>
            <pc:sldMk cId="2846337546" sldId="2147482693"/>
            <ac:spMk id="9" creationId="{20BD995F-5526-CE8D-11B7-2487A9CC59BC}"/>
          </ac:spMkLst>
        </pc:spChg>
        <pc:spChg chg="mod ord topLvl">
          <ac:chgData name="Sai Arvind" userId="4be58695-eae9-4703-8993-7d37aad53b21" providerId="ADAL" clId="{996FF9A9-C974-443F-8618-837E1F831A03}" dt="2024-06-18T06:29:40.511" v="3379"/>
          <ac:spMkLst>
            <pc:docMk/>
            <pc:sldMk cId="2846337546" sldId="2147482693"/>
            <ac:spMk id="10" creationId="{432C3809-B1CE-BB95-D370-750C002FA7C0}"/>
          </ac:spMkLst>
        </pc:spChg>
        <pc:spChg chg="del mod">
          <ac:chgData name="Sai Arvind" userId="4be58695-eae9-4703-8993-7d37aad53b21" providerId="ADAL" clId="{996FF9A9-C974-443F-8618-837E1F831A03}" dt="2024-06-18T06:30:05.910" v="3384" actId="478"/>
          <ac:spMkLst>
            <pc:docMk/>
            <pc:sldMk cId="2846337546" sldId="2147482693"/>
            <ac:spMk id="11" creationId="{6376576E-090E-9EAF-A09D-5490D67EB383}"/>
          </ac:spMkLst>
        </pc:spChg>
        <pc:spChg chg="del mod">
          <ac:chgData name="Sai Arvind" userId="4be58695-eae9-4703-8993-7d37aad53b21" providerId="ADAL" clId="{996FF9A9-C974-443F-8618-837E1F831A03}" dt="2024-06-18T06:29:47.530" v="3380" actId="478"/>
          <ac:spMkLst>
            <pc:docMk/>
            <pc:sldMk cId="2846337546" sldId="2147482693"/>
            <ac:spMk id="15" creationId="{8D63703C-994B-80E0-C535-1BA7E8C724BF}"/>
          </ac:spMkLst>
        </pc:spChg>
        <pc:spChg chg="mod topLvl">
          <ac:chgData name="Sai Arvind" userId="4be58695-eae9-4703-8993-7d37aad53b21" providerId="ADAL" clId="{996FF9A9-C974-443F-8618-837E1F831A03}" dt="2024-06-18T06:29:40.511" v="3379"/>
          <ac:spMkLst>
            <pc:docMk/>
            <pc:sldMk cId="2846337546" sldId="2147482693"/>
            <ac:spMk id="16" creationId="{1927D785-21C9-18F8-E967-E03EC36C71C0}"/>
          </ac:spMkLst>
        </pc:spChg>
        <pc:spChg chg="del mod">
          <ac:chgData name="Sai Arvind" userId="4be58695-eae9-4703-8993-7d37aad53b21" providerId="ADAL" clId="{996FF9A9-C974-443F-8618-837E1F831A03}" dt="2024-06-18T06:29:47.530" v="3380" actId="478"/>
          <ac:spMkLst>
            <pc:docMk/>
            <pc:sldMk cId="2846337546" sldId="2147482693"/>
            <ac:spMk id="17" creationId="{5237B493-81AF-5D65-6801-1C32A4B77466}"/>
          </ac:spMkLst>
        </pc:spChg>
        <pc:spChg chg="mod topLvl">
          <ac:chgData name="Sai Arvind" userId="4be58695-eae9-4703-8993-7d37aad53b21" providerId="ADAL" clId="{996FF9A9-C974-443F-8618-837E1F831A03}" dt="2024-06-18T06:29:40.511" v="3379"/>
          <ac:spMkLst>
            <pc:docMk/>
            <pc:sldMk cId="2846337546" sldId="2147482693"/>
            <ac:spMk id="18" creationId="{05FA399E-7575-D047-47B5-C4839C6A0B3A}"/>
          </ac:spMkLst>
        </pc:spChg>
        <pc:spChg chg="del mod">
          <ac:chgData name="Sai Arvind" userId="4be58695-eae9-4703-8993-7d37aad53b21" providerId="ADAL" clId="{996FF9A9-C974-443F-8618-837E1F831A03}" dt="2024-06-18T06:29:47.530" v="3380" actId="478"/>
          <ac:spMkLst>
            <pc:docMk/>
            <pc:sldMk cId="2846337546" sldId="2147482693"/>
            <ac:spMk id="19" creationId="{6DC1DC46-AABD-45DB-B5BF-1A77E65D5095}"/>
          </ac:spMkLst>
        </pc:spChg>
        <pc:spChg chg="del mod">
          <ac:chgData name="Sai Arvind" userId="4be58695-eae9-4703-8993-7d37aad53b21" providerId="ADAL" clId="{996FF9A9-C974-443F-8618-837E1F831A03}" dt="2024-06-18T06:29:47.530" v="3380" actId="478"/>
          <ac:spMkLst>
            <pc:docMk/>
            <pc:sldMk cId="2846337546" sldId="2147482693"/>
            <ac:spMk id="21" creationId="{82E6B9F2-4FEB-7890-3AF6-79D81498DDCB}"/>
          </ac:spMkLst>
        </pc:spChg>
        <pc:spChg chg="add mod ord topLvl">
          <ac:chgData name="Sai Arvind" userId="4be58695-eae9-4703-8993-7d37aad53b21" providerId="ADAL" clId="{996FF9A9-C974-443F-8618-837E1F831A03}" dt="2024-06-18T06:29:40.511" v="3379"/>
          <ac:spMkLst>
            <pc:docMk/>
            <pc:sldMk cId="2846337546" sldId="2147482693"/>
            <ac:spMk id="22" creationId="{F407E8CF-C58C-8A76-EB7C-58BB5B8245D5}"/>
          </ac:spMkLst>
        </pc:spChg>
        <pc:spChg chg="add mod ord topLvl">
          <ac:chgData name="Sai Arvind" userId="4be58695-eae9-4703-8993-7d37aad53b21" providerId="ADAL" clId="{996FF9A9-C974-443F-8618-837E1F831A03}" dt="2024-06-18T06:29:40.511" v="3379"/>
          <ac:spMkLst>
            <pc:docMk/>
            <pc:sldMk cId="2846337546" sldId="2147482693"/>
            <ac:spMk id="23" creationId="{6F4AC436-4496-FDFE-9ECE-265FE1D7907E}"/>
          </ac:spMkLst>
        </pc:spChg>
        <pc:spChg chg="del mod">
          <ac:chgData name="Sai Arvind" userId="4be58695-eae9-4703-8993-7d37aad53b21" providerId="ADAL" clId="{996FF9A9-C974-443F-8618-837E1F831A03}" dt="2024-06-18T06:29:47.530" v="3380" actId="478"/>
          <ac:spMkLst>
            <pc:docMk/>
            <pc:sldMk cId="2846337546" sldId="2147482693"/>
            <ac:spMk id="24" creationId="{85F4B4C2-F8FB-EB2E-91EE-3E639F516E6E}"/>
          </ac:spMkLst>
        </pc:spChg>
        <pc:spChg chg="del mod">
          <ac:chgData name="Sai Arvind" userId="4be58695-eae9-4703-8993-7d37aad53b21" providerId="ADAL" clId="{996FF9A9-C974-443F-8618-837E1F831A03}" dt="2024-06-18T06:29:47.530" v="3380" actId="478"/>
          <ac:spMkLst>
            <pc:docMk/>
            <pc:sldMk cId="2846337546" sldId="2147482693"/>
            <ac:spMk id="25" creationId="{C301EA52-2085-FB44-BBC3-1A6512330813}"/>
          </ac:spMkLst>
        </pc:spChg>
        <pc:spChg chg="del mod">
          <ac:chgData name="Sai Arvind" userId="4be58695-eae9-4703-8993-7d37aad53b21" providerId="ADAL" clId="{996FF9A9-C974-443F-8618-837E1F831A03}" dt="2024-06-18T06:29:47.530" v="3380" actId="478"/>
          <ac:spMkLst>
            <pc:docMk/>
            <pc:sldMk cId="2846337546" sldId="2147482693"/>
            <ac:spMk id="26" creationId="{B58CD89B-AA3C-C1A1-79BF-F8CA9CB6AF90}"/>
          </ac:spMkLst>
        </pc:spChg>
        <pc:spChg chg="add mod topLvl">
          <ac:chgData name="Sai Arvind" userId="4be58695-eae9-4703-8993-7d37aad53b21" providerId="ADAL" clId="{996FF9A9-C974-443F-8618-837E1F831A03}" dt="2024-06-18T06:31:41.706" v="3432" actId="20577"/>
          <ac:spMkLst>
            <pc:docMk/>
            <pc:sldMk cId="2846337546" sldId="2147482693"/>
            <ac:spMk id="27" creationId="{BA27F716-0870-D606-EDF8-E6A667103EA3}"/>
          </ac:spMkLst>
        </pc:spChg>
        <pc:spChg chg="add mod topLvl">
          <ac:chgData name="Sai Arvind" userId="4be58695-eae9-4703-8993-7d37aad53b21" providerId="ADAL" clId="{996FF9A9-C974-443F-8618-837E1F831A03}" dt="2024-06-18T06:29:40.511" v="3379"/>
          <ac:spMkLst>
            <pc:docMk/>
            <pc:sldMk cId="2846337546" sldId="2147482693"/>
            <ac:spMk id="28" creationId="{22D70C13-3809-B2A9-A579-A1179493AE78}"/>
          </ac:spMkLst>
        </pc:spChg>
        <pc:spChg chg="del mod">
          <ac:chgData name="Sai Arvind" userId="4be58695-eae9-4703-8993-7d37aad53b21" providerId="ADAL" clId="{996FF9A9-C974-443F-8618-837E1F831A03}" dt="2024-06-18T06:29:47.530" v="3380" actId="478"/>
          <ac:spMkLst>
            <pc:docMk/>
            <pc:sldMk cId="2846337546" sldId="2147482693"/>
            <ac:spMk id="29" creationId="{B098C853-6F5C-C982-7B75-B6125078DF8B}"/>
          </ac:spMkLst>
        </pc:spChg>
        <pc:spChg chg="add mod">
          <ac:chgData name="Sai Arvind" userId="4be58695-eae9-4703-8993-7d37aad53b21" providerId="ADAL" clId="{996FF9A9-C974-443F-8618-837E1F831A03}" dt="2024-06-18T06:30:23.782" v="3398" actId="164"/>
          <ac:spMkLst>
            <pc:docMk/>
            <pc:sldMk cId="2846337546" sldId="2147482693"/>
            <ac:spMk id="32" creationId="{848EE52C-DA10-C939-478E-FFB9661745F5}"/>
          </ac:spMkLst>
        </pc:spChg>
        <pc:spChg chg="add mod topLvl">
          <ac:chgData name="Sai Arvind" userId="4be58695-eae9-4703-8993-7d37aad53b21" providerId="ADAL" clId="{996FF9A9-C974-443F-8618-837E1F831A03}" dt="2024-06-18T06:31:46.697" v="3433" actId="164"/>
          <ac:spMkLst>
            <pc:docMk/>
            <pc:sldMk cId="2846337546" sldId="2147482693"/>
            <ac:spMk id="37" creationId="{AD284CDB-225E-E9B5-8110-2EA07D4118CB}"/>
          </ac:spMkLst>
        </pc:spChg>
        <pc:spChg chg="mod topLvl">
          <ac:chgData name="Sai Arvind" userId="4be58695-eae9-4703-8993-7d37aad53b21" providerId="ADAL" clId="{996FF9A9-C974-443F-8618-837E1F831A03}" dt="2024-06-18T06:32:01.282" v="3451" actId="208"/>
          <ac:spMkLst>
            <pc:docMk/>
            <pc:sldMk cId="2846337546" sldId="2147482693"/>
            <ac:spMk id="43" creationId="{12C21BBE-0598-1D97-FEAD-F417D15C80D5}"/>
          </ac:spMkLst>
        </pc:spChg>
        <pc:grpChg chg="add del mod topLvl">
          <ac:chgData name="Sai Arvind" userId="4be58695-eae9-4703-8993-7d37aad53b21" providerId="ADAL" clId="{996FF9A9-C974-443F-8618-837E1F831A03}" dt="2024-06-18T06:27:14.955" v="3161"/>
          <ac:grpSpMkLst>
            <pc:docMk/>
            <pc:sldMk cId="2846337546" sldId="2147482693"/>
            <ac:grpSpMk id="12" creationId="{1D3A95C3-EF30-CFA7-850D-4247B6CFE0BD}"/>
          </ac:grpSpMkLst>
        </pc:grpChg>
        <pc:grpChg chg="add del mod topLvl">
          <ac:chgData name="Sai Arvind" userId="4be58695-eae9-4703-8993-7d37aad53b21" providerId="ADAL" clId="{996FF9A9-C974-443F-8618-837E1F831A03}" dt="2024-06-18T06:27:14.955" v="3161"/>
          <ac:grpSpMkLst>
            <pc:docMk/>
            <pc:sldMk cId="2846337546" sldId="2147482693"/>
            <ac:grpSpMk id="14" creationId="{4FB4F19A-C1ED-AC08-6492-B31E027EC627}"/>
          </ac:grpSpMkLst>
        </pc:grpChg>
        <pc:grpChg chg="add del mod">
          <ac:chgData name="Sai Arvind" userId="4be58695-eae9-4703-8993-7d37aad53b21" providerId="ADAL" clId="{996FF9A9-C974-443F-8618-837E1F831A03}" dt="2024-06-18T06:27:14.540" v="3160"/>
          <ac:grpSpMkLst>
            <pc:docMk/>
            <pc:sldMk cId="2846337546" sldId="2147482693"/>
            <ac:grpSpMk id="20" creationId="{F37EF7D1-D290-F2CA-7267-47A666B70FA0}"/>
          </ac:grpSpMkLst>
        </pc:grpChg>
        <pc:grpChg chg="add del mod">
          <ac:chgData name="Sai Arvind" userId="4be58695-eae9-4703-8993-7d37aad53b21" providerId="ADAL" clId="{996FF9A9-C974-443F-8618-837E1F831A03}" dt="2024-06-18T06:29:19.662" v="3372"/>
          <ac:grpSpMkLst>
            <pc:docMk/>
            <pc:sldMk cId="2846337546" sldId="2147482693"/>
            <ac:grpSpMk id="30" creationId="{08D98C68-CB7B-033C-E365-A66D526EE8B4}"/>
          </ac:grpSpMkLst>
        </pc:grpChg>
        <pc:grpChg chg="add del mod">
          <ac:chgData name="Sai Arvind" userId="4be58695-eae9-4703-8993-7d37aad53b21" providerId="ADAL" clId="{996FF9A9-C974-443F-8618-837E1F831A03}" dt="2024-06-18T06:29:40.511" v="3379"/>
          <ac:grpSpMkLst>
            <pc:docMk/>
            <pc:sldMk cId="2846337546" sldId="2147482693"/>
            <ac:grpSpMk id="31" creationId="{E065C125-47B2-7FCD-E602-8254ED34B97C}"/>
          </ac:grpSpMkLst>
        </pc:grpChg>
        <pc:grpChg chg="add mod">
          <ac:chgData name="Sai Arvind" userId="4be58695-eae9-4703-8993-7d37aad53b21" providerId="ADAL" clId="{996FF9A9-C974-443F-8618-837E1F831A03}" dt="2024-06-18T06:30:23.782" v="3398" actId="164"/>
          <ac:grpSpMkLst>
            <pc:docMk/>
            <pc:sldMk cId="2846337546" sldId="2147482693"/>
            <ac:grpSpMk id="36" creationId="{D05625EC-9224-E43F-E028-C8D238E29372}"/>
          </ac:grpSpMkLst>
        </pc:grpChg>
        <pc:grpChg chg="add del mod">
          <ac:chgData name="Sai Arvind" userId="4be58695-eae9-4703-8993-7d37aad53b21" providerId="ADAL" clId="{996FF9A9-C974-443F-8618-837E1F831A03}" dt="2024-06-18T06:30:53.281" v="3408"/>
          <ac:grpSpMkLst>
            <pc:docMk/>
            <pc:sldMk cId="2846337546" sldId="2147482693"/>
            <ac:grpSpMk id="39" creationId="{BEF53D55-5583-C926-4431-1954EB0D1115}"/>
          </ac:grpSpMkLst>
        </pc:grpChg>
        <pc:grpChg chg="add del mod">
          <ac:chgData name="Sai Arvind" userId="4be58695-eae9-4703-8993-7d37aad53b21" providerId="ADAL" clId="{996FF9A9-C974-443F-8618-837E1F831A03}" dt="2024-06-18T06:31:35.260" v="3430"/>
          <ac:grpSpMkLst>
            <pc:docMk/>
            <pc:sldMk cId="2846337546" sldId="2147482693"/>
            <ac:grpSpMk id="40" creationId="{16BD1153-803A-5A50-8F8C-6A6F30780FC1}"/>
          </ac:grpSpMkLst>
        </pc:grpChg>
        <pc:grpChg chg="add mod">
          <ac:chgData name="Sai Arvind" userId="4be58695-eae9-4703-8993-7d37aad53b21" providerId="ADAL" clId="{996FF9A9-C974-443F-8618-837E1F831A03}" dt="2024-06-18T06:31:46.697" v="3433" actId="164"/>
          <ac:grpSpMkLst>
            <pc:docMk/>
            <pc:sldMk cId="2846337546" sldId="2147482693"/>
            <ac:grpSpMk id="41" creationId="{88D37218-55DD-207A-8DE3-B8A5CDD852A3}"/>
          </ac:grpSpMkLst>
        </pc:grpChg>
        <pc:grpChg chg="add del mod">
          <ac:chgData name="Sai Arvind" userId="4be58695-eae9-4703-8993-7d37aad53b21" providerId="ADAL" clId="{996FF9A9-C974-443F-8618-837E1F831A03}" dt="2024-06-18T06:31:52.272" v="3449"/>
          <ac:grpSpMkLst>
            <pc:docMk/>
            <pc:sldMk cId="2846337546" sldId="2147482693"/>
            <ac:grpSpMk id="42" creationId="{E3641706-8B71-A7F2-36D9-03627C5BB53B}"/>
          </ac:grpSpMkLst>
        </pc:grpChg>
        <pc:picChg chg="mod ord">
          <ac:chgData name="Sai Arvind" userId="4be58695-eae9-4703-8993-7d37aad53b21" providerId="ADAL" clId="{996FF9A9-C974-443F-8618-837E1F831A03}" dt="2024-06-18T06:30:23.782" v="3398" actId="164"/>
          <ac:picMkLst>
            <pc:docMk/>
            <pc:sldMk cId="2846337546" sldId="2147482693"/>
            <ac:picMk id="13" creationId="{B01479E9-843E-22C0-4ABF-C34AB59547FF}"/>
          </ac:picMkLst>
        </pc:picChg>
        <pc:picChg chg="del mod">
          <ac:chgData name="Sai Arvind" userId="4be58695-eae9-4703-8993-7d37aad53b21" providerId="ADAL" clId="{996FF9A9-C974-443F-8618-837E1F831A03}" dt="2024-06-18T06:29:47.530" v="3380" actId="478"/>
          <ac:picMkLst>
            <pc:docMk/>
            <pc:sldMk cId="2846337546" sldId="2147482693"/>
            <ac:picMk id="33" creationId="{504C48AF-B42B-38D7-B327-E70748BBA0CB}"/>
          </ac:picMkLst>
        </pc:picChg>
        <pc:picChg chg="del mod">
          <ac:chgData name="Sai Arvind" userId="4be58695-eae9-4703-8993-7d37aad53b21" providerId="ADAL" clId="{996FF9A9-C974-443F-8618-837E1F831A03}" dt="2024-06-18T06:29:47.530" v="3380" actId="478"/>
          <ac:picMkLst>
            <pc:docMk/>
            <pc:sldMk cId="2846337546" sldId="2147482693"/>
            <ac:picMk id="34" creationId="{1243032F-FE55-2518-BC97-5E4E492FD440}"/>
          </ac:picMkLst>
        </pc:picChg>
        <pc:picChg chg="add del mod">
          <ac:chgData name="Sai Arvind" userId="4be58695-eae9-4703-8993-7d37aad53b21" providerId="ADAL" clId="{996FF9A9-C974-443F-8618-837E1F831A03}" dt="2024-06-18T06:30:11.121" v="3387" actId="478"/>
          <ac:picMkLst>
            <pc:docMk/>
            <pc:sldMk cId="2846337546" sldId="2147482693"/>
            <ac:picMk id="35" creationId="{D4A1DAB6-C568-3377-D91A-3E9998D42A8A}"/>
          </ac:picMkLst>
        </pc:picChg>
        <pc:picChg chg="add mod topLvl">
          <ac:chgData name="Sai Arvind" userId="4be58695-eae9-4703-8993-7d37aad53b21" providerId="ADAL" clId="{996FF9A9-C974-443F-8618-837E1F831A03}" dt="2024-06-18T06:31:46.697" v="3433" actId="164"/>
          <ac:picMkLst>
            <pc:docMk/>
            <pc:sldMk cId="2846337546" sldId="2147482693"/>
            <ac:picMk id="38" creationId="{F59ED0EC-4B7D-3F79-0E37-1015CACBF87B}"/>
          </ac:picMkLst>
        </pc:picChg>
        <pc:picChg chg="del mod topLvl">
          <ac:chgData name="Sai Arvind" userId="4be58695-eae9-4703-8993-7d37aad53b21" providerId="ADAL" clId="{996FF9A9-C974-443F-8618-837E1F831A03}" dt="2024-06-18T06:31:59.166" v="3450" actId="478"/>
          <ac:picMkLst>
            <pc:docMk/>
            <pc:sldMk cId="2846337546" sldId="2147482693"/>
            <ac:picMk id="44" creationId="{8EE006D4-5DD3-B24C-7FBC-2E85CF9A01DB}"/>
          </ac:picMkLst>
        </pc:picChg>
        <pc:picChg chg="add mod">
          <ac:chgData name="Sai Arvind" userId="4be58695-eae9-4703-8993-7d37aad53b21" providerId="ADAL" clId="{996FF9A9-C974-443F-8618-837E1F831A03}" dt="2024-06-18T06:32:17.782" v="3461" actId="1036"/>
          <ac:picMkLst>
            <pc:docMk/>
            <pc:sldMk cId="2846337546" sldId="2147482693"/>
            <ac:picMk id="45" creationId="{3C405086-811B-6A5D-D858-72455A8578C1}"/>
          </ac:picMkLst>
        </pc:picChg>
      </pc:sldChg>
      <pc:sldChg chg="addSp delSp modSp mod modClrScheme chgLayout">
        <pc:chgData name="Sai Arvind" userId="4be58695-eae9-4703-8993-7d37aad53b21" providerId="ADAL" clId="{996FF9A9-C974-443F-8618-837E1F831A03}" dt="2024-06-18T06:16:59.958" v="2880" actId="22"/>
        <pc:sldMkLst>
          <pc:docMk/>
          <pc:sldMk cId="3176830293" sldId="2147482694"/>
        </pc:sldMkLst>
        <pc:spChg chg="add mod">
          <ac:chgData name="Sai Arvind" userId="4be58695-eae9-4703-8993-7d37aad53b21" providerId="ADAL" clId="{996FF9A9-C974-443F-8618-837E1F831A03}" dt="2024-06-18T06:15:55.177" v="2835"/>
          <ac:spMkLst>
            <pc:docMk/>
            <pc:sldMk cId="3176830293" sldId="2147482694"/>
            <ac:spMk id="2" creationId="{3AEC0AC2-B550-86A6-1B81-8B41826C5ABC}"/>
          </ac:spMkLst>
        </pc:spChg>
        <pc:spChg chg="add mod">
          <ac:chgData name="Sai Arvind" userId="4be58695-eae9-4703-8993-7d37aad53b21" providerId="ADAL" clId="{996FF9A9-C974-443F-8618-837E1F831A03}" dt="2024-06-18T06:15:55.177" v="2836"/>
          <ac:spMkLst>
            <pc:docMk/>
            <pc:sldMk cId="3176830293" sldId="2147482694"/>
            <ac:spMk id="3" creationId="{7EFAFD62-1AB8-EF33-49C6-2F6F1511FDD0}"/>
          </ac:spMkLst>
        </pc:spChg>
        <pc:spChg chg="add mod ord">
          <ac:chgData name="Sai Arvind" userId="4be58695-eae9-4703-8993-7d37aad53b21" providerId="ADAL" clId="{996FF9A9-C974-443F-8618-837E1F831A03}" dt="2024-06-18T06:15:06.432" v="2817" actId="139"/>
          <ac:spMkLst>
            <pc:docMk/>
            <pc:sldMk cId="3176830293" sldId="2147482694"/>
            <ac:spMk id="7" creationId="{79879C97-F8C6-F8EF-F28A-170BC5A0ABDD}"/>
          </ac:spMkLst>
        </pc:spChg>
        <pc:spChg chg="del">
          <ac:chgData name="Sai Arvind" userId="4be58695-eae9-4703-8993-7d37aad53b21" providerId="ADAL" clId="{996FF9A9-C974-443F-8618-837E1F831A03}" dt="2024-06-18T06:15:03.537" v="2814" actId="478"/>
          <ac:spMkLst>
            <pc:docMk/>
            <pc:sldMk cId="3176830293" sldId="2147482694"/>
            <ac:spMk id="8" creationId="{3784AB29-BEBE-554C-C89C-3B8C9F3982DA}"/>
          </ac:spMkLst>
        </pc:spChg>
        <pc:spChg chg="add del mod ord">
          <ac:chgData name="Sai Arvind" userId="4be58695-eae9-4703-8993-7d37aad53b21" providerId="ADAL" clId="{996FF9A9-C974-443F-8618-837E1F831A03}" dt="2024-06-18T06:15:04.621" v="2815" actId="6264"/>
          <ac:spMkLst>
            <pc:docMk/>
            <pc:sldMk cId="3176830293" sldId="2147482694"/>
            <ac:spMk id="9" creationId="{6C3468B6-0EF9-959F-13FF-824D90525B97}"/>
          </ac:spMkLst>
        </pc:spChg>
        <pc:spChg chg="add del mod">
          <ac:chgData name="Sai Arvind" userId="4be58695-eae9-4703-8993-7d37aad53b21" providerId="ADAL" clId="{996FF9A9-C974-443F-8618-837E1F831A03}" dt="2024-06-18T06:15:04.621" v="2815" actId="6264"/>
          <ac:spMkLst>
            <pc:docMk/>
            <pc:sldMk cId="3176830293" sldId="2147482694"/>
            <ac:spMk id="10" creationId="{12804FAA-6BB7-3174-D9FA-84634BE5365D}"/>
          </ac:spMkLst>
        </pc:spChg>
        <pc:spChg chg="add del mod ord">
          <ac:chgData name="Sai Arvind" userId="4be58695-eae9-4703-8993-7d37aad53b21" providerId="ADAL" clId="{996FF9A9-C974-443F-8618-837E1F831A03}" dt="2024-06-18T06:15:17.924" v="2822" actId="478"/>
          <ac:spMkLst>
            <pc:docMk/>
            <pc:sldMk cId="3176830293" sldId="2147482694"/>
            <ac:spMk id="11" creationId="{2EE10565-E74A-0BCE-A230-405E310868FE}"/>
          </ac:spMkLst>
        </pc:spChg>
        <pc:spChg chg="add del">
          <ac:chgData name="Sai Arvind" userId="4be58695-eae9-4703-8993-7d37aad53b21" providerId="ADAL" clId="{996FF9A9-C974-443F-8618-837E1F831A03}" dt="2024-06-18T06:16:59.958" v="2880" actId="22"/>
          <ac:spMkLst>
            <pc:docMk/>
            <pc:sldMk cId="3176830293" sldId="2147482694"/>
            <ac:spMk id="13" creationId="{4FF586B2-EC15-B430-3F51-19B70417590C}"/>
          </ac:spMkLst>
        </pc:spChg>
        <pc:picChg chg="mod">
          <ac:chgData name="Sai Arvind" userId="4be58695-eae9-4703-8993-7d37aad53b21" providerId="ADAL" clId="{996FF9A9-C974-443F-8618-837E1F831A03}" dt="2024-06-18T06:16:11.209" v="2841"/>
          <ac:picMkLst>
            <pc:docMk/>
            <pc:sldMk cId="3176830293" sldId="2147482694"/>
            <ac:picMk id="5" creationId="{F819D1D2-C04E-4FB6-D5A9-11C15ED00F73}"/>
          </ac:picMkLst>
        </pc:picChg>
        <pc:picChg chg="mod">
          <ac:chgData name="Sai Arvind" userId="4be58695-eae9-4703-8993-7d37aad53b21" providerId="ADAL" clId="{996FF9A9-C974-443F-8618-837E1F831A03}" dt="2024-06-18T06:16:11.209" v="2843"/>
          <ac:picMkLst>
            <pc:docMk/>
            <pc:sldMk cId="3176830293" sldId="2147482694"/>
            <ac:picMk id="6" creationId="{82C2B958-CFF6-D846-9D72-C17047DFFCAC}"/>
          </ac:picMkLst>
        </pc:picChg>
        <pc:cxnChg chg="add mod">
          <ac:chgData name="Sai Arvind" userId="4be58695-eae9-4703-8993-7d37aad53b21" providerId="ADAL" clId="{996FF9A9-C974-443F-8618-837E1F831A03}" dt="2024-06-18T06:15:57.635" v="2837" actId="1035"/>
          <ac:cxnSpMkLst>
            <pc:docMk/>
            <pc:sldMk cId="3176830293" sldId="2147482694"/>
            <ac:cxnSpMk id="4" creationId="{6413C30D-FEA9-4CBE-19B9-42907DF4F452}"/>
          </ac:cxnSpMkLst>
        </pc:cxnChg>
      </pc:sldChg>
      <pc:sldChg chg="addSp delSp modSp mod modClrScheme chgLayout">
        <pc:chgData name="Sai Arvind" userId="4be58695-eae9-4703-8993-7d37aad53b21" providerId="ADAL" clId="{996FF9A9-C974-443F-8618-837E1F831A03}" dt="2024-06-18T06:17:52.865" v="2899"/>
        <pc:sldMkLst>
          <pc:docMk/>
          <pc:sldMk cId="3428016675" sldId="2147482695"/>
        </pc:sldMkLst>
        <pc:spChg chg="add mod ord">
          <ac:chgData name="Sai Arvind" userId="4be58695-eae9-4703-8993-7d37aad53b21" providerId="ADAL" clId="{996FF9A9-C974-443F-8618-837E1F831A03}" dt="2024-06-18T06:16:38.104" v="2852" actId="139"/>
          <ac:spMkLst>
            <pc:docMk/>
            <pc:sldMk cId="3428016675" sldId="2147482695"/>
            <ac:spMk id="2" creationId="{D6D587B3-4180-5ACF-52ED-9C1DE57275A5}"/>
          </ac:spMkLst>
        </pc:spChg>
        <pc:spChg chg="del mod ord">
          <ac:chgData name="Sai Arvind" userId="4be58695-eae9-4703-8993-7d37aad53b21" providerId="ADAL" clId="{996FF9A9-C974-443F-8618-837E1F831A03}" dt="2024-06-18T06:16:28.718" v="2844" actId="700"/>
          <ac:spMkLst>
            <pc:docMk/>
            <pc:sldMk cId="3428016675" sldId="2147482695"/>
            <ac:spMk id="3" creationId="{D1BCA316-2396-B055-8BD4-1A411475F159}"/>
          </ac:spMkLst>
        </pc:spChg>
        <pc:spChg chg="del">
          <ac:chgData name="Sai Arvind" userId="4be58695-eae9-4703-8993-7d37aad53b21" providerId="ADAL" clId="{996FF9A9-C974-443F-8618-837E1F831A03}" dt="2024-06-18T06:16:28.718" v="2844" actId="700"/>
          <ac:spMkLst>
            <pc:docMk/>
            <pc:sldMk cId="3428016675" sldId="2147482695"/>
            <ac:spMk id="4" creationId="{406CA0B1-CADD-3BE4-406E-DEF32A3719F4}"/>
          </ac:spMkLst>
        </pc:spChg>
        <pc:spChg chg="del">
          <ac:chgData name="Sai Arvind" userId="4be58695-eae9-4703-8993-7d37aad53b21" providerId="ADAL" clId="{996FF9A9-C974-443F-8618-837E1F831A03}" dt="2024-06-18T06:16:35.103" v="2849" actId="478"/>
          <ac:spMkLst>
            <pc:docMk/>
            <pc:sldMk cId="3428016675" sldId="2147482695"/>
            <ac:spMk id="7" creationId="{047AA72F-859E-5D6B-D611-E5316AA200D2}"/>
          </ac:spMkLst>
        </pc:spChg>
        <pc:spChg chg="add del mod ord">
          <ac:chgData name="Sai Arvind" userId="4be58695-eae9-4703-8993-7d37aad53b21" providerId="ADAL" clId="{996FF9A9-C974-443F-8618-837E1F831A03}" dt="2024-06-18T06:16:36.027" v="2850" actId="6264"/>
          <ac:spMkLst>
            <pc:docMk/>
            <pc:sldMk cId="3428016675" sldId="2147482695"/>
            <ac:spMk id="8" creationId="{6056038B-7508-6D69-14E3-9B99D00CA3A7}"/>
          </ac:spMkLst>
        </pc:spChg>
        <pc:spChg chg="add mod">
          <ac:chgData name="Sai Arvind" userId="4be58695-eae9-4703-8993-7d37aad53b21" providerId="ADAL" clId="{996FF9A9-C974-443F-8618-837E1F831A03}" dt="2024-06-18T06:17:43.872" v="2894" actId="14100"/>
          <ac:spMkLst>
            <pc:docMk/>
            <pc:sldMk cId="3428016675" sldId="2147482695"/>
            <ac:spMk id="9" creationId="{44956460-BBC0-C315-EBEE-14B5DA854B29}"/>
          </ac:spMkLst>
        </pc:spChg>
        <pc:spChg chg="add mod">
          <ac:chgData name="Sai Arvind" userId="4be58695-eae9-4703-8993-7d37aad53b21" providerId="ADAL" clId="{996FF9A9-C974-443F-8618-837E1F831A03}" dt="2024-06-18T06:17:36.602" v="2892" actId="14100"/>
          <ac:spMkLst>
            <pc:docMk/>
            <pc:sldMk cId="3428016675" sldId="2147482695"/>
            <ac:spMk id="10" creationId="{C17AE183-BB16-F1C9-996A-6322AE240BFB}"/>
          </ac:spMkLst>
        </pc:spChg>
        <pc:spChg chg="add del mod">
          <ac:chgData name="Sai Arvind" userId="4be58695-eae9-4703-8993-7d37aad53b21" providerId="ADAL" clId="{996FF9A9-C974-443F-8618-837E1F831A03}" dt="2024-06-18T06:16:36.027" v="2850" actId="6264"/>
          <ac:spMkLst>
            <pc:docMk/>
            <pc:sldMk cId="3428016675" sldId="2147482695"/>
            <ac:spMk id="12" creationId="{054D461E-F4CC-0F4F-4349-B9BCB8454C0E}"/>
          </ac:spMkLst>
        </pc:spChg>
        <pc:spChg chg="add del mod ord">
          <ac:chgData name="Sai Arvind" userId="4be58695-eae9-4703-8993-7d37aad53b21" providerId="ADAL" clId="{996FF9A9-C974-443F-8618-837E1F831A03}" dt="2024-06-18T06:16:40.478" v="2853" actId="478"/>
          <ac:spMkLst>
            <pc:docMk/>
            <pc:sldMk cId="3428016675" sldId="2147482695"/>
            <ac:spMk id="13" creationId="{47C8CB6E-146E-52FE-5035-05D4CAA300BD}"/>
          </ac:spMkLst>
        </pc:spChg>
        <pc:picChg chg="mod">
          <ac:chgData name="Sai Arvind" userId="4be58695-eae9-4703-8993-7d37aad53b21" providerId="ADAL" clId="{996FF9A9-C974-443F-8618-837E1F831A03}" dt="2024-06-18T06:17:52.865" v="2899"/>
          <ac:picMkLst>
            <pc:docMk/>
            <pc:sldMk cId="3428016675" sldId="2147482695"/>
            <ac:picMk id="5" creationId="{1430011A-3C4E-0157-06B6-AE4A2F708FFA}"/>
          </ac:picMkLst>
        </pc:picChg>
        <pc:picChg chg="mod">
          <ac:chgData name="Sai Arvind" userId="4be58695-eae9-4703-8993-7d37aad53b21" providerId="ADAL" clId="{996FF9A9-C974-443F-8618-837E1F831A03}" dt="2024-06-18T06:17:33.458" v="2891"/>
          <ac:picMkLst>
            <pc:docMk/>
            <pc:sldMk cId="3428016675" sldId="2147482695"/>
            <ac:picMk id="6" creationId="{BBFB0FBF-C88B-A782-42BA-366810FAFFB2}"/>
          </ac:picMkLst>
        </pc:picChg>
        <pc:picChg chg="add del mod">
          <ac:chgData name="Sai Arvind" userId="4be58695-eae9-4703-8993-7d37aad53b21" providerId="ADAL" clId="{996FF9A9-C974-443F-8618-837E1F831A03}" dt="2024-06-18T06:17:26.921" v="2886" actId="478"/>
          <ac:picMkLst>
            <pc:docMk/>
            <pc:sldMk cId="3428016675" sldId="2147482695"/>
            <ac:picMk id="14" creationId="{840826CE-84E9-F224-41A4-3F6F36D67CD2}"/>
          </ac:picMkLst>
        </pc:picChg>
        <pc:cxnChg chg="add mod">
          <ac:chgData name="Sai Arvind" userId="4be58695-eae9-4703-8993-7d37aad53b21" providerId="ADAL" clId="{996FF9A9-C974-443F-8618-837E1F831A03}" dt="2024-06-18T06:17:46.748" v="2896" actId="1036"/>
          <ac:cxnSpMkLst>
            <pc:docMk/>
            <pc:sldMk cId="3428016675" sldId="2147482695"/>
            <ac:cxnSpMk id="11" creationId="{C8ED7B8C-C4A9-5280-4818-0F5001F1548E}"/>
          </ac:cxnSpMkLst>
        </pc:cxnChg>
      </pc:sldChg>
      <pc:sldChg chg="addSp delSp modSp mod modClrScheme chgLayout">
        <pc:chgData name="Sai Arvind" userId="4be58695-eae9-4703-8993-7d37aad53b21" providerId="ADAL" clId="{996FF9A9-C974-443F-8618-837E1F831A03}" dt="2024-06-18T07:46:52.351" v="4086"/>
        <pc:sldMkLst>
          <pc:docMk/>
          <pc:sldMk cId="2757249485" sldId="2147482696"/>
        </pc:sldMkLst>
        <pc:spChg chg="mod ord">
          <ac:chgData name="Sai Arvind" userId="4be58695-eae9-4703-8993-7d37aad53b21" providerId="ADAL" clId="{996FF9A9-C974-443F-8618-837E1F831A03}" dt="2024-06-18T06:30:32.670" v="3402" actId="139"/>
          <ac:spMkLst>
            <pc:docMk/>
            <pc:sldMk cId="2757249485" sldId="2147482696"/>
            <ac:spMk id="2" creationId="{6AC12E71-8344-700C-2D85-D021B891B0B4}"/>
          </ac:spMkLst>
        </pc:spChg>
        <pc:spChg chg="add del mod ord">
          <ac:chgData name="Sai Arvind" userId="4be58695-eae9-4703-8993-7d37aad53b21" providerId="ADAL" clId="{996FF9A9-C974-443F-8618-837E1F831A03}" dt="2024-06-18T06:30:30.940" v="3400" actId="6264"/>
          <ac:spMkLst>
            <pc:docMk/>
            <pc:sldMk cId="2757249485" sldId="2147482696"/>
            <ac:spMk id="3" creationId="{3C62314C-D056-0EC5-00B2-F6D5F67BBACC}"/>
          </ac:spMkLst>
        </pc:spChg>
        <pc:spChg chg="del">
          <ac:chgData name="Sai Arvind" userId="4be58695-eae9-4703-8993-7d37aad53b21" providerId="ADAL" clId="{996FF9A9-C974-443F-8618-837E1F831A03}" dt="2024-06-18T07:46:52.002" v="4085" actId="478"/>
          <ac:spMkLst>
            <pc:docMk/>
            <pc:sldMk cId="2757249485" sldId="2147482696"/>
            <ac:spMk id="4" creationId="{6F35135D-537E-44C5-821D-DB9B72A9C25E}"/>
          </ac:spMkLst>
        </pc:spChg>
        <pc:spChg chg="del">
          <ac:chgData name="Sai Arvind" userId="4be58695-eae9-4703-8993-7d37aad53b21" providerId="ADAL" clId="{996FF9A9-C974-443F-8618-837E1F831A03}" dt="2024-06-18T07:46:52.002" v="4085" actId="478"/>
          <ac:spMkLst>
            <pc:docMk/>
            <pc:sldMk cId="2757249485" sldId="2147482696"/>
            <ac:spMk id="5" creationId="{D1DE037F-5CD1-E11A-C36C-D9CE8A2C5CBB}"/>
          </ac:spMkLst>
        </pc:spChg>
        <pc:spChg chg="del">
          <ac:chgData name="Sai Arvind" userId="4be58695-eae9-4703-8993-7d37aad53b21" providerId="ADAL" clId="{996FF9A9-C974-443F-8618-837E1F831A03}" dt="2024-06-18T07:46:52.002" v="4085" actId="478"/>
          <ac:spMkLst>
            <pc:docMk/>
            <pc:sldMk cId="2757249485" sldId="2147482696"/>
            <ac:spMk id="6" creationId="{28D38A64-277A-620F-5B3F-08A85C17FDD9}"/>
          </ac:spMkLst>
        </pc:spChg>
        <pc:spChg chg="del">
          <ac:chgData name="Sai Arvind" userId="4be58695-eae9-4703-8993-7d37aad53b21" providerId="ADAL" clId="{996FF9A9-C974-443F-8618-837E1F831A03}" dt="2024-06-18T07:46:52.002" v="4085" actId="478"/>
          <ac:spMkLst>
            <pc:docMk/>
            <pc:sldMk cId="2757249485" sldId="2147482696"/>
            <ac:spMk id="7" creationId="{6E3F18E9-447D-837E-2A60-DB79B223FDAE}"/>
          </ac:spMkLst>
        </pc:spChg>
        <pc:spChg chg="del">
          <ac:chgData name="Sai Arvind" userId="4be58695-eae9-4703-8993-7d37aad53b21" providerId="ADAL" clId="{996FF9A9-C974-443F-8618-837E1F831A03}" dt="2024-06-18T07:46:52.002" v="4085" actId="478"/>
          <ac:spMkLst>
            <pc:docMk/>
            <pc:sldMk cId="2757249485" sldId="2147482696"/>
            <ac:spMk id="8" creationId="{BB5A874E-5D61-F2D9-A31D-34299D780CEF}"/>
          </ac:spMkLst>
        </pc:spChg>
        <pc:spChg chg="add del mod">
          <ac:chgData name="Sai Arvind" userId="4be58695-eae9-4703-8993-7d37aad53b21" providerId="ADAL" clId="{996FF9A9-C974-443F-8618-837E1F831A03}" dt="2024-06-18T06:30:30.940" v="3400" actId="6264"/>
          <ac:spMkLst>
            <pc:docMk/>
            <pc:sldMk cId="2757249485" sldId="2147482696"/>
            <ac:spMk id="9" creationId="{CDC85268-1229-0AB7-1E35-F8712D5C7913}"/>
          </ac:spMkLst>
        </pc:spChg>
        <pc:spChg chg="del">
          <ac:chgData name="Sai Arvind" userId="4be58695-eae9-4703-8993-7d37aad53b21" providerId="ADAL" clId="{996FF9A9-C974-443F-8618-837E1F831A03}" dt="2024-06-18T06:30:34.650" v="3403" actId="478"/>
          <ac:spMkLst>
            <pc:docMk/>
            <pc:sldMk cId="2757249485" sldId="2147482696"/>
            <ac:spMk id="11" creationId="{6376576E-090E-9EAF-A09D-5490D67EB383}"/>
          </ac:spMkLst>
        </pc:spChg>
        <pc:spChg chg="del">
          <ac:chgData name="Sai Arvind" userId="4be58695-eae9-4703-8993-7d37aad53b21" providerId="ADAL" clId="{996FF9A9-C974-443F-8618-837E1F831A03}" dt="2024-06-18T07:46:52.002" v="4085" actId="478"/>
          <ac:spMkLst>
            <pc:docMk/>
            <pc:sldMk cId="2757249485" sldId="2147482696"/>
            <ac:spMk id="12" creationId="{589D6113-933C-6FE9-CEF1-4AAD598CA776}"/>
          </ac:spMkLst>
        </pc:spChg>
        <pc:spChg chg="del">
          <ac:chgData name="Sai Arvind" userId="4be58695-eae9-4703-8993-7d37aad53b21" providerId="ADAL" clId="{996FF9A9-C974-443F-8618-837E1F831A03}" dt="2024-06-18T07:46:52.002" v="4085" actId="478"/>
          <ac:spMkLst>
            <pc:docMk/>
            <pc:sldMk cId="2757249485" sldId="2147482696"/>
            <ac:spMk id="14" creationId="{EB65436E-FD2D-3AD4-1387-643D436FEB6B}"/>
          </ac:spMkLst>
        </pc:spChg>
        <pc:spChg chg="add mod ord">
          <ac:chgData name="Sai Arvind" userId="4be58695-eae9-4703-8993-7d37aad53b21" providerId="ADAL" clId="{996FF9A9-C974-443F-8618-837E1F831A03}" dt="2024-06-18T06:30:30.940" v="3400" actId="6264"/>
          <ac:spMkLst>
            <pc:docMk/>
            <pc:sldMk cId="2757249485" sldId="2147482696"/>
            <ac:spMk id="15" creationId="{E1EEAE72-3EF8-00D9-E04A-0351DCA9DE13}"/>
          </ac:spMkLst>
        </pc:spChg>
        <pc:spChg chg="del">
          <ac:chgData name="Sai Arvind" userId="4be58695-eae9-4703-8993-7d37aad53b21" providerId="ADAL" clId="{996FF9A9-C974-443F-8618-837E1F831A03}" dt="2024-06-18T07:46:52.002" v="4085" actId="478"/>
          <ac:spMkLst>
            <pc:docMk/>
            <pc:sldMk cId="2757249485" sldId="2147482696"/>
            <ac:spMk id="16" creationId="{D2E243DE-A19C-C8EA-D7F8-E2A7A6FD5B27}"/>
          </ac:spMkLst>
        </pc:spChg>
        <pc:spChg chg="del">
          <ac:chgData name="Sai Arvind" userId="4be58695-eae9-4703-8993-7d37aad53b21" providerId="ADAL" clId="{996FF9A9-C974-443F-8618-837E1F831A03}" dt="2024-06-18T07:46:52.002" v="4085" actId="478"/>
          <ac:spMkLst>
            <pc:docMk/>
            <pc:sldMk cId="2757249485" sldId="2147482696"/>
            <ac:spMk id="18" creationId="{AFC41452-B01C-78B8-7C35-B7E04A534E56}"/>
          </ac:spMkLst>
        </pc:spChg>
        <pc:spChg chg="mod">
          <ac:chgData name="Sai Arvind" userId="4be58695-eae9-4703-8993-7d37aad53b21" providerId="ADAL" clId="{996FF9A9-C974-443F-8618-837E1F831A03}" dt="2024-06-18T06:30:35.140" v="3404"/>
          <ac:spMkLst>
            <pc:docMk/>
            <pc:sldMk cId="2757249485" sldId="2147482696"/>
            <ac:spMk id="19" creationId="{0DFDEEE3-8FF4-0F93-892F-24FE36FB1693}"/>
          </ac:spMkLst>
        </pc:spChg>
        <pc:spChg chg="del">
          <ac:chgData name="Sai Arvind" userId="4be58695-eae9-4703-8993-7d37aad53b21" providerId="ADAL" clId="{996FF9A9-C974-443F-8618-837E1F831A03}" dt="2024-06-18T07:46:52.002" v="4085" actId="478"/>
          <ac:spMkLst>
            <pc:docMk/>
            <pc:sldMk cId="2757249485" sldId="2147482696"/>
            <ac:spMk id="20" creationId="{F3E8DEC3-BEDF-86FB-7D57-B191522D10C1}"/>
          </ac:spMkLst>
        </pc:spChg>
        <pc:spChg chg="del">
          <ac:chgData name="Sai Arvind" userId="4be58695-eae9-4703-8993-7d37aad53b21" providerId="ADAL" clId="{996FF9A9-C974-443F-8618-837E1F831A03}" dt="2024-06-18T07:46:52.002" v="4085" actId="478"/>
          <ac:spMkLst>
            <pc:docMk/>
            <pc:sldMk cId="2757249485" sldId="2147482696"/>
            <ac:spMk id="23" creationId="{967F088F-89C5-6BDB-482A-C4EB72F462B7}"/>
          </ac:spMkLst>
        </pc:spChg>
        <pc:spChg chg="mod">
          <ac:chgData name="Sai Arvind" userId="4be58695-eae9-4703-8993-7d37aad53b21" providerId="ADAL" clId="{996FF9A9-C974-443F-8618-837E1F831A03}" dt="2024-06-18T07:46:52.351" v="4086"/>
          <ac:spMkLst>
            <pc:docMk/>
            <pc:sldMk cId="2757249485" sldId="2147482696"/>
            <ac:spMk id="24" creationId="{A2838D84-12CB-3F64-72D4-4D4E8FE44E46}"/>
          </ac:spMkLst>
        </pc:spChg>
        <pc:spChg chg="mod">
          <ac:chgData name="Sai Arvind" userId="4be58695-eae9-4703-8993-7d37aad53b21" providerId="ADAL" clId="{996FF9A9-C974-443F-8618-837E1F831A03}" dt="2024-06-18T07:46:52.351" v="4086"/>
          <ac:spMkLst>
            <pc:docMk/>
            <pc:sldMk cId="2757249485" sldId="2147482696"/>
            <ac:spMk id="25" creationId="{8F85DCF6-FE0F-C7C6-F0E1-21418F9ADEEE}"/>
          </ac:spMkLst>
        </pc:spChg>
        <pc:spChg chg="add mod">
          <ac:chgData name="Sai Arvind" userId="4be58695-eae9-4703-8993-7d37aad53b21" providerId="ADAL" clId="{996FF9A9-C974-443F-8618-837E1F831A03}" dt="2024-06-18T07:46:52.351" v="4086"/>
          <ac:spMkLst>
            <pc:docMk/>
            <pc:sldMk cId="2757249485" sldId="2147482696"/>
            <ac:spMk id="26" creationId="{82409F0B-541C-2B5C-5FAD-31C3D3FDC411}"/>
          </ac:spMkLst>
        </pc:spChg>
        <pc:spChg chg="del">
          <ac:chgData name="Sai Arvind" userId="4be58695-eae9-4703-8993-7d37aad53b21" providerId="ADAL" clId="{996FF9A9-C974-443F-8618-837E1F831A03}" dt="2024-06-18T07:46:52.002" v="4085" actId="478"/>
          <ac:spMkLst>
            <pc:docMk/>
            <pc:sldMk cId="2757249485" sldId="2147482696"/>
            <ac:spMk id="27" creationId="{DB7C7C37-660A-57BF-25E5-284DD18083B1}"/>
          </ac:spMkLst>
        </pc:spChg>
        <pc:spChg chg="del">
          <ac:chgData name="Sai Arvind" userId="4be58695-eae9-4703-8993-7d37aad53b21" providerId="ADAL" clId="{996FF9A9-C974-443F-8618-837E1F831A03}" dt="2024-06-18T07:46:52.002" v="4085" actId="478"/>
          <ac:spMkLst>
            <pc:docMk/>
            <pc:sldMk cId="2757249485" sldId="2147482696"/>
            <ac:spMk id="28" creationId="{C20E93E0-CC64-77E0-DFBF-0DE8F1955ACD}"/>
          </ac:spMkLst>
        </pc:spChg>
        <pc:spChg chg="add mod">
          <ac:chgData name="Sai Arvind" userId="4be58695-eae9-4703-8993-7d37aad53b21" providerId="ADAL" clId="{996FF9A9-C974-443F-8618-837E1F831A03}" dt="2024-06-18T07:46:52.351" v="4086"/>
          <ac:spMkLst>
            <pc:docMk/>
            <pc:sldMk cId="2757249485" sldId="2147482696"/>
            <ac:spMk id="29" creationId="{5E52FEDA-A06A-7BD0-1F8E-32E0244FB90D}"/>
          </ac:spMkLst>
        </pc:spChg>
        <pc:spChg chg="del">
          <ac:chgData name="Sai Arvind" userId="4be58695-eae9-4703-8993-7d37aad53b21" providerId="ADAL" clId="{996FF9A9-C974-443F-8618-837E1F831A03}" dt="2024-06-18T07:46:52.002" v="4085" actId="478"/>
          <ac:spMkLst>
            <pc:docMk/>
            <pc:sldMk cId="2757249485" sldId="2147482696"/>
            <ac:spMk id="30" creationId="{102E821F-32E9-44D5-1C76-5AB3A92D030C}"/>
          </ac:spMkLst>
        </pc:spChg>
        <pc:spChg chg="del">
          <ac:chgData name="Sai Arvind" userId="4be58695-eae9-4703-8993-7d37aad53b21" providerId="ADAL" clId="{996FF9A9-C974-443F-8618-837E1F831A03}" dt="2024-06-18T07:46:52.002" v="4085" actId="478"/>
          <ac:spMkLst>
            <pc:docMk/>
            <pc:sldMk cId="2757249485" sldId="2147482696"/>
            <ac:spMk id="31" creationId="{6C112EA2-5B0D-EA68-73E9-C18807E4B12F}"/>
          </ac:spMkLst>
        </pc:spChg>
        <pc:spChg chg="del">
          <ac:chgData name="Sai Arvind" userId="4be58695-eae9-4703-8993-7d37aad53b21" providerId="ADAL" clId="{996FF9A9-C974-443F-8618-837E1F831A03}" dt="2024-06-18T07:46:52.002" v="4085" actId="478"/>
          <ac:spMkLst>
            <pc:docMk/>
            <pc:sldMk cId="2757249485" sldId="2147482696"/>
            <ac:spMk id="32" creationId="{D04F5268-5632-A9F7-4DB9-BE91DD013562}"/>
          </ac:spMkLst>
        </pc:spChg>
        <pc:spChg chg="add mod">
          <ac:chgData name="Sai Arvind" userId="4be58695-eae9-4703-8993-7d37aad53b21" providerId="ADAL" clId="{996FF9A9-C974-443F-8618-837E1F831A03}" dt="2024-06-18T07:46:52.351" v="4086"/>
          <ac:spMkLst>
            <pc:docMk/>
            <pc:sldMk cId="2757249485" sldId="2147482696"/>
            <ac:spMk id="33" creationId="{D00E4C81-44D1-AA7D-1F66-8756C46608B5}"/>
          </ac:spMkLst>
        </pc:spChg>
        <pc:spChg chg="add mod">
          <ac:chgData name="Sai Arvind" userId="4be58695-eae9-4703-8993-7d37aad53b21" providerId="ADAL" clId="{996FF9A9-C974-443F-8618-837E1F831A03}" dt="2024-06-18T07:46:52.351" v="4086"/>
          <ac:spMkLst>
            <pc:docMk/>
            <pc:sldMk cId="2757249485" sldId="2147482696"/>
            <ac:spMk id="34" creationId="{D09A45C4-77FA-C003-FE36-A9D35D5DD3B0}"/>
          </ac:spMkLst>
        </pc:spChg>
        <pc:spChg chg="del">
          <ac:chgData name="Sai Arvind" userId="4be58695-eae9-4703-8993-7d37aad53b21" providerId="ADAL" clId="{996FF9A9-C974-443F-8618-837E1F831A03}" dt="2024-06-18T07:46:52.002" v="4085" actId="478"/>
          <ac:spMkLst>
            <pc:docMk/>
            <pc:sldMk cId="2757249485" sldId="2147482696"/>
            <ac:spMk id="35" creationId="{8B5E3042-7CD9-BBFC-F902-E3541782CF71}"/>
          </ac:spMkLst>
        </pc:spChg>
        <pc:spChg chg="del">
          <ac:chgData name="Sai Arvind" userId="4be58695-eae9-4703-8993-7d37aad53b21" providerId="ADAL" clId="{996FF9A9-C974-443F-8618-837E1F831A03}" dt="2024-06-18T07:46:52.002" v="4085" actId="478"/>
          <ac:spMkLst>
            <pc:docMk/>
            <pc:sldMk cId="2757249485" sldId="2147482696"/>
            <ac:spMk id="36" creationId="{1DE05400-0310-88C4-9F01-F05971ECFB4D}"/>
          </ac:spMkLst>
        </pc:spChg>
        <pc:spChg chg="mod">
          <ac:chgData name="Sai Arvind" userId="4be58695-eae9-4703-8993-7d37aad53b21" providerId="ADAL" clId="{996FF9A9-C974-443F-8618-837E1F831A03}" dt="2024-06-18T07:46:52.351" v="4086"/>
          <ac:spMkLst>
            <pc:docMk/>
            <pc:sldMk cId="2757249485" sldId="2147482696"/>
            <ac:spMk id="41" creationId="{EBAAD782-F5BA-8AB4-FF11-F6CF32864EBD}"/>
          </ac:spMkLst>
        </pc:spChg>
        <pc:spChg chg="mod">
          <ac:chgData name="Sai Arvind" userId="4be58695-eae9-4703-8993-7d37aad53b21" providerId="ADAL" clId="{996FF9A9-C974-443F-8618-837E1F831A03}" dt="2024-06-18T07:46:52.351" v="4086"/>
          <ac:spMkLst>
            <pc:docMk/>
            <pc:sldMk cId="2757249485" sldId="2147482696"/>
            <ac:spMk id="42" creationId="{517FCEB5-6FB5-3D93-CD73-8F718733CB63}"/>
          </ac:spMkLst>
        </pc:spChg>
        <pc:spChg chg="del">
          <ac:chgData name="Sai Arvind" userId="4be58695-eae9-4703-8993-7d37aad53b21" providerId="ADAL" clId="{996FF9A9-C974-443F-8618-837E1F831A03}" dt="2024-06-18T07:46:52.002" v="4085" actId="478"/>
          <ac:spMkLst>
            <pc:docMk/>
            <pc:sldMk cId="2757249485" sldId="2147482696"/>
            <ac:spMk id="43" creationId="{40AC95F8-ADBA-D4DD-4832-B40B6CD45394}"/>
          </ac:spMkLst>
        </pc:spChg>
        <pc:spChg chg="del">
          <ac:chgData name="Sai Arvind" userId="4be58695-eae9-4703-8993-7d37aad53b21" providerId="ADAL" clId="{996FF9A9-C974-443F-8618-837E1F831A03}" dt="2024-06-18T07:46:52.002" v="4085" actId="478"/>
          <ac:spMkLst>
            <pc:docMk/>
            <pc:sldMk cId="2757249485" sldId="2147482696"/>
            <ac:spMk id="44" creationId="{429DB8D6-8992-A1A8-A753-63083B96E62D}"/>
          </ac:spMkLst>
        </pc:spChg>
        <pc:spChg chg="del">
          <ac:chgData name="Sai Arvind" userId="4be58695-eae9-4703-8993-7d37aad53b21" providerId="ADAL" clId="{996FF9A9-C974-443F-8618-837E1F831A03}" dt="2024-06-18T07:46:52.002" v="4085" actId="478"/>
          <ac:spMkLst>
            <pc:docMk/>
            <pc:sldMk cId="2757249485" sldId="2147482696"/>
            <ac:spMk id="45" creationId="{FE1EDE70-BBC4-D33D-6B35-C9EDD0FEF43B}"/>
          </ac:spMkLst>
        </pc:spChg>
        <pc:spChg chg="del">
          <ac:chgData name="Sai Arvind" userId="4be58695-eae9-4703-8993-7d37aad53b21" providerId="ADAL" clId="{996FF9A9-C974-443F-8618-837E1F831A03}" dt="2024-06-18T07:46:52.002" v="4085" actId="478"/>
          <ac:spMkLst>
            <pc:docMk/>
            <pc:sldMk cId="2757249485" sldId="2147482696"/>
            <ac:spMk id="46" creationId="{746C3511-323B-DF5C-4A52-ADD0F862231A}"/>
          </ac:spMkLst>
        </pc:spChg>
        <pc:spChg chg="del">
          <ac:chgData name="Sai Arvind" userId="4be58695-eae9-4703-8993-7d37aad53b21" providerId="ADAL" clId="{996FF9A9-C974-443F-8618-837E1F831A03}" dt="2024-06-18T07:46:52.002" v="4085" actId="478"/>
          <ac:spMkLst>
            <pc:docMk/>
            <pc:sldMk cId="2757249485" sldId="2147482696"/>
            <ac:spMk id="47" creationId="{A9CFFDE9-115B-4770-E465-6D0B8E89F2C1}"/>
          </ac:spMkLst>
        </pc:spChg>
        <pc:spChg chg="add mod">
          <ac:chgData name="Sai Arvind" userId="4be58695-eae9-4703-8993-7d37aad53b21" providerId="ADAL" clId="{996FF9A9-C974-443F-8618-837E1F831A03}" dt="2024-06-18T07:46:52.351" v="4086"/>
          <ac:spMkLst>
            <pc:docMk/>
            <pc:sldMk cId="2757249485" sldId="2147482696"/>
            <ac:spMk id="50" creationId="{7747ED90-7D80-BE80-0505-D31B3A50B2AA}"/>
          </ac:spMkLst>
        </pc:spChg>
        <pc:spChg chg="add mod">
          <ac:chgData name="Sai Arvind" userId="4be58695-eae9-4703-8993-7d37aad53b21" providerId="ADAL" clId="{996FF9A9-C974-443F-8618-837E1F831A03}" dt="2024-06-18T07:46:52.351" v="4086"/>
          <ac:spMkLst>
            <pc:docMk/>
            <pc:sldMk cId="2757249485" sldId="2147482696"/>
            <ac:spMk id="51" creationId="{F28EFA05-900B-E56B-9A66-74498562A3A2}"/>
          </ac:spMkLst>
        </pc:spChg>
        <pc:spChg chg="add mod">
          <ac:chgData name="Sai Arvind" userId="4be58695-eae9-4703-8993-7d37aad53b21" providerId="ADAL" clId="{996FF9A9-C974-443F-8618-837E1F831A03}" dt="2024-06-18T07:46:52.351" v="4086"/>
          <ac:spMkLst>
            <pc:docMk/>
            <pc:sldMk cId="2757249485" sldId="2147482696"/>
            <ac:spMk id="54" creationId="{8574D753-7DF5-868A-C811-9E360AAC67FE}"/>
          </ac:spMkLst>
        </pc:spChg>
        <pc:spChg chg="add mod">
          <ac:chgData name="Sai Arvind" userId="4be58695-eae9-4703-8993-7d37aad53b21" providerId="ADAL" clId="{996FF9A9-C974-443F-8618-837E1F831A03}" dt="2024-06-18T07:46:52.351" v="4086"/>
          <ac:spMkLst>
            <pc:docMk/>
            <pc:sldMk cId="2757249485" sldId="2147482696"/>
            <ac:spMk id="55" creationId="{77EBE654-34AE-50D9-8EC5-FD873A3CF1B5}"/>
          </ac:spMkLst>
        </pc:spChg>
        <pc:spChg chg="add mod">
          <ac:chgData name="Sai Arvind" userId="4be58695-eae9-4703-8993-7d37aad53b21" providerId="ADAL" clId="{996FF9A9-C974-443F-8618-837E1F831A03}" dt="2024-06-18T07:46:52.351" v="4086"/>
          <ac:spMkLst>
            <pc:docMk/>
            <pc:sldMk cId="2757249485" sldId="2147482696"/>
            <ac:spMk id="56" creationId="{74330EEC-FA72-874E-C66C-BD68508FB9E4}"/>
          </ac:spMkLst>
        </pc:spChg>
        <pc:spChg chg="mod">
          <ac:chgData name="Sai Arvind" userId="4be58695-eae9-4703-8993-7d37aad53b21" providerId="ADAL" clId="{996FF9A9-C974-443F-8618-837E1F831A03}" dt="2024-06-18T07:46:52.351" v="4086"/>
          <ac:spMkLst>
            <pc:docMk/>
            <pc:sldMk cId="2757249485" sldId="2147482696"/>
            <ac:spMk id="58" creationId="{200016DE-F1F9-A2FA-9877-11C0CE5F2326}"/>
          </ac:spMkLst>
        </pc:spChg>
        <pc:spChg chg="mod">
          <ac:chgData name="Sai Arvind" userId="4be58695-eae9-4703-8993-7d37aad53b21" providerId="ADAL" clId="{996FF9A9-C974-443F-8618-837E1F831A03}" dt="2024-06-18T07:46:52.351" v="4086"/>
          <ac:spMkLst>
            <pc:docMk/>
            <pc:sldMk cId="2757249485" sldId="2147482696"/>
            <ac:spMk id="59" creationId="{B2B7BC5C-16AB-DA7F-DC2D-CF1F2378C57E}"/>
          </ac:spMkLst>
        </pc:spChg>
        <pc:spChg chg="mod">
          <ac:chgData name="Sai Arvind" userId="4be58695-eae9-4703-8993-7d37aad53b21" providerId="ADAL" clId="{996FF9A9-C974-443F-8618-837E1F831A03}" dt="2024-06-18T07:46:52.351" v="4086"/>
          <ac:spMkLst>
            <pc:docMk/>
            <pc:sldMk cId="2757249485" sldId="2147482696"/>
            <ac:spMk id="60" creationId="{E71FE17B-B8E8-0F6C-FC24-264554D2A8A7}"/>
          </ac:spMkLst>
        </pc:spChg>
        <pc:spChg chg="mod">
          <ac:chgData name="Sai Arvind" userId="4be58695-eae9-4703-8993-7d37aad53b21" providerId="ADAL" clId="{996FF9A9-C974-443F-8618-837E1F831A03}" dt="2024-06-18T07:46:52.351" v="4086"/>
          <ac:spMkLst>
            <pc:docMk/>
            <pc:sldMk cId="2757249485" sldId="2147482696"/>
            <ac:spMk id="61" creationId="{BE30D369-5007-2803-C92E-9DDD3E71679A}"/>
          </ac:spMkLst>
        </pc:spChg>
        <pc:spChg chg="mod">
          <ac:chgData name="Sai Arvind" userId="4be58695-eae9-4703-8993-7d37aad53b21" providerId="ADAL" clId="{996FF9A9-C974-443F-8618-837E1F831A03}" dt="2024-06-18T07:46:52.351" v="4086"/>
          <ac:spMkLst>
            <pc:docMk/>
            <pc:sldMk cId="2757249485" sldId="2147482696"/>
            <ac:spMk id="62" creationId="{8C1E2B71-9B4A-D2B0-0DFA-FE0C8AA06DEB}"/>
          </ac:spMkLst>
        </pc:spChg>
        <pc:spChg chg="mod">
          <ac:chgData name="Sai Arvind" userId="4be58695-eae9-4703-8993-7d37aad53b21" providerId="ADAL" clId="{996FF9A9-C974-443F-8618-837E1F831A03}" dt="2024-06-18T07:46:52.351" v="4086"/>
          <ac:spMkLst>
            <pc:docMk/>
            <pc:sldMk cId="2757249485" sldId="2147482696"/>
            <ac:spMk id="63" creationId="{B5C085EC-43DF-62A7-96B2-F276804BDC64}"/>
          </ac:spMkLst>
        </pc:spChg>
        <pc:spChg chg="del">
          <ac:chgData name="Sai Arvind" userId="4be58695-eae9-4703-8993-7d37aad53b21" providerId="ADAL" clId="{996FF9A9-C974-443F-8618-837E1F831A03}" dt="2024-06-18T07:46:52.002" v="4085" actId="478"/>
          <ac:spMkLst>
            <pc:docMk/>
            <pc:sldMk cId="2757249485" sldId="2147482696"/>
            <ac:spMk id="65" creationId="{37E2B375-FC27-0B91-7201-5AE92536637C}"/>
          </ac:spMkLst>
        </pc:spChg>
        <pc:spChg chg="add mod">
          <ac:chgData name="Sai Arvind" userId="4be58695-eae9-4703-8993-7d37aad53b21" providerId="ADAL" clId="{996FF9A9-C974-443F-8618-837E1F831A03}" dt="2024-06-18T07:46:52.351" v="4086"/>
          <ac:spMkLst>
            <pc:docMk/>
            <pc:sldMk cId="2757249485" sldId="2147482696"/>
            <ac:spMk id="72" creationId="{B39439A0-D320-9156-0D7E-A16A2976F9DB}"/>
          </ac:spMkLst>
        </pc:spChg>
        <pc:spChg chg="add mod">
          <ac:chgData name="Sai Arvind" userId="4be58695-eae9-4703-8993-7d37aad53b21" providerId="ADAL" clId="{996FF9A9-C974-443F-8618-837E1F831A03}" dt="2024-06-18T07:46:52.351" v="4086"/>
          <ac:spMkLst>
            <pc:docMk/>
            <pc:sldMk cId="2757249485" sldId="2147482696"/>
            <ac:spMk id="73" creationId="{1959704B-7BDB-F320-C5C2-AF8F00906E45}"/>
          </ac:spMkLst>
        </pc:spChg>
        <pc:spChg chg="add mod">
          <ac:chgData name="Sai Arvind" userId="4be58695-eae9-4703-8993-7d37aad53b21" providerId="ADAL" clId="{996FF9A9-C974-443F-8618-837E1F831A03}" dt="2024-06-18T07:46:52.351" v="4086"/>
          <ac:spMkLst>
            <pc:docMk/>
            <pc:sldMk cId="2757249485" sldId="2147482696"/>
            <ac:spMk id="75" creationId="{1E04502D-F348-E924-F62F-0C53B6E14C2F}"/>
          </ac:spMkLst>
        </pc:spChg>
        <pc:spChg chg="add mod">
          <ac:chgData name="Sai Arvind" userId="4be58695-eae9-4703-8993-7d37aad53b21" providerId="ADAL" clId="{996FF9A9-C974-443F-8618-837E1F831A03}" dt="2024-06-18T07:46:52.351" v="4086"/>
          <ac:spMkLst>
            <pc:docMk/>
            <pc:sldMk cId="2757249485" sldId="2147482696"/>
            <ac:spMk id="77" creationId="{AB9E1041-0D9A-76AA-BA06-4C68774FE52D}"/>
          </ac:spMkLst>
        </pc:spChg>
        <pc:spChg chg="add mod">
          <ac:chgData name="Sai Arvind" userId="4be58695-eae9-4703-8993-7d37aad53b21" providerId="ADAL" clId="{996FF9A9-C974-443F-8618-837E1F831A03}" dt="2024-06-18T07:46:52.351" v="4086"/>
          <ac:spMkLst>
            <pc:docMk/>
            <pc:sldMk cId="2757249485" sldId="2147482696"/>
            <ac:spMk id="78" creationId="{1E22E132-F0D1-16DD-1A0A-4DB359B97EE0}"/>
          </ac:spMkLst>
        </pc:spChg>
        <pc:spChg chg="del">
          <ac:chgData name="Sai Arvind" userId="4be58695-eae9-4703-8993-7d37aad53b21" providerId="ADAL" clId="{996FF9A9-C974-443F-8618-837E1F831A03}" dt="2024-06-18T07:46:52.002" v="4085" actId="478"/>
          <ac:spMkLst>
            <pc:docMk/>
            <pc:sldMk cId="2757249485" sldId="2147482696"/>
            <ac:spMk id="79" creationId="{86A490E4-7155-D394-EBB9-CED0BD92C218}"/>
          </ac:spMkLst>
        </pc:spChg>
        <pc:spChg chg="add mod">
          <ac:chgData name="Sai Arvind" userId="4be58695-eae9-4703-8993-7d37aad53b21" providerId="ADAL" clId="{996FF9A9-C974-443F-8618-837E1F831A03}" dt="2024-06-18T07:46:52.351" v="4086"/>
          <ac:spMkLst>
            <pc:docMk/>
            <pc:sldMk cId="2757249485" sldId="2147482696"/>
            <ac:spMk id="81" creationId="{6A1FD5FB-A857-F79C-5989-45C341E45EE2}"/>
          </ac:spMkLst>
        </pc:spChg>
        <pc:spChg chg="del">
          <ac:chgData name="Sai Arvind" userId="4be58695-eae9-4703-8993-7d37aad53b21" providerId="ADAL" clId="{996FF9A9-C974-443F-8618-837E1F831A03}" dt="2024-06-18T07:46:52.002" v="4085" actId="478"/>
          <ac:spMkLst>
            <pc:docMk/>
            <pc:sldMk cId="2757249485" sldId="2147482696"/>
            <ac:spMk id="82" creationId="{93982115-6CC0-2004-221A-A20406E9D29B}"/>
          </ac:spMkLst>
        </pc:spChg>
        <pc:spChg chg="add mod">
          <ac:chgData name="Sai Arvind" userId="4be58695-eae9-4703-8993-7d37aad53b21" providerId="ADAL" clId="{996FF9A9-C974-443F-8618-837E1F831A03}" dt="2024-06-18T07:46:52.351" v="4086"/>
          <ac:spMkLst>
            <pc:docMk/>
            <pc:sldMk cId="2757249485" sldId="2147482696"/>
            <ac:spMk id="84" creationId="{DE6FC781-5612-9A9F-E162-9B8FA4C21869}"/>
          </ac:spMkLst>
        </pc:spChg>
        <pc:spChg chg="add mod">
          <ac:chgData name="Sai Arvind" userId="4be58695-eae9-4703-8993-7d37aad53b21" providerId="ADAL" clId="{996FF9A9-C974-443F-8618-837E1F831A03}" dt="2024-06-18T07:46:52.351" v="4086"/>
          <ac:spMkLst>
            <pc:docMk/>
            <pc:sldMk cId="2757249485" sldId="2147482696"/>
            <ac:spMk id="85" creationId="{322AB08F-FB7E-8258-11B2-F58B5F6FD49D}"/>
          </ac:spMkLst>
        </pc:spChg>
        <pc:spChg chg="add mod">
          <ac:chgData name="Sai Arvind" userId="4be58695-eae9-4703-8993-7d37aad53b21" providerId="ADAL" clId="{996FF9A9-C974-443F-8618-837E1F831A03}" dt="2024-06-18T07:46:52.351" v="4086"/>
          <ac:spMkLst>
            <pc:docMk/>
            <pc:sldMk cId="2757249485" sldId="2147482696"/>
            <ac:spMk id="86" creationId="{87251202-3453-2A61-8AC6-08E70276202D}"/>
          </ac:spMkLst>
        </pc:spChg>
        <pc:spChg chg="add mod">
          <ac:chgData name="Sai Arvind" userId="4be58695-eae9-4703-8993-7d37aad53b21" providerId="ADAL" clId="{996FF9A9-C974-443F-8618-837E1F831A03}" dt="2024-06-18T07:46:52.351" v="4086"/>
          <ac:spMkLst>
            <pc:docMk/>
            <pc:sldMk cId="2757249485" sldId="2147482696"/>
            <ac:spMk id="87" creationId="{A93706AF-247F-37A0-4DB2-0F2756B31785}"/>
          </ac:spMkLst>
        </pc:spChg>
        <pc:spChg chg="add mod">
          <ac:chgData name="Sai Arvind" userId="4be58695-eae9-4703-8993-7d37aad53b21" providerId="ADAL" clId="{996FF9A9-C974-443F-8618-837E1F831A03}" dt="2024-06-18T07:46:52.351" v="4086"/>
          <ac:spMkLst>
            <pc:docMk/>
            <pc:sldMk cId="2757249485" sldId="2147482696"/>
            <ac:spMk id="88" creationId="{24D5A2D1-1F8C-557F-B55D-9324B78B202B}"/>
          </ac:spMkLst>
        </pc:spChg>
        <pc:spChg chg="add mod">
          <ac:chgData name="Sai Arvind" userId="4be58695-eae9-4703-8993-7d37aad53b21" providerId="ADAL" clId="{996FF9A9-C974-443F-8618-837E1F831A03}" dt="2024-06-18T07:46:52.351" v="4086"/>
          <ac:spMkLst>
            <pc:docMk/>
            <pc:sldMk cId="2757249485" sldId="2147482696"/>
            <ac:spMk id="89" creationId="{1865AC7C-DC9F-BBBA-BD13-2C5D28113447}"/>
          </ac:spMkLst>
        </pc:spChg>
        <pc:spChg chg="add mod">
          <ac:chgData name="Sai Arvind" userId="4be58695-eae9-4703-8993-7d37aad53b21" providerId="ADAL" clId="{996FF9A9-C974-443F-8618-837E1F831A03}" dt="2024-06-18T07:46:52.351" v="4086"/>
          <ac:spMkLst>
            <pc:docMk/>
            <pc:sldMk cId="2757249485" sldId="2147482696"/>
            <ac:spMk id="91" creationId="{5F492E29-41E1-C9BE-D9FE-975B8E8D2C79}"/>
          </ac:spMkLst>
        </pc:spChg>
        <pc:spChg chg="mod">
          <ac:chgData name="Sai Arvind" userId="4be58695-eae9-4703-8993-7d37aad53b21" providerId="ADAL" clId="{996FF9A9-C974-443F-8618-837E1F831A03}" dt="2024-06-18T07:46:52.351" v="4086"/>
          <ac:spMkLst>
            <pc:docMk/>
            <pc:sldMk cId="2757249485" sldId="2147482696"/>
            <ac:spMk id="93" creationId="{39869EAE-01C2-8471-5839-E0FB5E071FE9}"/>
          </ac:spMkLst>
        </pc:spChg>
        <pc:spChg chg="mod">
          <ac:chgData name="Sai Arvind" userId="4be58695-eae9-4703-8993-7d37aad53b21" providerId="ADAL" clId="{996FF9A9-C974-443F-8618-837E1F831A03}" dt="2024-06-18T07:46:52.351" v="4086"/>
          <ac:spMkLst>
            <pc:docMk/>
            <pc:sldMk cId="2757249485" sldId="2147482696"/>
            <ac:spMk id="94" creationId="{9F96D202-FAD7-20E2-5A97-82ABEB66C1F5}"/>
          </ac:spMkLst>
        </pc:spChg>
        <pc:spChg chg="add mod">
          <ac:chgData name="Sai Arvind" userId="4be58695-eae9-4703-8993-7d37aad53b21" providerId="ADAL" clId="{996FF9A9-C974-443F-8618-837E1F831A03}" dt="2024-06-18T07:46:52.351" v="4086"/>
          <ac:spMkLst>
            <pc:docMk/>
            <pc:sldMk cId="2757249485" sldId="2147482696"/>
            <ac:spMk id="95" creationId="{77322E23-9377-7B17-58B2-6E7D09FBA9E0}"/>
          </ac:spMkLst>
        </pc:spChg>
        <pc:spChg chg="add mod">
          <ac:chgData name="Sai Arvind" userId="4be58695-eae9-4703-8993-7d37aad53b21" providerId="ADAL" clId="{996FF9A9-C974-443F-8618-837E1F831A03}" dt="2024-06-18T07:46:52.351" v="4086"/>
          <ac:spMkLst>
            <pc:docMk/>
            <pc:sldMk cId="2757249485" sldId="2147482696"/>
            <ac:spMk id="96" creationId="{2C8803D5-FDE7-267F-1CD5-97738425872F}"/>
          </ac:spMkLst>
        </pc:spChg>
        <pc:grpChg chg="add mod">
          <ac:chgData name="Sai Arvind" userId="4be58695-eae9-4703-8993-7d37aad53b21" providerId="ADAL" clId="{996FF9A9-C974-443F-8618-837E1F831A03}" dt="2024-06-18T06:30:35.140" v="3404"/>
          <ac:grpSpMkLst>
            <pc:docMk/>
            <pc:sldMk cId="2757249485" sldId="2147482696"/>
            <ac:grpSpMk id="17" creationId="{D93E4FAD-1757-B99A-0047-D78DD67E8F2A}"/>
          </ac:grpSpMkLst>
        </pc:grpChg>
        <pc:grpChg chg="add mod">
          <ac:chgData name="Sai Arvind" userId="4be58695-eae9-4703-8993-7d37aad53b21" providerId="ADAL" clId="{996FF9A9-C974-443F-8618-837E1F831A03}" dt="2024-06-18T07:46:52.351" v="4086"/>
          <ac:grpSpMkLst>
            <pc:docMk/>
            <pc:sldMk cId="2757249485" sldId="2147482696"/>
            <ac:grpSpMk id="22" creationId="{09832109-DC6B-C654-815D-339D228D8BEB}"/>
          </ac:grpSpMkLst>
        </pc:grpChg>
        <pc:grpChg chg="add mod">
          <ac:chgData name="Sai Arvind" userId="4be58695-eae9-4703-8993-7d37aad53b21" providerId="ADAL" clId="{996FF9A9-C974-443F-8618-837E1F831A03}" dt="2024-06-18T07:46:52.351" v="4086"/>
          <ac:grpSpMkLst>
            <pc:docMk/>
            <pc:sldMk cId="2757249485" sldId="2147482696"/>
            <ac:grpSpMk id="38" creationId="{61D82690-8E32-CD9F-7398-463BB148A734}"/>
          </ac:grpSpMkLst>
        </pc:grpChg>
        <pc:grpChg chg="add mod">
          <ac:chgData name="Sai Arvind" userId="4be58695-eae9-4703-8993-7d37aad53b21" providerId="ADAL" clId="{996FF9A9-C974-443F-8618-837E1F831A03}" dt="2024-06-18T07:46:52.351" v="4086"/>
          <ac:grpSpMkLst>
            <pc:docMk/>
            <pc:sldMk cId="2757249485" sldId="2147482696"/>
            <ac:grpSpMk id="57" creationId="{DB90C75A-765C-6B8C-252A-ACDB2D1F5330}"/>
          </ac:grpSpMkLst>
        </pc:grpChg>
        <pc:grpChg chg="add mod">
          <ac:chgData name="Sai Arvind" userId="4be58695-eae9-4703-8993-7d37aad53b21" providerId="ADAL" clId="{996FF9A9-C974-443F-8618-837E1F831A03}" dt="2024-06-18T07:46:52.351" v="4086"/>
          <ac:grpSpMkLst>
            <pc:docMk/>
            <pc:sldMk cId="2757249485" sldId="2147482696"/>
            <ac:grpSpMk id="92" creationId="{91BD90C5-B07E-25D5-42F5-3F1AFD2ABFED}"/>
          </ac:grpSpMkLst>
        </pc:grpChg>
        <pc:picChg chg="del">
          <ac:chgData name="Sai Arvind" userId="4be58695-eae9-4703-8993-7d37aad53b21" providerId="ADAL" clId="{996FF9A9-C974-443F-8618-837E1F831A03}" dt="2024-06-18T06:30:34.650" v="3403" actId="478"/>
          <ac:picMkLst>
            <pc:docMk/>
            <pc:sldMk cId="2757249485" sldId="2147482696"/>
            <ac:picMk id="13" creationId="{B01479E9-843E-22C0-4ABF-C34AB59547FF}"/>
          </ac:picMkLst>
        </pc:picChg>
        <pc:picChg chg="mod">
          <ac:chgData name="Sai Arvind" userId="4be58695-eae9-4703-8993-7d37aad53b21" providerId="ADAL" clId="{996FF9A9-C974-443F-8618-837E1F831A03}" dt="2024-06-18T06:30:35.140" v="3404"/>
          <ac:picMkLst>
            <pc:docMk/>
            <pc:sldMk cId="2757249485" sldId="2147482696"/>
            <ac:picMk id="21" creationId="{E643A5FE-A904-1CDF-E19E-DDBC464E61E5}"/>
          </ac:picMkLst>
        </pc:picChg>
        <pc:picChg chg="add mod">
          <ac:chgData name="Sai Arvind" userId="4be58695-eae9-4703-8993-7d37aad53b21" providerId="ADAL" clId="{996FF9A9-C974-443F-8618-837E1F831A03}" dt="2024-06-18T07:46:52.351" v="4086"/>
          <ac:picMkLst>
            <pc:docMk/>
            <pc:sldMk cId="2757249485" sldId="2147482696"/>
            <ac:picMk id="37" creationId="{A76707C4-892A-549E-2E2B-5B95D93915EA}"/>
          </ac:picMkLst>
        </pc:picChg>
        <pc:picChg chg="add mod">
          <ac:chgData name="Sai Arvind" userId="4be58695-eae9-4703-8993-7d37aad53b21" providerId="ADAL" clId="{996FF9A9-C974-443F-8618-837E1F831A03}" dt="2024-06-18T07:46:52.351" v="4086"/>
          <ac:picMkLst>
            <pc:docMk/>
            <pc:sldMk cId="2757249485" sldId="2147482696"/>
            <ac:picMk id="52" creationId="{1B3EC3B4-3FA5-C98A-CF2D-70DA6530FAC3}"/>
          </ac:picMkLst>
        </pc:picChg>
        <pc:picChg chg="del">
          <ac:chgData name="Sai Arvind" userId="4be58695-eae9-4703-8993-7d37aad53b21" providerId="ADAL" clId="{996FF9A9-C974-443F-8618-837E1F831A03}" dt="2024-06-18T07:46:52.002" v="4085" actId="478"/>
          <ac:picMkLst>
            <pc:docMk/>
            <pc:sldMk cId="2757249485" sldId="2147482696"/>
            <ac:picMk id="66" creationId="{4AB3ABB4-4EE9-96AB-AF18-3312FF7632E4}"/>
          </ac:picMkLst>
        </pc:picChg>
        <pc:picChg chg="del">
          <ac:chgData name="Sai Arvind" userId="4be58695-eae9-4703-8993-7d37aad53b21" providerId="ADAL" clId="{996FF9A9-C974-443F-8618-837E1F831A03}" dt="2024-06-18T07:46:52.002" v="4085" actId="478"/>
          <ac:picMkLst>
            <pc:docMk/>
            <pc:sldMk cId="2757249485" sldId="2147482696"/>
            <ac:picMk id="70" creationId="{72B01610-7958-43E2-8CE2-62FBDC265567}"/>
          </ac:picMkLst>
        </pc:picChg>
        <pc:picChg chg="del">
          <ac:chgData name="Sai Arvind" userId="4be58695-eae9-4703-8993-7d37aad53b21" providerId="ADAL" clId="{996FF9A9-C974-443F-8618-837E1F831A03}" dt="2024-06-18T07:46:52.002" v="4085" actId="478"/>
          <ac:picMkLst>
            <pc:docMk/>
            <pc:sldMk cId="2757249485" sldId="2147482696"/>
            <ac:picMk id="80" creationId="{4731BAC3-256A-890F-4404-AE43126F40DE}"/>
          </ac:picMkLst>
        </pc:picChg>
        <pc:picChg chg="add mod">
          <ac:chgData name="Sai Arvind" userId="4be58695-eae9-4703-8993-7d37aad53b21" providerId="ADAL" clId="{996FF9A9-C974-443F-8618-837E1F831A03}" dt="2024-06-18T07:46:52.351" v="4086"/>
          <ac:picMkLst>
            <pc:docMk/>
            <pc:sldMk cId="2757249485" sldId="2147482696"/>
            <ac:picMk id="90" creationId="{2AF1E680-0439-3313-AA0B-BD5E23438B23}"/>
          </ac:picMkLst>
        </pc:picChg>
        <pc:cxnChg chg="del">
          <ac:chgData name="Sai Arvind" userId="4be58695-eae9-4703-8993-7d37aad53b21" providerId="ADAL" clId="{996FF9A9-C974-443F-8618-837E1F831A03}" dt="2024-06-18T07:46:52.002" v="4085" actId="478"/>
          <ac:cxnSpMkLst>
            <pc:docMk/>
            <pc:sldMk cId="2757249485" sldId="2147482696"/>
            <ac:cxnSpMk id="39" creationId="{16F27527-1F19-DCB8-1809-AA82639011F2}"/>
          </ac:cxnSpMkLst>
        </pc:cxnChg>
        <pc:cxnChg chg="del mod">
          <ac:chgData name="Sai Arvind" userId="4be58695-eae9-4703-8993-7d37aad53b21" providerId="ADAL" clId="{996FF9A9-C974-443F-8618-837E1F831A03}" dt="2024-06-18T07:46:52.002" v="4085" actId="478"/>
          <ac:cxnSpMkLst>
            <pc:docMk/>
            <pc:sldMk cId="2757249485" sldId="2147482696"/>
            <ac:cxnSpMk id="40" creationId="{8FCE2267-FF4E-7E6A-6078-9DEF61ADEBCE}"/>
          </ac:cxnSpMkLst>
        </pc:cxnChg>
        <pc:cxnChg chg="del mod">
          <ac:chgData name="Sai Arvind" userId="4be58695-eae9-4703-8993-7d37aad53b21" providerId="ADAL" clId="{996FF9A9-C974-443F-8618-837E1F831A03}" dt="2024-06-18T07:46:52.002" v="4085" actId="478"/>
          <ac:cxnSpMkLst>
            <pc:docMk/>
            <pc:sldMk cId="2757249485" sldId="2147482696"/>
            <ac:cxnSpMk id="48" creationId="{8A784486-0E82-9078-F843-F160AA1B1389}"/>
          </ac:cxnSpMkLst>
        </pc:cxnChg>
        <pc:cxnChg chg="del">
          <ac:chgData name="Sai Arvind" userId="4be58695-eae9-4703-8993-7d37aad53b21" providerId="ADAL" clId="{996FF9A9-C974-443F-8618-837E1F831A03}" dt="2024-06-18T07:46:52.002" v="4085" actId="478"/>
          <ac:cxnSpMkLst>
            <pc:docMk/>
            <pc:sldMk cId="2757249485" sldId="2147482696"/>
            <ac:cxnSpMk id="49" creationId="{3B3ADA1A-C0A9-7E6A-F419-A473BFD8B24A}"/>
          </ac:cxnSpMkLst>
        </pc:cxnChg>
        <pc:cxnChg chg="del mod">
          <ac:chgData name="Sai Arvind" userId="4be58695-eae9-4703-8993-7d37aad53b21" providerId="ADAL" clId="{996FF9A9-C974-443F-8618-837E1F831A03}" dt="2024-06-18T07:46:52.002" v="4085" actId="478"/>
          <ac:cxnSpMkLst>
            <pc:docMk/>
            <pc:sldMk cId="2757249485" sldId="2147482696"/>
            <ac:cxnSpMk id="53" creationId="{90755292-C6EC-AA22-BACB-5193B2E4381B}"/>
          </ac:cxnSpMkLst>
        </pc:cxnChg>
        <pc:cxnChg chg="mod">
          <ac:chgData name="Sai Arvind" userId="4be58695-eae9-4703-8993-7d37aad53b21" providerId="ADAL" clId="{996FF9A9-C974-443F-8618-837E1F831A03}" dt="2024-06-18T07:46:52.351" v="4086"/>
          <ac:cxnSpMkLst>
            <pc:docMk/>
            <pc:sldMk cId="2757249485" sldId="2147482696"/>
            <ac:cxnSpMk id="64" creationId="{A8D87065-0F44-A4EF-0C86-29E72198F7DB}"/>
          </ac:cxnSpMkLst>
        </pc:cxnChg>
        <pc:cxnChg chg="mod">
          <ac:chgData name="Sai Arvind" userId="4be58695-eae9-4703-8993-7d37aad53b21" providerId="ADAL" clId="{996FF9A9-C974-443F-8618-837E1F831A03}" dt="2024-06-18T07:46:52.351" v="4086"/>
          <ac:cxnSpMkLst>
            <pc:docMk/>
            <pc:sldMk cId="2757249485" sldId="2147482696"/>
            <ac:cxnSpMk id="67" creationId="{91369C21-0A58-26E5-E4B2-3400820D2ED7}"/>
          </ac:cxnSpMkLst>
        </pc:cxnChg>
        <pc:cxnChg chg="mod">
          <ac:chgData name="Sai Arvind" userId="4be58695-eae9-4703-8993-7d37aad53b21" providerId="ADAL" clId="{996FF9A9-C974-443F-8618-837E1F831A03}" dt="2024-06-18T07:46:52.351" v="4086"/>
          <ac:cxnSpMkLst>
            <pc:docMk/>
            <pc:sldMk cId="2757249485" sldId="2147482696"/>
            <ac:cxnSpMk id="68" creationId="{D61BB40D-D16B-AE0F-9743-BCACC4CA2F4A}"/>
          </ac:cxnSpMkLst>
        </pc:cxnChg>
        <pc:cxnChg chg="mod">
          <ac:chgData name="Sai Arvind" userId="4be58695-eae9-4703-8993-7d37aad53b21" providerId="ADAL" clId="{996FF9A9-C974-443F-8618-837E1F831A03}" dt="2024-06-18T07:46:52.351" v="4086"/>
          <ac:cxnSpMkLst>
            <pc:docMk/>
            <pc:sldMk cId="2757249485" sldId="2147482696"/>
            <ac:cxnSpMk id="69" creationId="{6DA97FE5-56B8-336B-75F1-29B72E8E3B8D}"/>
          </ac:cxnSpMkLst>
        </pc:cxnChg>
        <pc:cxnChg chg="mod">
          <ac:chgData name="Sai Arvind" userId="4be58695-eae9-4703-8993-7d37aad53b21" providerId="ADAL" clId="{996FF9A9-C974-443F-8618-837E1F831A03}" dt="2024-06-18T07:46:52.351" v="4086"/>
          <ac:cxnSpMkLst>
            <pc:docMk/>
            <pc:sldMk cId="2757249485" sldId="2147482696"/>
            <ac:cxnSpMk id="71" creationId="{EF4404FE-5A3D-2192-907A-AB86D5C595FE}"/>
          </ac:cxnSpMkLst>
        </pc:cxnChg>
        <pc:cxnChg chg="del">
          <ac:chgData name="Sai Arvind" userId="4be58695-eae9-4703-8993-7d37aad53b21" providerId="ADAL" clId="{996FF9A9-C974-443F-8618-837E1F831A03}" dt="2024-06-18T07:46:52.002" v="4085" actId="478"/>
          <ac:cxnSpMkLst>
            <pc:docMk/>
            <pc:sldMk cId="2757249485" sldId="2147482696"/>
            <ac:cxnSpMk id="74" creationId="{77110FD0-CD84-D845-50B2-5DCDC6B73456}"/>
          </ac:cxnSpMkLst>
        </pc:cxnChg>
        <pc:cxnChg chg="del">
          <ac:chgData name="Sai Arvind" userId="4be58695-eae9-4703-8993-7d37aad53b21" providerId="ADAL" clId="{996FF9A9-C974-443F-8618-837E1F831A03}" dt="2024-06-18T07:46:52.002" v="4085" actId="478"/>
          <ac:cxnSpMkLst>
            <pc:docMk/>
            <pc:sldMk cId="2757249485" sldId="2147482696"/>
            <ac:cxnSpMk id="76" creationId="{C74AECD7-2044-9213-FE09-FD341AFEB56B}"/>
          </ac:cxnSpMkLst>
        </pc:cxnChg>
        <pc:cxnChg chg="del">
          <ac:chgData name="Sai Arvind" userId="4be58695-eae9-4703-8993-7d37aad53b21" providerId="ADAL" clId="{996FF9A9-C974-443F-8618-837E1F831A03}" dt="2024-06-18T07:46:52.002" v="4085" actId="478"/>
          <ac:cxnSpMkLst>
            <pc:docMk/>
            <pc:sldMk cId="2757249485" sldId="2147482696"/>
            <ac:cxnSpMk id="83" creationId="{F9F73EC1-2E19-906D-B81D-704E182E4556}"/>
          </ac:cxnSpMkLst>
        </pc:cxnChg>
      </pc:sldChg>
      <pc:sldChg chg="addSp delSp modSp new del mod modShow chgLayout">
        <pc:chgData name="Sai Arvind" userId="4be58695-eae9-4703-8993-7d37aad53b21" providerId="ADAL" clId="{996FF9A9-C974-443F-8618-837E1F831A03}" dt="2024-06-18T07:46:55.022" v="4087" actId="47"/>
        <pc:sldMkLst>
          <pc:docMk/>
          <pc:sldMk cId="199871311" sldId="2147482697"/>
        </pc:sldMkLst>
        <pc:spChg chg="del">
          <ac:chgData name="Sai Arvind" userId="4be58695-eae9-4703-8993-7d37aad53b21" providerId="ADAL" clId="{996FF9A9-C974-443F-8618-837E1F831A03}" dt="2024-06-18T07:29:12.157" v="3627" actId="700"/>
          <ac:spMkLst>
            <pc:docMk/>
            <pc:sldMk cId="199871311" sldId="2147482697"/>
            <ac:spMk id="2" creationId="{3E6F195C-0AB0-28E6-7CE6-DB0E04D45351}"/>
          </ac:spMkLst>
        </pc:spChg>
        <pc:spChg chg="del">
          <ac:chgData name="Sai Arvind" userId="4be58695-eae9-4703-8993-7d37aad53b21" providerId="ADAL" clId="{996FF9A9-C974-443F-8618-837E1F831A03}" dt="2024-06-18T07:29:12.157" v="3627" actId="700"/>
          <ac:spMkLst>
            <pc:docMk/>
            <pc:sldMk cId="199871311" sldId="2147482697"/>
            <ac:spMk id="3" creationId="{FCF464A7-82A6-3942-3913-06A12851E8FF}"/>
          </ac:spMkLst>
        </pc:spChg>
        <pc:spChg chg="add mod ord">
          <ac:chgData name="Sai Arvind" userId="4be58695-eae9-4703-8993-7d37aad53b21" providerId="ADAL" clId="{996FF9A9-C974-443F-8618-837E1F831A03}" dt="2024-06-18T07:29:12.157" v="3627" actId="700"/>
          <ac:spMkLst>
            <pc:docMk/>
            <pc:sldMk cId="199871311" sldId="2147482697"/>
            <ac:spMk id="4" creationId="{15B5B0D3-B467-3A5E-4D55-F6528E0701BC}"/>
          </ac:spMkLst>
        </pc:spChg>
        <pc:spChg chg="add del mod ord">
          <ac:chgData name="Sai Arvind" userId="4be58695-eae9-4703-8993-7d37aad53b21" providerId="ADAL" clId="{996FF9A9-C974-443F-8618-837E1F831A03}" dt="2024-06-18T07:38:15.517" v="3858" actId="478"/>
          <ac:spMkLst>
            <pc:docMk/>
            <pc:sldMk cId="199871311" sldId="2147482697"/>
            <ac:spMk id="5" creationId="{6DB070CF-9FBC-75BE-E331-CBBC905D0296}"/>
          </ac:spMkLst>
        </pc:spChg>
        <pc:spChg chg="add mod topLvl">
          <ac:chgData name="Sai Arvind" userId="4be58695-eae9-4703-8993-7d37aad53b21" providerId="ADAL" clId="{996FF9A9-C974-443F-8618-837E1F831A03}" dt="2024-06-18T07:46:42.836" v="4084"/>
          <ac:spMkLst>
            <pc:docMk/>
            <pc:sldMk cId="199871311" sldId="2147482697"/>
            <ac:spMk id="6" creationId="{2DAE3E78-DCB4-3649-2DDD-296C9514841E}"/>
          </ac:spMkLst>
        </pc:spChg>
        <pc:spChg chg="add mod topLvl">
          <ac:chgData name="Sai Arvind" userId="4be58695-eae9-4703-8993-7d37aad53b21" providerId="ADAL" clId="{996FF9A9-C974-443F-8618-837E1F831A03}" dt="2024-06-18T07:46:42.836" v="4084"/>
          <ac:spMkLst>
            <pc:docMk/>
            <pc:sldMk cId="199871311" sldId="2147482697"/>
            <ac:spMk id="7" creationId="{666410C3-66F9-7806-5603-A2E97C92E2B9}"/>
          </ac:spMkLst>
        </pc:spChg>
        <pc:spChg chg="add del mod ord">
          <ac:chgData name="Sai Arvind" userId="4be58695-eae9-4703-8993-7d37aad53b21" providerId="ADAL" clId="{996FF9A9-C974-443F-8618-837E1F831A03}" dt="2024-06-18T07:33:40.788" v="3697" actId="478"/>
          <ac:spMkLst>
            <pc:docMk/>
            <pc:sldMk cId="199871311" sldId="2147482697"/>
            <ac:spMk id="10" creationId="{14DCC191-08CA-64EA-A777-5240C6AFFD81}"/>
          </ac:spMkLst>
        </pc:spChg>
        <pc:spChg chg="add mod topLvl">
          <ac:chgData name="Sai Arvind" userId="4be58695-eae9-4703-8993-7d37aad53b21" providerId="ADAL" clId="{996FF9A9-C974-443F-8618-837E1F831A03}" dt="2024-06-18T07:46:42.836" v="4084"/>
          <ac:spMkLst>
            <pc:docMk/>
            <pc:sldMk cId="199871311" sldId="2147482697"/>
            <ac:spMk id="11" creationId="{7FDCFFB6-22BF-0613-3D54-2AB1BB680D54}"/>
          </ac:spMkLst>
        </pc:spChg>
        <pc:spChg chg="add mod topLvl">
          <ac:chgData name="Sai Arvind" userId="4be58695-eae9-4703-8993-7d37aad53b21" providerId="ADAL" clId="{996FF9A9-C974-443F-8618-837E1F831A03}" dt="2024-06-18T07:46:42.836" v="4084"/>
          <ac:spMkLst>
            <pc:docMk/>
            <pc:sldMk cId="199871311" sldId="2147482697"/>
            <ac:spMk id="12" creationId="{D340BD73-33A0-5F14-67F9-711675E62FD5}"/>
          </ac:spMkLst>
        </pc:spChg>
        <pc:spChg chg="add mod topLvl">
          <ac:chgData name="Sai Arvind" userId="4be58695-eae9-4703-8993-7d37aad53b21" providerId="ADAL" clId="{996FF9A9-C974-443F-8618-837E1F831A03}" dt="2024-06-18T07:46:42.836" v="4084"/>
          <ac:spMkLst>
            <pc:docMk/>
            <pc:sldMk cId="199871311" sldId="2147482697"/>
            <ac:spMk id="14" creationId="{3BCF73EE-DD05-A1CC-E51A-0829CECD9DFF}"/>
          </ac:spMkLst>
        </pc:spChg>
        <pc:spChg chg="add mod topLvl">
          <ac:chgData name="Sai Arvind" userId="4be58695-eae9-4703-8993-7d37aad53b21" providerId="ADAL" clId="{996FF9A9-C974-443F-8618-837E1F831A03}" dt="2024-06-18T07:46:42.836" v="4084"/>
          <ac:spMkLst>
            <pc:docMk/>
            <pc:sldMk cId="199871311" sldId="2147482697"/>
            <ac:spMk id="15" creationId="{7F6E5F10-B80C-75E0-5ACB-E9B453F03536}"/>
          </ac:spMkLst>
        </pc:spChg>
        <pc:spChg chg="add mod topLvl">
          <ac:chgData name="Sai Arvind" userId="4be58695-eae9-4703-8993-7d37aad53b21" providerId="ADAL" clId="{996FF9A9-C974-443F-8618-837E1F831A03}" dt="2024-06-18T07:46:42.836" v="4084"/>
          <ac:spMkLst>
            <pc:docMk/>
            <pc:sldMk cId="199871311" sldId="2147482697"/>
            <ac:spMk id="17" creationId="{0E5B8439-6D54-4542-E20F-79D305A1C83A}"/>
          </ac:spMkLst>
        </pc:spChg>
        <pc:spChg chg="add mod topLvl">
          <ac:chgData name="Sai Arvind" userId="4be58695-eae9-4703-8993-7d37aad53b21" providerId="ADAL" clId="{996FF9A9-C974-443F-8618-837E1F831A03}" dt="2024-06-18T07:46:42.836" v="4084"/>
          <ac:spMkLst>
            <pc:docMk/>
            <pc:sldMk cId="199871311" sldId="2147482697"/>
            <ac:spMk id="18" creationId="{3999B6AE-A5E5-21C3-F867-9DC7C1FEC232}"/>
          </ac:spMkLst>
        </pc:spChg>
        <pc:spChg chg="mod ord topLvl">
          <ac:chgData name="Sai Arvind" userId="4be58695-eae9-4703-8993-7d37aad53b21" providerId="ADAL" clId="{996FF9A9-C974-443F-8618-837E1F831A03}" dt="2024-06-18T07:46:42.836" v="4084"/>
          <ac:spMkLst>
            <pc:docMk/>
            <pc:sldMk cId="199871311" sldId="2147482697"/>
            <ac:spMk id="22" creationId="{D12EC15F-6625-1F18-E844-30541C44F517}"/>
          </ac:spMkLst>
        </pc:spChg>
        <pc:spChg chg="mod ord topLvl">
          <ac:chgData name="Sai Arvind" userId="4be58695-eae9-4703-8993-7d37aad53b21" providerId="ADAL" clId="{996FF9A9-C974-443F-8618-837E1F831A03}" dt="2024-06-18T07:46:42.836" v="4084"/>
          <ac:spMkLst>
            <pc:docMk/>
            <pc:sldMk cId="199871311" sldId="2147482697"/>
            <ac:spMk id="23" creationId="{E6AE0A05-9F5F-41B3-AFCE-B5AB819F60C4}"/>
          </ac:spMkLst>
        </pc:spChg>
        <pc:spChg chg="add mod topLvl">
          <ac:chgData name="Sai Arvind" userId="4be58695-eae9-4703-8993-7d37aad53b21" providerId="ADAL" clId="{996FF9A9-C974-443F-8618-837E1F831A03}" dt="2024-06-18T07:46:42.836" v="4084"/>
          <ac:spMkLst>
            <pc:docMk/>
            <pc:sldMk cId="199871311" sldId="2147482697"/>
            <ac:spMk id="25" creationId="{4CA2C109-827E-9A4A-B0CF-06BF5EF6C57E}"/>
          </ac:spMkLst>
        </pc:spChg>
        <pc:spChg chg="add mod topLvl">
          <ac:chgData name="Sai Arvind" userId="4be58695-eae9-4703-8993-7d37aad53b21" providerId="ADAL" clId="{996FF9A9-C974-443F-8618-837E1F831A03}" dt="2024-06-18T07:46:42.836" v="4084"/>
          <ac:spMkLst>
            <pc:docMk/>
            <pc:sldMk cId="199871311" sldId="2147482697"/>
            <ac:spMk id="26" creationId="{906C2E47-281A-A0A9-282C-A2BDD0CE9F89}"/>
          </ac:spMkLst>
        </pc:spChg>
        <pc:spChg chg="add mod topLvl">
          <ac:chgData name="Sai Arvind" userId="4be58695-eae9-4703-8993-7d37aad53b21" providerId="ADAL" clId="{996FF9A9-C974-443F-8618-837E1F831A03}" dt="2024-06-18T07:46:42.836" v="4084"/>
          <ac:spMkLst>
            <pc:docMk/>
            <pc:sldMk cId="199871311" sldId="2147482697"/>
            <ac:spMk id="27" creationId="{C432F6B5-5D08-800B-C9DB-BC9EFF672DAD}"/>
          </ac:spMkLst>
        </pc:spChg>
        <pc:spChg chg="add mod topLvl">
          <ac:chgData name="Sai Arvind" userId="4be58695-eae9-4703-8993-7d37aad53b21" providerId="ADAL" clId="{996FF9A9-C974-443F-8618-837E1F831A03}" dt="2024-06-18T07:46:42.836" v="4084"/>
          <ac:spMkLst>
            <pc:docMk/>
            <pc:sldMk cId="199871311" sldId="2147482697"/>
            <ac:spMk id="31" creationId="{1A90D1D0-9E3C-AF3E-1B2B-8268437F8793}"/>
          </ac:spMkLst>
        </pc:spChg>
        <pc:spChg chg="add mod topLvl">
          <ac:chgData name="Sai Arvind" userId="4be58695-eae9-4703-8993-7d37aad53b21" providerId="ADAL" clId="{996FF9A9-C974-443F-8618-837E1F831A03}" dt="2024-06-18T07:46:42.836" v="4084"/>
          <ac:spMkLst>
            <pc:docMk/>
            <pc:sldMk cId="199871311" sldId="2147482697"/>
            <ac:spMk id="32" creationId="{A9867A0A-16BD-BFD8-A2C5-8D03E71F74CA}"/>
          </ac:spMkLst>
        </pc:spChg>
        <pc:spChg chg="add mod topLvl">
          <ac:chgData name="Sai Arvind" userId="4be58695-eae9-4703-8993-7d37aad53b21" providerId="ADAL" clId="{996FF9A9-C974-443F-8618-837E1F831A03}" dt="2024-06-18T07:46:42.836" v="4084"/>
          <ac:spMkLst>
            <pc:docMk/>
            <pc:sldMk cId="199871311" sldId="2147482697"/>
            <ac:spMk id="33" creationId="{D2B17A36-DD91-6E55-7E83-C96904C0B945}"/>
          </ac:spMkLst>
        </pc:spChg>
        <pc:spChg chg="add mod topLvl">
          <ac:chgData name="Sai Arvind" userId="4be58695-eae9-4703-8993-7d37aad53b21" providerId="ADAL" clId="{996FF9A9-C974-443F-8618-837E1F831A03}" dt="2024-06-18T07:46:42.836" v="4084"/>
          <ac:spMkLst>
            <pc:docMk/>
            <pc:sldMk cId="199871311" sldId="2147482697"/>
            <ac:spMk id="34" creationId="{1AB36446-87E1-3877-6FA4-4721F541B040}"/>
          </ac:spMkLst>
        </pc:spChg>
        <pc:spChg chg="add mod topLvl">
          <ac:chgData name="Sai Arvind" userId="4be58695-eae9-4703-8993-7d37aad53b21" providerId="ADAL" clId="{996FF9A9-C974-443F-8618-837E1F831A03}" dt="2024-06-18T07:46:42.836" v="4084"/>
          <ac:spMkLst>
            <pc:docMk/>
            <pc:sldMk cId="199871311" sldId="2147482697"/>
            <ac:spMk id="35" creationId="{F1559768-CE0F-B139-E254-B0AA51A2E573}"/>
          </ac:spMkLst>
        </pc:spChg>
        <pc:spChg chg="add mod topLvl">
          <ac:chgData name="Sai Arvind" userId="4be58695-eae9-4703-8993-7d37aad53b21" providerId="ADAL" clId="{996FF9A9-C974-443F-8618-837E1F831A03}" dt="2024-06-18T07:46:42.836" v="4084"/>
          <ac:spMkLst>
            <pc:docMk/>
            <pc:sldMk cId="199871311" sldId="2147482697"/>
            <ac:spMk id="36" creationId="{68F6A019-7779-C36D-1B48-C54B575F69FE}"/>
          </ac:spMkLst>
        </pc:spChg>
        <pc:spChg chg="add del mod">
          <ac:chgData name="Sai Arvind" userId="4be58695-eae9-4703-8993-7d37aad53b21" providerId="ADAL" clId="{996FF9A9-C974-443F-8618-837E1F831A03}" dt="2024-06-18T07:39:43.282" v="3886" actId="478"/>
          <ac:spMkLst>
            <pc:docMk/>
            <pc:sldMk cId="199871311" sldId="2147482697"/>
            <ac:spMk id="37" creationId="{1D9A7465-79F0-5D7E-9A4A-1851D4DBBD5D}"/>
          </ac:spMkLst>
        </pc:spChg>
        <pc:spChg chg="add mod topLvl">
          <ac:chgData name="Sai Arvind" userId="4be58695-eae9-4703-8993-7d37aad53b21" providerId="ADAL" clId="{996FF9A9-C974-443F-8618-837E1F831A03}" dt="2024-06-18T07:46:42.836" v="4084"/>
          <ac:spMkLst>
            <pc:docMk/>
            <pc:sldMk cId="199871311" sldId="2147482697"/>
            <ac:spMk id="57" creationId="{3120BFC6-E9E5-441C-9830-D82F220FA1EA}"/>
          </ac:spMkLst>
        </pc:spChg>
        <pc:spChg chg="add mod topLvl">
          <ac:chgData name="Sai Arvind" userId="4be58695-eae9-4703-8993-7d37aad53b21" providerId="ADAL" clId="{996FF9A9-C974-443F-8618-837E1F831A03}" dt="2024-06-18T07:46:42.836" v="4084"/>
          <ac:spMkLst>
            <pc:docMk/>
            <pc:sldMk cId="199871311" sldId="2147482697"/>
            <ac:spMk id="58" creationId="{9C157B85-D80B-111B-6BA0-19D450DE77A3}"/>
          </ac:spMkLst>
        </pc:spChg>
        <pc:spChg chg="add mod topLvl">
          <ac:chgData name="Sai Arvind" userId="4be58695-eae9-4703-8993-7d37aad53b21" providerId="ADAL" clId="{996FF9A9-C974-443F-8618-837E1F831A03}" dt="2024-06-18T07:46:42.836" v="4084"/>
          <ac:spMkLst>
            <pc:docMk/>
            <pc:sldMk cId="199871311" sldId="2147482697"/>
            <ac:spMk id="59" creationId="{4768CEDC-1604-A7D8-6B3E-42A9A4BA05A0}"/>
          </ac:spMkLst>
        </pc:spChg>
        <pc:spChg chg="add mod topLvl">
          <ac:chgData name="Sai Arvind" userId="4be58695-eae9-4703-8993-7d37aad53b21" providerId="ADAL" clId="{996FF9A9-C974-443F-8618-837E1F831A03}" dt="2024-06-18T07:46:42.836" v="4084"/>
          <ac:spMkLst>
            <pc:docMk/>
            <pc:sldMk cId="199871311" sldId="2147482697"/>
            <ac:spMk id="60" creationId="{206ECC25-2C32-19CC-DE53-AEFB208B731A}"/>
          </ac:spMkLst>
        </pc:spChg>
        <pc:spChg chg="add mod topLvl">
          <ac:chgData name="Sai Arvind" userId="4be58695-eae9-4703-8993-7d37aad53b21" providerId="ADAL" clId="{996FF9A9-C974-443F-8618-837E1F831A03}" dt="2024-06-18T07:46:42.836" v="4084"/>
          <ac:spMkLst>
            <pc:docMk/>
            <pc:sldMk cId="199871311" sldId="2147482697"/>
            <ac:spMk id="61" creationId="{3D4C7FA7-36DF-99D4-E1B2-42AA33DAF58A}"/>
          </ac:spMkLst>
        </pc:spChg>
        <pc:spChg chg="add mod topLvl">
          <ac:chgData name="Sai Arvind" userId="4be58695-eae9-4703-8993-7d37aad53b21" providerId="ADAL" clId="{996FF9A9-C974-443F-8618-837E1F831A03}" dt="2024-06-18T07:46:42.836" v="4084"/>
          <ac:spMkLst>
            <pc:docMk/>
            <pc:sldMk cId="199871311" sldId="2147482697"/>
            <ac:spMk id="64" creationId="{FA96F0D1-B0CA-0591-909F-F4231B69042F}"/>
          </ac:spMkLst>
        </pc:spChg>
        <pc:spChg chg="add mod topLvl">
          <ac:chgData name="Sai Arvind" userId="4be58695-eae9-4703-8993-7d37aad53b21" providerId="ADAL" clId="{996FF9A9-C974-443F-8618-837E1F831A03}" dt="2024-06-18T07:46:42.836" v="4084"/>
          <ac:spMkLst>
            <pc:docMk/>
            <pc:sldMk cId="199871311" sldId="2147482697"/>
            <ac:spMk id="65" creationId="{07AD29D2-0EA7-21D7-4733-1D07298DCE2C}"/>
          </ac:spMkLst>
        </pc:spChg>
        <pc:spChg chg="add mod topLvl">
          <ac:chgData name="Sai Arvind" userId="4be58695-eae9-4703-8993-7d37aad53b21" providerId="ADAL" clId="{996FF9A9-C974-443F-8618-837E1F831A03}" dt="2024-06-18T07:46:42.836" v="4084"/>
          <ac:spMkLst>
            <pc:docMk/>
            <pc:sldMk cId="199871311" sldId="2147482697"/>
            <ac:spMk id="66" creationId="{1D4FD29F-4E83-8220-6245-F6722EFF6CD0}"/>
          </ac:spMkLst>
        </pc:spChg>
        <pc:spChg chg="add mod topLvl">
          <ac:chgData name="Sai Arvind" userId="4be58695-eae9-4703-8993-7d37aad53b21" providerId="ADAL" clId="{996FF9A9-C974-443F-8618-837E1F831A03}" dt="2024-06-18T07:46:42.836" v="4084"/>
          <ac:spMkLst>
            <pc:docMk/>
            <pc:sldMk cId="199871311" sldId="2147482697"/>
            <ac:spMk id="67" creationId="{127D182D-BC33-A902-8294-FC4274E94D56}"/>
          </ac:spMkLst>
        </pc:spChg>
        <pc:spChg chg="add mod topLvl">
          <ac:chgData name="Sai Arvind" userId="4be58695-eae9-4703-8993-7d37aad53b21" providerId="ADAL" clId="{996FF9A9-C974-443F-8618-837E1F831A03}" dt="2024-06-18T07:46:42.836" v="4084"/>
          <ac:spMkLst>
            <pc:docMk/>
            <pc:sldMk cId="199871311" sldId="2147482697"/>
            <ac:spMk id="68" creationId="{8CD4DD4E-C98E-A431-ADD6-0ED7A49336D2}"/>
          </ac:spMkLst>
        </pc:spChg>
        <pc:spChg chg="add mod topLvl">
          <ac:chgData name="Sai Arvind" userId="4be58695-eae9-4703-8993-7d37aad53b21" providerId="ADAL" clId="{996FF9A9-C974-443F-8618-837E1F831A03}" dt="2024-06-18T07:46:42.836" v="4084"/>
          <ac:spMkLst>
            <pc:docMk/>
            <pc:sldMk cId="199871311" sldId="2147482697"/>
            <ac:spMk id="70" creationId="{A867348E-59D1-C500-428C-336DE0CBD253}"/>
          </ac:spMkLst>
        </pc:spChg>
        <pc:spChg chg="add mod topLvl">
          <ac:chgData name="Sai Arvind" userId="4be58695-eae9-4703-8993-7d37aad53b21" providerId="ADAL" clId="{996FF9A9-C974-443F-8618-837E1F831A03}" dt="2024-06-18T07:46:42.836" v="4084"/>
          <ac:spMkLst>
            <pc:docMk/>
            <pc:sldMk cId="199871311" sldId="2147482697"/>
            <ac:spMk id="71" creationId="{5AE7D2D1-792D-0FD5-8599-AF983A2C676A}"/>
          </ac:spMkLst>
        </pc:spChg>
        <pc:spChg chg="add mod topLvl">
          <ac:chgData name="Sai Arvind" userId="4be58695-eae9-4703-8993-7d37aad53b21" providerId="ADAL" clId="{996FF9A9-C974-443F-8618-837E1F831A03}" dt="2024-06-18T07:46:42.836" v="4084"/>
          <ac:spMkLst>
            <pc:docMk/>
            <pc:sldMk cId="199871311" sldId="2147482697"/>
            <ac:spMk id="74" creationId="{67CAA773-BE76-9D36-B829-2337864DC272}"/>
          </ac:spMkLst>
        </pc:spChg>
        <pc:spChg chg="mod">
          <ac:chgData name="Sai Arvind" userId="4be58695-eae9-4703-8993-7d37aad53b21" providerId="ADAL" clId="{996FF9A9-C974-443F-8618-837E1F831A03}" dt="2024-06-18T07:46:42.836" v="4084"/>
          <ac:spMkLst>
            <pc:docMk/>
            <pc:sldMk cId="199871311" sldId="2147482697"/>
            <ac:spMk id="77" creationId="{7A5093B7-2F44-EB0C-E021-3A1DE966988C}"/>
          </ac:spMkLst>
        </pc:spChg>
        <pc:spChg chg="mod">
          <ac:chgData name="Sai Arvind" userId="4be58695-eae9-4703-8993-7d37aad53b21" providerId="ADAL" clId="{996FF9A9-C974-443F-8618-837E1F831A03}" dt="2024-06-18T07:46:42.836" v="4084"/>
          <ac:spMkLst>
            <pc:docMk/>
            <pc:sldMk cId="199871311" sldId="2147482697"/>
            <ac:spMk id="78" creationId="{46AF6C18-4360-6BA9-AAEF-81C2B40F492E}"/>
          </ac:spMkLst>
        </pc:spChg>
        <pc:spChg chg="mod topLvl">
          <ac:chgData name="Sai Arvind" userId="4be58695-eae9-4703-8993-7d37aad53b21" providerId="ADAL" clId="{996FF9A9-C974-443F-8618-837E1F831A03}" dt="2024-06-18T07:46:42.836" v="4084"/>
          <ac:spMkLst>
            <pc:docMk/>
            <pc:sldMk cId="199871311" sldId="2147482697"/>
            <ac:spMk id="80" creationId="{159654E7-64C3-38FE-2385-01C62C388F67}"/>
          </ac:spMkLst>
        </pc:spChg>
        <pc:spChg chg="mod topLvl">
          <ac:chgData name="Sai Arvind" userId="4be58695-eae9-4703-8993-7d37aad53b21" providerId="ADAL" clId="{996FF9A9-C974-443F-8618-837E1F831A03}" dt="2024-06-18T07:46:42.836" v="4084"/>
          <ac:spMkLst>
            <pc:docMk/>
            <pc:sldMk cId="199871311" sldId="2147482697"/>
            <ac:spMk id="81" creationId="{57F01610-7C8A-5605-93E2-89F5089D72FE}"/>
          </ac:spMkLst>
        </pc:spChg>
        <pc:grpChg chg="add del mod">
          <ac:chgData name="Sai Arvind" userId="4be58695-eae9-4703-8993-7d37aad53b21" providerId="ADAL" clId="{996FF9A9-C974-443F-8618-837E1F831A03}" dt="2024-06-18T07:31:51.763" v="3658"/>
          <ac:grpSpMkLst>
            <pc:docMk/>
            <pc:sldMk cId="199871311" sldId="2147482697"/>
            <ac:grpSpMk id="8" creationId="{6C18F0BD-E586-13AD-2CFE-226E07DB6928}"/>
          </ac:grpSpMkLst>
        </pc:grpChg>
        <pc:grpChg chg="add del mod">
          <ac:chgData name="Sai Arvind" userId="4be58695-eae9-4703-8993-7d37aad53b21" providerId="ADAL" clId="{996FF9A9-C974-443F-8618-837E1F831A03}" dt="2024-06-18T07:34:26.707" v="3717"/>
          <ac:grpSpMkLst>
            <pc:docMk/>
            <pc:sldMk cId="199871311" sldId="2147482697"/>
            <ac:grpSpMk id="13" creationId="{0999241B-5E84-21D0-8E33-F96D84C37E3E}"/>
          </ac:grpSpMkLst>
        </pc:grpChg>
        <pc:grpChg chg="add del mod">
          <ac:chgData name="Sai Arvind" userId="4be58695-eae9-4703-8993-7d37aad53b21" providerId="ADAL" clId="{996FF9A9-C974-443F-8618-837E1F831A03}" dt="2024-06-18T07:35:46.147" v="3744"/>
          <ac:grpSpMkLst>
            <pc:docMk/>
            <pc:sldMk cId="199871311" sldId="2147482697"/>
            <ac:grpSpMk id="19" creationId="{16853173-5277-56F8-9D5B-FE85D17360F5}"/>
          </ac:grpSpMkLst>
        </pc:grpChg>
        <pc:grpChg chg="add mod topLvl">
          <ac:chgData name="Sai Arvind" userId="4be58695-eae9-4703-8993-7d37aad53b21" providerId="ADAL" clId="{996FF9A9-C974-443F-8618-837E1F831A03}" dt="2024-06-18T07:46:42.836" v="4084"/>
          <ac:grpSpMkLst>
            <pc:docMk/>
            <pc:sldMk cId="199871311" sldId="2147482697"/>
            <ac:grpSpMk id="20" creationId="{D918D709-4EAC-C859-EF6F-FD9FD1196E54}"/>
          </ac:grpSpMkLst>
        </pc:grpChg>
        <pc:grpChg chg="add del mod topLvl">
          <ac:chgData name="Sai Arvind" userId="4be58695-eae9-4703-8993-7d37aad53b21" providerId="ADAL" clId="{996FF9A9-C974-443F-8618-837E1F831A03}" dt="2024-06-18T07:35:37.508" v="3742"/>
          <ac:grpSpMkLst>
            <pc:docMk/>
            <pc:sldMk cId="199871311" sldId="2147482697"/>
            <ac:grpSpMk id="21" creationId="{6A387C65-0D64-7342-F930-4089214BFE9E}"/>
          </ac:grpSpMkLst>
        </pc:grpChg>
        <pc:grpChg chg="add del mod">
          <ac:chgData name="Sai Arvind" userId="4be58695-eae9-4703-8993-7d37aad53b21" providerId="ADAL" clId="{996FF9A9-C974-443F-8618-837E1F831A03}" dt="2024-06-18T07:35:35.758" v="3741"/>
          <ac:grpSpMkLst>
            <pc:docMk/>
            <pc:sldMk cId="199871311" sldId="2147482697"/>
            <ac:grpSpMk id="24" creationId="{E546BDA2-39EF-4B78-B7E7-21A127B961E4}"/>
          </ac:grpSpMkLst>
        </pc:grpChg>
        <pc:grpChg chg="add del mod">
          <ac:chgData name="Sai Arvind" userId="4be58695-eae9-4703-8993-7d37aad53b21" providerId="ADAL" clId="{996FF9A9-C974-443F-8618-837E1F831A03}" dt="2024-06-18T07:36:12.603" v="3757"/>
          <ac:grpSpMkLst>
            <pc:docMk/>
            <pc:sldMk cId="199871311" sldId="2147482697"/>
            <ac:grpSpMk id="28" creationId="{BF862F3D-4A9B-B7E9-0E8C-66D1E4232A28}"/>
          </ac:grpSpMkLst>
        </pc:grpChg>
        <pc:grpChg chg="add del mod">
          <ac:chgData name="Sai Arvind" userId="4be58695-eae9-4703-8993-7d37aad53b21" providerId="ADAL" clId="{996FF9A9-C974-443F-8618-837E1F831A03}" dt="2024-06-18T07:36:52.548" v="3775"/>
          <ac:grpSpMkLst>
            <pc:docMk/>
            <pc:sldMk cId="199871311" sldId="2147482697"/>
            <ac:grpSpMk id="29" creationId="{86844EE3-0E54-F7C6-6453-392822F033AF}"/>
          </ac:grpSpMkLst>
        </pc:grpChg>
        <pc:grpChg chg="add del mod">
          <ac:chgData name="Sai Arvind" userId="4be58695-eae9-4703-8993-7d37aad53b21" providerId="ADAL" clId="{996FF9A9-C974-443F-8618-837E1F831A03}" dt="2024-06-18T07:37:09.488" v="3783"/>
          <ac:grpSpMkLst>
            <pc:docMk/>
            <pc:sldMk cId="199871311" sldId="2147482697"/>
            <ac:grpSpMk id="30" creationId="{66D1CB0F-682A-7F8D-ADB8-EA21285B16D0}"/>
          </ac:grpSpMkLst>
        </pc:grpChg>
        <pc:grpChg chg="add del mod">
          <ac:chgData name="Sai Arvind" userId="4be58695-eae9-4703-8993-7d37aad53b21" providerId="ADAL" clId="{996FF9A9-C974-443F-8618-837E1F831A03}" dt="2024-06-18T07:39:59.638" v="3911"/>
          <ac:grpSpMkLst>
            <pc:docMk/>
            <pc:sldMk cId="199871311" sldId="2147482697"/>
            <ac:grpSpMk id="38" creationId="{DBBA521A-5B0E-73FE-70A7-13AC9425C795}"/>
          </ac:grpSpMkLst>
        </pc:grpChg>
        <pc:grpChg chg="add del mod">
          <ac:chgData name="Sai Arvind" userId="4be58695-eae9-4703-8993-7d37aad53b21" providerId="ADAL" clId="{996FF9A9-C974-443F-8618-837E1F831A03}" dt="2024-06-18T07:40:08.450" v="3917"/>
          <ac:grpSpMkLst>
            <pc:docMk/>
            <pc:sldMk cId="199871311" sldId="2147482697"/>
            <ac:grpSpMk id="39" creationId="{6ACBBA67-E7BD-53DA-4BFD-FF4A29DEF4D4}"/>
          </ac:grpSpMkLst>
        </pc:grpChg>
        <pc:grpChg chg="add del mod">
          <ac:chgData name="Sai Arvind" userId="4be58695-eae9-4703-8993-7d37aad53b21" providerId="ADAL" clId="{996FF9A9-C974-443F-8618-837E1F831A03}" dt="2024-06-18T07:41:07.118" v="3957"/>
          <ac:grpSpMkLst>
            <pc:docMk/>
            <pc:sldMk cId="199871311" sldId="2147482697"/>
            <ac:grpSpMk id="51" creationId="{15495C04-728B-2B76-5FB3-08A5A22C69BB}"/>
          </ac:grpSpMkLst>
        </pc:grpChg>
        <pc:grpChg chg="add del mod">
          <ac:chgData name="Sai Arvind" userId="4be58695-eae9-4703-8993-7d37aad53b21" providerId="ADAL" clId="{996FF9A9-C974-443F-8618-837E1F831A03}" dt="2024-06-18T07:41:17.898" v="3961"/>
          <ac:grpSpMkLst>
            <pc:docMk/>
            <pc:sldMk cId="199871311" sldId="2147482697"/>
            <ac:grpSpMk id="62" creationId="{4BC2E288-3B8A-C575-EB87-C9F4CEE7C09D}"/>
          </ac:grpSpMkLst>
        </pc:grpChg>
        <pc:grpChg chg="add mod topLvl">
          <ac:chgData name="Sai Arvind" userId="4be58695-eae9-4703-8993-7d37aad53b21" providerId="ADAL" clId="{996FF9A9-C974-443F-8618-837E1F831A03}" dt="2024-06-18T07:46:42.836" v="4084"/>
          <ac:grpSpMkLst>
            <pc:docMk/>
            <pc:sldMk cId="199871311" sldId="2147482697"/>
            <ac:grpSpMk id="63" creationId="{A5BA2367-1D96-46AC-77BF-A192E03F1C89}"/>
          </ac:grpSpMkLst>
        </pc:grpChg>
        <pc:grpChg chg="add del mod">
          <ac:chgData name="Sai Arvind" userId="4be58695-eae9-4703-8993-7d37aad53b21" providerId="ADAL" clId="{996FF9A9-C974-443F-8618-837E1F831A03}" dt="2024-06-18T07:43:10.858" v="4003"/>
          <ac:grpSpMkLst>
            <pc:docMk/>
            <pc:sldMk cId="199871311" sldId="2147482697"/>
            <ac:grpSpMk id="69" creationId="{FE695DC5-1B78-7DE5-9EA1-116D3672AAAF}"/>
          </ac:grpSpMkLst>
        </pc:grpChg>
        <pc:grpChg chg="add del mod">
          <ac:chgData name="Sai Arvind" userId="4be58695-eae9-4703-8993-7d37aad53b21" providerId="ADAL" clId="{996FF9A9-C974-443F-8618-837E1F831A03}" dt="2024-06-18T07:44:31.605" v="4039"/>
          <ac:grpSpMkLst>
            <pc:docMk/>
            <pc:sldMk cId="199871311" sldId="2147482697"/>
            <ac:grpSpMk id="73" creationId="{EA0FE09A-901F-ED04-64DD-D4200337CD17}"/>
          </ac:grpSpMkLst>
        </pc:grpChg>
        <pc:grpChg chg="add mod topLvl">
          <ac:chgData name="Sai Arvind" userId="4be58695-eae9-4703-8993-7d37aad53b21" providerId="ADAL" clId="{996FF9A9-C974-443F-8618-837E1F831A03}" dt="2024-06-18T07:46:42.836" v="4084"/>
          <ac:grpSpMkLst>
            <pc:docMk/>
            <pc:sldMk cId="199871311" sldId="2147482697"/>
            <ac:grpSpMk id="75" creationId="{6A4C0531-BB99-442C-AC6B-CDC6E1AA6A2E}"/>
          </ac:grpSpMkLst>
        </pc:grpChg>
        <pc:grpChg chg="add mod topLvl">
          <ac:chgData name="Sai Arvind" userId="4be58695-eae9-4703-8993-7d37aad53b21" providerId="ADAL" clId="{996FF9A9-C974-443F-8618-837E1F831A03}" dt="2024-06-18T07:46:42.836" v="4084"/>
          <ac:grpSpMkLst>
            <pc:docMk/>
            <pc:sldMk cId="199871311" sldId="2147482697"/>
            <ac:grpSpMk id="76" creationId="{2F4B5C4C-0FA9-E417-A14F-9AA5CFF81E0C}"/>
          </ac:grpSpMkLst>
        </pc:grpChg>
        <pc:grpChg chg="add del mod">
          <ac:chgData name="Sai Arvind" userId="4be58695-eae9-4703-8993-7d37aad53b21" providerId="ADAL" clId="{996FF9A9-C974-443F-8618-837E1F831A03}" dt="2024-06-18T07:45:39.209" v="4060"/>
          <ac:grpSpMkLst>
            <pc:docMk/>
            <pc:sldMk cId="199871311" sldId="2147482697"/>
            <ac:grpSpMk id="79" creationId="{8BE11F4E-74F2-11A2-84E6-FA7D179C3DD9}"/>
          </ac:grpSpMkLst>
        </pc:grpChg>
        <pc:grpChg chg="add del mod">
          <ac:chgData name="Sai Arvind" userId="4be58695-eae9-4703-8993-7d37aad53b21" providerId="ADAL" clId="{996FF9A9-C974-443F-8618-837E1F831A03}" dt="2024-06-18T07:46:42.836" v="4084"/>
          <ac:grpSpMkLst>
            <pc:docMk/>
            <pc:sldMk cId="199871311" sldId="2147482697"/>
            <ac:grpSpMk id="82" creationId="{F429DFDA-53BD-D1C9-E297-3101B4064A55}"/>
          </ac:grpSpMkLst>
        </pc:grpChg>
        <pc:picChg chg="add mod topLvl">
          <ac:chgData name="Sai Arvind" userId="4be58695-eae9-4703-8993-7d37aad53b21" providerId="ADAL" clId="{996FF9A9-C974-443F-8618-837E1F831A03}" dt="2024-06-18T07:46:42.836" v="4084"/>
          <ac:picMkLst>
            <pc:docMk/>
            <pc:sldMk cId="199871311" sldId="2147482697"/>
            <ac:picMk id="9" creationId="{FED53A9B-EDE1-31A3-B5EF-73A79BBFF339}"/>
          </ac:picMkLst>
        </pc:picChg>
        <pc:picChg chg="add mod topLvl modCrop">
          <ac:chgData name="Sai Arvind" userId="4be58695-eae9-4703-8993-7d37aad53b21" providerId="ADAL" clId="{996FF9A9-C974-443F-8618-837E1F831A03}" dt="2024-06-18T07:46:42.836" v="4084"/>
          <ac:picMkLst>
            <pc:docMk/>
            <pc:sldMk cId="199871311" sldId="2147482697"/>
            <ac:picMk id="16" creationId="{F121A1FE-8138-8488-B375-07E1337328B0}"/>
          </ac:picMkLst>
        </pc:picChg>
        <pc:picChg chg="add mod topLvl">
          <ac:chgData name="Sai Arvind" userId="4be58695-eae9-4703-8993-7d37aad53b21" providerId="ADAL" clId="{996FF9A9-C974-443F-8618-837E1F831A03}" dt="2024-06-18T07:46:42.836" v="4084"/>
          <ac:picMkLst>
            <pc:docMk/>
            <pc:sldMk cId="199871311" sldId="2147482697"/>
            <ac:picMk id="72" creationId="{A71794B3-D649-2E66-D521-A5176016E8F6}"/>
          </ac:picMkLst>
        </pc:picChg>
        <pc:cxnChg chg="add mod topLvl">
          <ac:chgData name="Sai Arvind" userId="4be58695-eae9-4703-8993-7d37aad53b21" providerId="ADAL" clId="{996FF9A9-C974-443F-8618-837E1F831A03}" dt="2024-06-18T07:46:42.836" v="4084"/>
          <ac:cxnSpMkLst>
            <pc:docMk/>
            <pc:sldMk cId="199871311" sldId="2147482697"/>
            <ac:cxnSpMk id="41" creationId="{DBE12851-4018-AEE3-C42C-24588156B10F}"/>
          </ac:cxnSpMkLst>
        </pc:cxnChg>
        <pc:cxnChg chg="add mod topLvl">
          <ac:chgData name="Sai Arvind" userId="4be58695-eae9-4703-8993-7d37aad53b21" providerId="ADAL" clId="{996FF9A9-C974-443F-8618-837E1F831A03}" dt="2024-06-18T07:46:42.836" v="4084"/>
          <ac:cxnSpMkLst>
            <pc:docMk/>
            <pc:sldMk cId="199871311" sldId="2147482697"/>
            <ac:cxnSpMk id="43" creationId="{12E04E75-524F-B6F6-935C-D962CB6D7E29}"/>
          </ac:cxnSpMkLst>
        </pc:cxnChg>
        <pc:cxnChg chg="add mod topLvl">
          <ac:chgData name="Sai Arvind" userId="4be58695-eae9-4703-8993-7d37aad53b21" providerId="ADAL" clId="{996FF9A9-C974-443F-8618-837E1F831A03}" dt="2024-06-18T07:46:42.836" v="4084"/>
          <ac:cxnSpMkLst>
            <pc:docMk/>
            <pc:sldMk cId="199871311" sldId="2147482697"/>
            <ac:cxnSpMk id="45" creationId="{76628687-0CC8-8065-2CA2-2D7AABE08703}"/>
          </ac:cxnSpMkLst>
        </pc:cxnChg>
        <pc:cxnChg chg="add mod topLvl">
          <ac:chgData name="Sai Arvind" userId="4be58695-eae9-4703-8993-7d37aad53b21" providerId="ADAL" clId="{996FF9A9-C974-443F-8618-837E1F831A03}" dt="2024-06-18T07:46:42.836" v="4084"/>
          <ac:cxnSpMkLst>
            <pc:docMk/>
            <pc:sldMk cId="199871311" sldId="2147482697"/>
            <ac:cxnSpMk id="47" creationId="{EEF16E65-D3B1-4A5E-2146-0D3080881B03}"/>
          </ac:cxnSpMkLst>
        </pc:cxnChg>
        <pc:cxnChg chg="add mod topLvl">
          <ac:chgData name="Sai Arvind" userId="4be58695-eae9-4703-8993-7d37aad53b21" providerId="ADAL" clId="{996FF9A9-C974-443F-8618-837E1F831A03}" dt="2024-06-18T07:46:42.836" v="4084"/>
          <ac:cxnSpMkLst>
            <pc:docMk/>
            <pc:sldMk cId="199871311" sldId="2147482697"/>
            <ac:cxnSpMk id="49" creationId="{C27F6A3F-25E4-4DD2-BC9C-D4BF8FD2EF28}"/>
          </ac:cxnSpMkLst>
        </pc:cxnChg>
      </pc:sldChg>
    </pc:docChg>
  </pc:docChgLst>
  <pc:docChgLst>
    <pc:chgData name="Yadav, Deepti" userId="eab7e7b9-efb1-4028-93ef-65566670a6c8" providerId="ADAL" clId="{8E0EB6B5-5DD7-4BE0-A5C5-805A2F419CA7}"/>
    <pc:docChg chg="modSld">
      <pc:chgData name="Yadav, Deepti" userId="eab7e7b9-efb1-4028-93ef-65566670a6c8" providerId="ADAL" clId="{8E0EB6B5-5DD7-4BE0-A5C5-805A2F419CA7}" dt="2024-06-28T17:43:25.386" v="0"/>
      <pc:docMkLst>
        <pc:docMk/>
      </pc:docMkLst>
      <pc:sldChg chg="modSp">
        <pc:chgData name="Yadav, Deepti" userId="eab7e7b9-efb1-4028-93ef-65566670a6c8" providerId="ADAL" clId="{8E0EB6B5-5DD7-4BE0-A5C5-805A2F419CA7}" dt="2024-06-28T17:43:25.386" v="0"/>
        <pc:sldMkLst>
          <pc:docMk/>
          <pc:sldMk cId="2035529764" sldId="356"/>
        </pc:sldMkLst>
        <pc:graphicFrameChg chg="mod">
          <ac:chgData name="Yadav, Deepti" userId="eab7e7b9-efb1-4028-93ef-65566670a6c8" providerId="ADAL" clId="{8E0EB6B5-5DD7-4BE0-A5C5-805A2F419CA7}" dt="2024-06-28T17:43:25.386" v="0"/>
          <ac:graphicFrameMkLst>
            <pc:docMk/>
            <pc:sldMk cId="2035529764" sldId="356"/>
            <ac:graphicFrameMk id="13" creationId="{4734AB12-8FF2-3439-EA3D-1A034375A02E}"/>
          </ac:graphicFrameMkLst>
        </pc:graphicFrameChg>
      </pc:sldChg>
    </pc:docChg>
  </pc:docChgLst>
  <pc:docChgLst>
    <pc:chgData name="Pranav A Sogi" userId="S::pranav.sogi@trinitypartners.com::26041da9-58db-4268-87d2-8f3ed54afd3b" providerId="AD" clId="Web-{C1FD7BFA-2CAD-9FD8-3DD3-99B38F9DB641}"/>
    <pc:docChg chg="modSld">
      <pc:chgData name="Pranav A Sogi" userId="S::pranav.sogi@trinitypartners.com::26041da9-58db-4268-87d2-8f3ed54afd3b" providerId="AD" clId="Web-{C1FD7BFA-2CAD-9FD8-3DD3-99B38F9DB641}" dt="2024-06-18T07:27:17.460" v="7"/>
      <pc:docMkLst>
        <pc:docMk/>
      </pc:docMkLst>
      <pc:sldChg chg="modSp">
        <pc:chgData name="Pranav A Sogi" userId="S::pranav.sogi@trinitypartners.com::26041da9-58db-4268-87d2-8f3ed54afd3b" providerId="AD" clId="Web-{C1FD7BFA-2CAD-9FD8-3DD3-99B38F9DB641}" dt="2024-06-18T07:27:17.460" v="7"/>
        <pc:sldMkLst>
          <pc:docMk/>
          <pc:sldMk cId="2035529764" sldId="356"/>
        </pc:sldMkLst>
        <pc:spChg chg="mod">
          <ac:chgData name="Pranav A Sogi" userId="S::pranav.sogi@trinitypartners.com::26041da9-58db-4268-87d2-8f3ed54afd3b" providerId="AD" clId="Web-{C1FD7BFA-2CAD-9FD8-3DD3-99B38F9DB641}" dt="2024-06-18T07:14:37.745" v="2" actId="1076"/>
          <ac:spMkLst>
            <pc:docMk/>
            <pc:sldMk cId="2035529764" sldId="356"/>
            <ac:spMk id="10" creationId="{83C3EBBC-6661-20D0-736B-440D49CEACE4}"/>
          </ac:spMkLst>
        </pc:spChg>
        <pc:graphicFrameChg chg="mod modGraphic">
          <ac:chgData name="Pranav A Sogi" userId="S::pranav.sogi@trinitypartners.com::26041da9-58db-4268-87d2-8f3ed54afd3b" providerId="AD" clId="Web-{C1FD7BFA-2CAD-9FD8-3DD3-99B38F9DB641}" dt="2024-06-18T07:27:17.460" v="7"/>
          <ac:graphicFrameMkLst>
            <pc:docMk/>
            <pc:sldMk cId="2035529764" sldId="356"/>
            <ac:graphicFrameMk id="6" creationId="{048177B2-DFFD-E7B2-5589-78EFCFC1397F}"/>
          </ac:graphicFrameMkLst>
        </pc:graphicFrameChg>
        <pc:graphicFrameChg chg="mod">
          <ac:chgData name="Pranav A Sogi" userId="S::pranav.sogi@trinitypartners.com::26041da9-58db-4268-87d2-8f3ed54afd3b" providerId="AD" clId="Web-{C1FD7BFA-2CAD-9FD8-3DD3-99B38F9DB641}" dt="2024-06-18T07:19:58.741" v="3" actId="1076"/>
          <ac:graphicFrameMkLst>
            <pc:docMk/>
            <pc:sldMk cId="2035529764" sldId="356"/>
            <ac:graphicFrameMk id="11" creationId="{5FDC3B3C-5D5D-DDEA-55CC-D81FA527A4D6}"/>
          </ac:graphicFrameMkLst>
        </pc:graphicFrameChg>
      </pc:sldChg>
    </pc:docChg>
  </pc:docChgLst>
  <pc:docChgLst>
    <pc:chgData name="Pranav A Sogi" userId="S::pranav.sogi@trinitypartners.com::26041da9-58db-4268-87d2-8f3ed54afd3b" providerId="AD" clId="Web-{CEF5415A-5952-8C57-9497-88C64214D09B}"/>
    <pc:docChg chg="addSld delSld modSld sldOrd modSection">
      <pc:chgData name="Pranav A Sogi" userId="S::pranav.sogi@trinitypartners.com::26041da9-58db-4268-87d2-8f3ed54afd3b" providerId="AD" clId="Web-{CEF5415A-5952-8C57-9497-88C64214D09B}" dt="2024-06-10T12:11:51.932" v="928" actId="14100"/>
      <pc:docMkLst>
        <pc:docMk/>
      </pc:docMkLst>
      <pc:sldChg chg="addSp delSp modSp">
        <pc:chgData name="Pranav A Sogi" userId="S::pranav.sogi@trinitypartners.com::26041da9-58db-4268-87d2-8f3ed54afd3b" providerId="AD" clId="Web-{CEF5415A-5952-8C57-9497-88C64214D09B}" dt="2024-06-10T10:44:16.892" v="491" actId="1076"/>
        <pc:sldMkLst>
          <pc:docMk/>
          <pc:sldMk cId="2319494498" sldId="334"/>
        </pc:sldMkLst>
        <pc:spChg chg="del">
          <ac:chgData name="Pranav A Sogi" userId="S::pranav.sogi@trinitypartners.com::26041da9-58db-4268-87d2-8f3ed54afd3b" providerId="AD" clId="Web-{CEF5415A-5952-8C57-9497-88C64214D09B}" dt="2024-06-10T10:39:47.650" v="455"/>
          <ac:spMkLst>
            <pc:docMk/>
            <pc:sldMk cId="2319494498" sldId="334"/>
            <ac:spMk id="3" creationId="{6ED16D56-0849-909D-60B2-041184301759}"/>
          </ac:spMkLst>
        </pc:spChg>
        <pc:spChg chg="del">
          <ac:chgData name="Pranav A Sogi" userId="S::pranav.sogi@trinitypartners.com::26041da9-58db-4268-87d2-8f3ed54afd3b" providerId="AD" clId="Web-{CEF5415A-5952-8C57-9497-88C64214D09B}" dt="2024-06-10T10:39:24.384" v="444"/>
          <ac:spMkLst>
            <pc:docMk/>
            <pc:sldMk cId="2319494498" sldId="334"/>
            <ac:spMk id="4" creationId="{653B3C67-B10D-2891-8ED1-5A7AB371E8F1}"/>
          </ac:spMkLst>
        </pc:spChg>
        <pc:spChg chg="del">
          <ac:chgData name="Pranav A Sogi" userId="S::pranav.sogi@trinitypartners.com::26041da9-58db-4268-87d2-8f3ed54afd3b" providerId="AD" clId="Web-{CEF5415A-5952-8C57-9497-88C64214D09B}" dt="2024-06-10T10:39:51.384" v="456"/>
          <ac:spMkLst>
            <pc:docMk/>
            <pc:sldMk cId="2319494498" sldId="334"/>
            <ac:spMk id="6" creationId="{92021B76-411B-C098-5A69-72E244584E48}"/>
          </ac:spMkLst>
        </pc:spChg>
        <pc:spChg chg="del">
          <ac:chgData name="Pranav A Sogi" userId="S::pranav.sogi@trinitypartners.com::26041da9-58db-4268-87d2-8f3ed54afd3b" providerId="AD" clId="Web-{CEF5415A-5952-8C57-9497-88C64214D09B}" dt="2024-06-10T10:39:53.978" v="457"/>
          <ac:spMkLst>
            <pc:docMk/>
            <pc:sldMk cId="2319494498" sldId="334"/>
            <ac:spMk id="7" creationId="{653F3A7B-432C-1855-FF5D-BB2DFCEEB0ED}"/>
          </ac:spMkLst>
        </pc:spChg>
        <pc:spChg chg="del">
          <ac:chgData name="Pranav A Sogi" userId="S::pranav.sogi@trinitypartners.com::26041da9-58db-4268-87d2-8f3ed54afd3b" providerId="AD" clId="Web-{CEF5415A-5952-8C57-9497-88C64214D09B}" dt="2024-06-10T10:39:28.712" v="445"/>
          <ac:spMkLst>
            <pc:docMk/>
            <pc:sldMk cId="2319494498" sldId="334"/>
            <ac:spMk id="8" creationId="{14DD0CFE-6BB0-8D05-FFB3-9F0E778517C1}"/>
          </ac:spMkLst>
        </pc:spChg>
        <pc:spChg chg="del">
          <ac:chgData name="Pranav A Sogi" userId="S::pranav.sogi@trinitypartners.com::26041da9-58db-4268-87d2-8f3ed54afd3b" providerId="AD" clId="Web-{CEF5415A-5952-8C57-9497-88C64214D09B}" dt="2024-06-10T10:38:09.350" v="436"/>
          <ac:spMkLst>
            <pc:docMk/>
            <pc:sldMk cId="2319494498" sldId="334"/>
            <ac:spMk id="9" creationId="{706C7948-8B4C-A3AC-6AC6-7984CD2A800F}"/>
          </ac:spMkLst>
        </pc:spChg>
        <pc:spChg chg="add mod">
          <ac:chgData name="Pranav A Sogi" userId="S::pranav.sogi@trinitypartners.com::26041da9-58db-4268-87d2-8f3ed54afd3b" providerId="AD" clId="Web-{CEF5415A-5952-8C57-9497-88C64214D09B}" dt="2024-06-10T10:38:06.491" v="435" actId="14100"/>
          <ac:spMkLst>
            <pc:docMk/>
            <pc:sldMk cId="2319494498" sldId="334"/>
            <ac:spMk id="12" creationId="{70255827-A68F-E376-0416-B75E1EB4464C}"/>
          </ac:spMkLst>
        </pc:spChg>
        <pc:spChg chg="add mod">
          <ac:chgData name="Pranav A Sogi" userId="S::pranav.sogi@trinitypartners.com::26041da9-58db-4268-87d2-8f3ed54afd3b" providerId="AD" clId="Web-{CEF5415A-5952-8C57-9497-88C64214D09B}" dt="2024-06-10T10:38:32.320" v="440" actId="1076"/>
          <ac:spMkLst>
            <pc:docMk/>
            <pc:sldMk cId="2319494498" sldId="334"/>
            <ac:spMk id="14" creationId="{E1762D22-97DD-497B-9967-5257A0757933}"/>
          </ac:spMkLst>
        </pc:spChg>
        <pc:spChg chg="add mod">
          <ac:chgData name="Pranav A Sogi" userId="S::pranav.sogi@trinitypartners.com::26041da9-58db-4268-87d2-8f3ed54afd3b" providerId="AD" clId="Web-{CEF5415A-5952-8C57-9497-88C64214D09B}" dt="2024-06-10T10:39:38.868" v="450" actId="1076"/>
          <ac:spMkLst>
            <pc:docMk/>
            <pc:sldMk cId="2319494498" sldId="334"/>
            <ac:spMk id="16" creationId="{39DFB07A-D614-A195-07C8-4C6E3342037A}"/>
          </ac:spMkLst>
        </pc:spChg>
        <pc:spChg chg="add mod">
          <ac:chgData name="Pranav A Sogi" userId="S::pranav.sogi@trinitypartners.com::26041da9-58db-4268-87d2-8f3ed54afd3b" providerId="AD" clId="Web-{CEF5415A-5952-8C57-9497-88C64214D09B}" dt="2024-06-10T10:39:38.884" v="451" actId="1076"/>
          <ac:spMkLst>
            <pc:docMk/>
            <pc:sldMk cId="2319494498" sldId="334"/>
            <ac:spMk id="18" creationId="{78B46B6B-6A73-3018-2B93-9CDCEC2673F2}"/>
          </ac:spMkLst>
        </pc:spChg>
        <pc:spChg chg="add mod">
          <ac:chgData name="Pranav A Sogi" userId="S::pranav.sogi@trinitypartners.com::26041da9-58db-4268-87d2-8f3ed54afd3b" providerId="AD" clId="Web-{CEF5415A-5952-8C57-9497-88C64214D09B}" dt="2024-06-10T10:39:38.900" v="452" actId="1076"/>
          <ac:spMkLst>
            <pc:docMk/>
            <pc:sldMk cId="2319494498" sldId="334"/>
            <ac:spMk id="20" creationId="{0A2C7BB1-7101-FC88-F865-A7CABBD24A1D}"/>
          </ac:spMkLst>
        </pc:spChg>
        <pc:spChg chg="add mod">
          <ac:chgData name="Pranav A Sogi" userId="S::pranav.sogi@trinitypartners.com::26041da9-58db-4268-87d2-8f3ed54afd3b" providerId="AD" clId="Web-{CEF5415A-5952-8C57-9497-88C64214D09B}" dt="2024-06-10T10:39:38.915" v="453" actId="1076"/>
          <ac:spMkLst>
            <pc:docMk/>
            <pc:sldMk cId="2319494498" sldId="334"/>
            <ac:spMk id="22" creationId="{491B2D59-1927-7968-E84E-49B971D601CA}"/>
          </ac:spMkLst>
        </pc:spChg>
        <pc:spChg chg="add del mod">
          <ac:chgData name="Pranav A Sogi" userId="S::pranav.sogi@trinitypartners.com::26041da9-58db-4268-87d2-8f3ed54afd3b" providerId="AD" clId="Web-{CEF5415A-5952-8C57-9497-88C64214D09B}" dt="2024-06-10T10:41:47.778" v="474"/>
          <ac:spMkLst>
            <pc:docMk/>
            <pc:sldMk cId="2319494498" sldId="334"/>
            <ac:spMk id="24" creationId="{0C6AF9B2-7394-A21D-4C31-152F193D31D0}"/>
          </ac:spMkLst>
        </pc:spChg>
        <pc:spChg chg="add mod">
          <ac:chgData name="Pranav A Sogi" userId="S::pranav.sogi@trinitypartners.com::26041da9-58db-4268-87d2-8f3ed54afd3b" providerId="AD" clId="Web-{CEF5415A-5952-8C57-9497-88C64214D09B}" dt="2024-06-10T10:40:15.526" v="464" actId="1076"/>
          <ac:spMkLst>
            <pc:docMk/>
            <pc:sldMk cId="2319494498" sldId="334"/>
            <ac:spMk id="26" creationId="{B7ABEF5D-8BE3-D1C3-AD54-01EA3C842915}"/>
          </ac:spMkLst>
        </pc:spChg>
        <pc:spChg chg="add mod">
          <ac:chgData name="Pranav A Sogi" userId="S::pranav.sogi@trinitypartners.com::26041da9-58db-4268-87d2-8f3ed54afd3b" providerId="AD" clId="Web-{CEF5415A-5952-8C57-9497-88C64214D09B}" dt="2024-06-10T10:40:52.589" v="470" actId="1076"/>
          <ac:spMkLst>
            <pc:docMk/>
            <pc:sldMk cId="2319494498" sldId="334"/>
            <ac:spMk id="28" creationId="{C270A4C2-9D18-9A0B-38A7-1782B3438FAC}"/>
          </ac:spMkLst>
        </pc:spChg>
        <pc:spChg chg="add mod">
          <ac:chgData name="Pranav A Sogi" userId="S::pranav.sogi@trinitypartners.com::26041da9-58db-4268-87d2-8f3ed54afd3b" providerId="AD" clId="Web-{CEF5415A-5952-8C57-9497-88C64214D09B}" dt="2024-06-10T10:40:22.651" v="465" actId="1076"/>
          <ac:spMkLst>
            <pc:docMk/>
            <pc:sldMk cId="2319494498" sldId="334"/>
            <ac:spMk id="30" creationId="{3272B211-9C07-4EF4-D1B7-45579D603221}"/>
          </ac:spMkLst>
        </pc:spChg>
        <pc:spChg chg="add mod">
          <ac:chgData name="Pranav A Sogi" userId="S::pranav.sogi@trinitypartners.com::26041da9-58db-4268-87d2-8f3ed54afd3b" providerId="AD" clId="Web-{CEF5415A-5952-8C57-9497-88C64214D09B}" dt="2024-06-10T10:44:12.892" v="490" actId="1076"/>
          <ac:spMkLst>
            <pc:docMk/>
            <pc:sldMk cId="2319494498" sldId="334"/>
            <ac:spMk id="32" creationId="{D7DB36F0-EE8F-55EC-6425-5C42CF3980AF}"/>
          </ac:spMkLst>
        </pc:spChg>
        <pc:spChg chg="add mod">
          <ac:chgData name="Pranav A Sogi" userId="S::pranav.sogi@trinitypartners.com::26041da9-58db-4268-87d2-8f3ed54afd3b" providerId="AD" clId="Web-{CEF5415A-5952-8C57-9497-88C64214D09B}" dt="2024-06-10T10:40:27.823" v="466" actId="1076"/>
          <ac:spMkLst>
            <pc:docMk/>
            <pc:sldMk cId="2319494498" sldId="334"/>
            <ac:spMk id="34" creationId="{1D9AB50F-C30C-A48F-421F-F19ABB8BBDC5}"/>
          </ac:spMkLst>
        </pc:spChg>
        <pc:spChg chg="add mod">
          <ac:chgData name="Pranav A Sogi" userId="S::pranav.sogi@trinitypartners.com::26041da9-58db-4268-87d2-8f3ed54afd3b" providerId="AD" clId="Web-{CEF5415A-5952-8C57-9497-88C64214D09B}" dt="2024-06-10T10:42:36.592" v="476" actId="1076"/>
          <ac:spMkLst>
            <pc:docMk/>
            <pc:sldMk cId="2319494498" sldId="334"/>
            <ac:spMk id="36" creationId="{512225C2-B1A1-EE38-D5E1-BD63DDA9ADE2}"/>
          </ac:spMkLst>
        </pc:spChg>
        <pc:spChg chg="add mod">
          <ac:chgData name="Pranav A Sogi" userId="S::pranav.sogi@trinitypartners.com::26041da9-58db-4268-87d2-8f3ed54afd3b" providerId="AD" clId="Web-{CEF5415A-5952-8C57-9497-88C64214D09B}" dt="2024-06-10T10:44:16.892" v="491" actId="1076"/>
          <ac:spMkLst>
            <pc:docMk/>
            <pc:sldMk cId="2319494498" sldId="334"/>
            <ac:spMk id="37" creationId="{3F31CE2F-0516-0A24-2D85-DB94F2B7E743}"/>
          </ac:spMkLst>
        </pc:spChg>
        <pc:spChg chg="add del mod">
          <ac:chgData name="Pranav A Sogi" userId="S::pranav.sogi@trinitypartners.com::26041da9-58db-4268-87d2-8f3ed54afd3b" providerId="AD" clId="Web-{CEF5415A-5952-8C57-9497-88C64214D09B}" dt="2024-06-10T10:43:51.610" v="485"/>
          <ac:spMkLst>
            <pc:docMk/>
            <pc:sldMk cId="2319494498" sldId="334"/>
            <ac:spMk id="38" creationId="{55A7A8C8-1565-6ACA-D401-249E7EA39BFF}"/>
          </ac:spMkLst>
        </pc:spChg>
        <pc:spChg chg="del">
          <ac:chgData name="Pranav A Sogi" userId="S::pranav.sogi@trinitypartners.com::26041da9-58db-4268-87d2-8f3ed54afd3b" providerId="AD" clId="Web-{CEF5415A-5952-8C57-9497-88C64214D09B}" dt="2024-06-10T10:39:43.306" v="454"/>
          <ac:spMkLst>
            <pc:docMk/>
            <pc:sldMk cId="2319494498" sldId="334"/>
            <ac:spMk id="66" creationId="{B3E38DD7-4612-8450-6289-D3AE78D61E19}"/>
          </ac:spMkLst>
        </pc:spChg>
        <pc:spChg chg="del mod">
          <ac:chgData name="Pranav A Sogi" userId="S::pranav.sogi@trinitypartners.com::26041da9-58db-4268-87d2-8f3ed54afd3b" providerId="AD" clId="Web-{CEF5415A-5952-8C57-9497-88C64214D09B}" dt="2024-06-10T10:39:18.337" v="442"/>
          <ac:spMkLst>
            <pc:docMk/>
            <pc:sldMk cId="2319494498" sldId="334"/>
            <ac:spMk id="69" creationId="{53A2D978-195B-38A9-CB23-BD53F3F3F4B5}"/>
          </ac:spMkLst>
        </pc:spChg>
        <pc:spChg chg="del">
          <ac:chgData name="Pranav A Sogi" userId="S::pranav.sogi@trinitypartners.com::26041da9-58db-4268-87d2-8f3ed54afd3b" providerId="AD" clId="Web-{CEF5415A-5952-8C57-9497-88C64214D09B}" dt="2024-06-10T10:37:48.647" v="430"/>
          <ac:spMkLst>
            <pc:docMk/>
            <pc:sldMk cId="2319494498" sldId="334"/>
            <ac:spMk id="72" creationId="{E7C3CA7D-5F78-8B93-CC4C-7793737B0A88}"/>
          </ac:spMkLst>
        </pc:spChg>
        <pc:spChg chg="del">
          <ac:chgData name="Pranav A Sogi" userId="S::pranav.sogi@trinitypartners.com::26041da9-58db-4268-87d2-8f3ed54afd3b" providerId="AD" clId="Web-{CEF5415A-5952-8C57-9497-88C64214D09B}" dt="2024-06-10T10:39:21.634" v="443"/>
          <ac:spMkLst>
            <pc:docMk/>
            <pc:sldMk cId="2319494498" sldId="334"/>
            <ac:spMk id="75" creationId="{410FF0D4-EA87-759F-776F-5A414E32DF83}"/>
          </ac:spMkLst>
        </pc:spChg>
        <pc:spChg chg="mod">
          <ac:chgData name="Pranav A Sogi" userId="S::pranav.sogi@trinitypartners.com::26041da9-58db-4268-87d2-8f3ed54afd3b" providerId="AD" clId="Web-{CEF5415A-5952-8C57-9497-88C64214D09B}" dt="2024-06-10T09:31:43.127" v="12" actId="20577"/>
          <ac:spMkLst>
            <pc:docMk/>
            <pc:sldMk cId="2319494498" sldId="334"/>
            <ac:spMk id="78" creationId="{0217532F-387B-240C-7339-B2596B168673}"/>
          </ac:spMkLst>
        </pc:spChg>
      </pc:sldChg>
      <pc:sldChg chg="addSp delSp modSp">
        <pc:chgData name="Pranav A Sogi" userId="S::pranav.sogi@trinitypartners.com::26041da9-58db-4268-87d2-8f3ed54afd3b" providerId="AD" clId="Web-{CEF5415A-5952-8C57-9497-88C64214D09B}" dt="2024-06-10T11:45:03.808" v="905" actId="20577"/>
        <pc:sldMkLst>
          <pc:docMk/>
          <pc:sldMk cId="2737486546" sldId="353"/>
        </pc:sldMkLst>
        <pc:spChg chg="mod">
          <ac:chgData name="Pranav A Sogi" userId="S::pranav.sogi@trinitypartners.com::26041da9-58db-4268-87d2-8f3ed54afd3b" providerId="AD" clId="Web-{CEF5415A-5952-8C57-9497-88C64214D09B}" dt="2024-06-10T10:00:47.974" v="188" actId="1076"/>
          <ac:spMkLst>
            <pc:docMk/>
            <pc:sldMk cId="2737486546" sldId="353"/>
            <ac:spMk id="10" creationId="{432C3809-B1CE-BB95-D370-750C002FA7C0}"/>
          </ac:spMkLst>
        </pc:spChg>
        <pc:spChg chg="mod">
          <ac:chgData name="Pranav A Sogi" userId="S::pranav.sogi@trinitypartners.com::26041da9-58db-4268-87d2-8f3ed54afd3b" providerId="AD" clId="Web-{CEF5415A-5952-8C57-9497-88C64214D09B}" dt="2024-06-10T10:05:11.872" v="297" actId="1076"/>
          <ac:spMkLst>
            <pc:docMk/>
            <pc:sldMk cId="2737486546" sldId="353"/>
            <ac:spMk id="15" creationId="{8D63703C-994B-80E0-C535-1BA7E8C724BF}"/>
          </ac:spMkLst>
        </pc:spChg>
        <pc:spChg chg="mod">
          <ac:chgData name="Pranav A Sogi" userId="S::pranav.sogi@trinitypartners.com::26041da9-58db-4268-87d2-8f3ed54afd3b" providerId="AD" clId="Web-{CEF5415A-5952-8C57-9497-88C64214D09B}" dt="2024-06-10T10:01:02.787" v="191" actId="1076"/>
          <ac:spMkLst>
            <pc:docMk/>
            <pc:sldMk cId="2737486546" sldId="353"/>
            <ac:spMk id="16" creationId="{C5708BDD-5E67-2077-C395-C7BC7A9C69AB}"/>
          </ac:spMkLst>
        </pc:spChg>
        <pc:spChg chg="mod">
          <ac:chgData name="Pranav A Sogi" userId="S::pranav.sogi@trinitypartners.com::26041da9-58db-4268-87d2-8f3ed54afd3b" providerId="AD" clId="Web-{CEF5415A-5952-8C57-9497-88C64214D09B}" dt="2024-06-10T10:05:19.216" v="298" actId="1076"/>
          <ac:spMkLst>
            <pc:docMk/>
            <pc:sldMk cId="2737486546" sldId="353"/>
            <ac:spMk id="17" creationId="{5237B493-81AF-5D65-6801-1C32A4B77466}"/>
          </ac:spMkLst>
        </pc:spChg>
        <pc:spChg chg="mod">
          <ac:chgData name="Pranav A Sogi" userId="S::pranav.sogi@trinitypartners.com::26041da9-58db-4268-87d2-8f3ed54afd3b" providerId="AD" clId="Web-{CEF5415A-5952-8C57-9497-88C64214D09B}" dt="2024-06-10T10:04:52.497" v="293" actId="1076"/>
          <ac:spMkLst>
            <pc:docMk/>
            <pc:sldMk cId="2737486546" sldId="353"/>
            <ac:spMk id="18" creationId="{CB58475A-AD87-2328-5882-2223CDFF0A4B}"/>
          </ac:spMkLst>
        </pc:spChg>
        <pc:spChg chg="mod">
          <ac:chgData name="Pranav A Sogi" userId="S::pranav.sogi@trinitypartners.com::26041da9-58db-4268-87d2-8f3ed54afd3b" providerId="AD" clId="Web-{CEF5415A-5952-8C57-9497-88C64214D09B}" dt="2024-06-10T10:05:06.575" v="294" actId="1076"/>
          <ac:spMkLst>
            <pc:docMk/>
            <pc:sldMk cId="2737486546" sldId="353"/>
            <ac:spMk id="19" creationId="{6DC1DC46-AABD-45DB-B5BF-1A77E65D5095}"/>
          </ac:spMkLst>
        </pc:spChg>
        <pc:spChg chg="mod">
          <ac:chgData name="Pranav A Sogi" userId="S::pranav.sogi@trinitypartners.com::26041da9-58db-4268-87d2-8f3ed54afd3b" providerId="AD" clId="Web-{CEF5415A-5952-8C57-9497-88C64214D09B}" dt="2024-06-10T11:15:24.101" v="662" actId="20577"/>
          <ac:spMkLst>
            <pc:docMk/>
            <pc:sldMk cId="2737486546" sldId="353"/>
            <ac:spMk id="20" creationId="{32F24BB3-6462-FD41-DA52-90806E7FD672}"/>
          </ac:spMkLst>
        </pc:spChg>
        <pc:spChg chg="mod">
          <ac:chgData name="Pranav A Sogi" userId="S::pranav.sogi@trinitypartners.com::26041da9-58db-4268-87d2-8f3ed54afd3b" providerId="AD" clId="Web-{CEF5415A-5952-8C57-9497-88C64214D09B}" dt="2024-06-10T11:45:03.808" v="905" actId="20577"/>
          <ac:spMkLst>
            <pc:docMk/>
            <pc:sldMk cId="2737486546" sldId="353"/>
            <ac:spMk id="21" creationId="{82E6B9F2-4FEB-7890-3AF6-79D81498DDCB}"/>
          </ac:spMkLst>
        </pc:spChg>
        <pc:spChg chg="mod">
          <ac:chgData name="Pranav A Sogi" userId="S::pranav.sogi@trinitypartners.com::26041da9-58db-4268-87d2-8f3ed54afd3b" providerId="AD" clId="Web-{CEF5415A-5952-8C57-9497-88C64214D09B}" dt="2024-06-10T11:31:49.505" v="803"/>
          <ac:spMkLst>
            <pc:docMk/>
            <pc:sldMk cId="2737486546" sldId="353"/>
            <ac:spMk id="24" creationId="{85F4B4C2-F8FB-EB2E-91EE-3E639F516E6E}"/>
          </ac:spMkLst>
        </pc:spChg>
        <pc:spChg chg="mod">
          <ac:chgData name="Pranav A Sogi" userId="S::pranav.sogi@trinitypartners.com::26041da9-58db-4268-87d2-8f3ed54afd3b" providerId="AD" clId="Web-{CEF5415A-5952-8C57-9497-88C64214D09B}" dt="2024-06-10T10:11:32.024" v="335" actId="1076"/>
          <ac:spMkLst>
            <pc:docMk/>
            <pc:sldMk cId="2737486546" sldId="353"/>
            <ac:spMk id="25" creationId="{C301EA52-2085-FB44-BBC3-1A6512330813}"/>
          </ac:spMkLst>
        </pc:spChg>
        <pc:spChg chg="add del mod">
          <ac:chgData name="Pranav A Sogi" userId="S::pranav.sogi@trinitypartners.com::26041da9-58db-4268-87d2-8f3ed54afd3b" providerId="AD" clId="Web-{CEF5415A-5952-8C57-9497-88C64214D09B}" dt="2024-06-10T11:32:42.506" v="850" actId="20577"/>
          <ac:spMkLst>
            <pc:docMk/>
            <pc:sldMk cId="2737486546" sldId="353"/>
            <ac:spMk id="26" creationId="{B58CD89B-AA3C-C1A1-79BF-F8CA9CB6AF90}"/>
          </ac:spMkLst>
        </pc:spChg>
        <pc:spChg chg="mod">
          <ac:chgData name="Pranav A Sogi" userId="S::pranav.sogi@trinitypartners.com::26041da9-58db-4268-87d2-8f3ed54afd3b" providerId="AD" clId="Web-{CEF5415A-5952-8C57-9497-88C64214D09B}" dt="2024-06-10T10:11:22.211" v="332" actId="1076"/>
          <ac:spMkLst>
            <pc:docMk/>
            <pc:sldMk cId="2737486546" sldId="353"/>
            <ac:spMk id="29" creationId="{B098C853-6F5C-C982-7B75-B6125078DF8B}"/>
          </ac:spMkLst>
        </pc:spChg>
        <pc:picChg chg="mod">
          <ac:chgData name="Pranav A Sogi" userId="S::pranav.sogi@trinitypartners.com::26041da9-58db-4268-87d2-8f3ed54afd3b" providerId="AD" clId="Web-{CEF5415A-5952-8C57-9497-88C64214D09B}" dt="2024-06-10T10:00:57.349" v="190" actId="1076"/>
          <ac:picMkLst>
            <pc:docMk/>
            <pc:sldMk cId="2737486546" sldId="353"/>
            <ac:picMk id="32" creationId="{0FA7CA82-D6D6-998A-A558-2CFB08C3C637}"/>
          </ac:picMkLst>
        </pc:picChg>
        <pc:picChg chg="mod">
          <ac:chgData name="Pranav A Sogi" userId="S::pranav.sogi@trinitypartners.com::26041da9-58db-4268-87d2-8f3ed54afd3b" providerId="AD" clId="Web-{CEF5415A-5952-8C57-9497-88C64214D09B}" dt="2024-06-10T10:05:06.591" v="295" actId="1076"/>
          <ac:picMkLst>
            <pc:docMk/>
            <pc:sldMk cId="2737486546" sldId="353"/>
            <ac:picMk id="33" creationId="{504C48AF-B42B-38D7-B327-E70748BBA0CB}"/>
          </ac:picMkLst>
        </pc:picChg>
        <pc:picChg chg="mod">
          <ac:chgData name="Pranav A Sogi" userId="S::pranav.sogi@trinitypartners.com::26041da9-58db-4268-87d2-8f3ed54afd3b" providerId="AD" clId="Web-{CEF5415A-5952-8C57-9497-88C64214D09B}" dt="2024-06-10T10:11:22.226" v="333" actId="1076"/>
          <ac:picMkLst>
            <pc:docMk/>
            <pc:sldMk cId="2737486546" sldId="353"/>
            <ac:picMk id="34" creationId="{1243032F-FE55-2518-BC97-5E4E492FD440}"/>
          </ac:picMkLst>
        </pc:picChg>
      </pc:sldChg>
      <pc:sldChg chg="addSp delSp modSp">
        <pc:chgData name="Pranav A Sogi" userId="S::pranav.sogi@trinitypartners.com::26041da9-58db-4268-87d2-8f3ed54afd3b" providerId="AD" clId="Web-{CEF5415A-5952-8C57-9497-88C64214D09B}" dt="2024-06-10T11:33:49.274" v="871" actId="20577"/>
        <pc:sldMkLst>
          <pc:docMk/>
          <pc:sldMk cId="3954524133" sldId="354"/>
        </pc:sldMkLst>
        <pc:spChg chg="mod">
          <ac:chgData name="Pranav A Sogi" userId="S::pranav.sogi@trinitypartners.com::26041da9-58db-4268-87d2-8f3ed54afd3b" providerId="AD" clId="Web-{CEF5415A-5952-8C57-9497-88C64214D09B}" dt="2024-06-10T11:26:00.807" v="721" actId="20577"/>
          <ac:spMkLst>
            <pc:docMk/>
            <pc:sldMk cId="3954524133" sldId="354"/>
            <ac:spMk id="20" creationId="{32F24BB3-6462-FD41-DA52-90806E7FD672}"/>
          </ac:spMkLst>
        </pc:spChg>
        <pc:spChg chg="mod">
          <ac:chgData name="Pranav A Sogi" userId="S::pranav.sogi@trinitypartners.com::26041da9-58db-4268-87d2-8f3ed54afd3b" providerId="AD" clId="Web-{CEF5415A-5952-8C57-9497-88C64214D09B}" dt="2024-06-10T11:33:49.274" v="871" actId="20577"/>
          <ac:spMkLst>
            <pc:docMk/>
            <pc:sldMk cId="3954524133" sldId="354"/>
            <ac:spMk id="21" creationId="{82E6B9F2-4FEB-7890-3AF6-79D81498DDCB}"/>
          </ac:spMkLst>
        </pc:spChg>
        <pc:spChg chg="add del mod">
          <ac:chgData name="Pranav A Sogi" userId="S::pranav.sogi@trinitypartners.com::26041da9-58db-4268-87d2-8f3ed54afd3b" providerId="AD" clId="Web-{CEF5415A-5952-8C57-9497-88C64214D09B}" dt="2024-06-10T11:28:45.749" v="795"/>
          <ac:spMkLst>
            <pc:docMk/>
            <pc:sldMk cId="3954524133" sldId="354"/>
            <ac:spMk id="26" creationId="{B58CD89B-AA3C-C1A1-79BF-F8CA9CB6AF90}"/>
          </ac:spMkLst>
        </pc:spChg>
      </pc:sldChg>
      <pc:sldChg chg="ord">
        <pc:chgData name="Pranav A Sogi" userId="S::pranav.sogi@trinitypartners.com::26041da9-58db-4268-87d2-8f3ed54afd3b" providerId="AD" clId="Web-{CEF5415A-5952-8C57-9497-88C64214D09B}" dt="2024-06-10T11:38:27.156" v="895"/>
        <pc:sldMkLst>
          <pc:docMk/>
          <pc:sldMk cId="2035529764" sldId="356"/>
        </pc:sldMkLst>
      </pc:sldChg>
      <pc:sldChg chg="addSp delSp modSp mod modShow">
        <pc:chgData name="Pranav A Sogi" userId="S::pranav.sogi@trinitypartners.com::26041da9-58db-4268-87d2-8f3ed54afd3b" providerId="AD" clId="Web-{CEF5415A-5952-8C57-9497-88C64214D09B}" dt="2024-06-10T11:59:40.599" v="906"/>
        <pc:sldMkLst>
          <pc:docMk/>
          <pc:sldMk cId="379870937" sldId="358"/>
        </pc:sldMkLst>
        <pc:spChg chg="add del mod">
          <ac:chgData name="Pranav A Sogi" userId="S::pranav.sogi@trinitypartners.com::26041da9-58db-4268-87d2-8f3ed54afd3b" providerId="AD" clId="Web-{CEF5415A-5952-8C57-9497-88C64214D09B}" dt="2024-06-10T09:55:46.825" v="159"/>
          <ac:spMkLst>
            <pc:docMk/>
            <pc:sldMk cId="379870937" sldId="358"/>
            <ac:spMk id="2" creationId="{85AC8673-634B-65E5-3971-7BFFF29E5C3A}"/>
          </ac:spMkLst>
        </pc:spChg>
        <pc:spChg chg="add mod">
          <ac:chgData name="Pranav A Sogi" userId="S::pranav.sogi@trinitypartners.com::26041da9-58db-4268-87d2-8f3ed54afd3b" providerId="AD" clId="Web-{CEF5415A-5952-8C57-9497-88C64214D09B}" dt="2024-06-10T09:46:53.231" v="101" actId="14100"/>
          <ac:spMkLst>
            <pc:docMk/>
            <pc:sldMk cId="379870937" sldId="358"/>
            <ac:spMk id="3" creationId="{2DFBFB7A-2A84-8025-BBFD-3C20F0E1F219}"/>
          </ac:spMkLst>
        </pc:spChg>
        <pc:spChg chg="add mod">
          <ac:chgData name="Pranav A Sogi" userId="S::pranav.sogi@trinitypartners.com::26041da9-58db-4268-87d2-8f3ed54afd3b" providerId="AD" clId="Web-{CEF5415A-5952-8C57-9497-88C64214D09B}" dt="2024-06-10T09:46:49.825" v="100" actId="14100"/>
          <ac:spMkLst>
            <pc:docMk/>
            <pc:sldMk cId="379870937" sldId="358"/>
            <ac:spMk id="4" creationId="{C061B055-D608-361C-328B-ADAB4CF8211B}"/>
          </ac:spMkLst>
        </pc:spChg>
        <pc:spChg chg="add mod">
          <ac:chgData name="Pranav A Sogi" userId="S::pranav.sogi@trinitypartners.com::26041da9-58db-4268-87d2-8f3ed54afd3b" providerId="AD" clId="Web-{CEF5415A-5952-8C57-9497-88C64214D09B}" dt="2024-06-10T09:49:01.954" v="127" actId="14100"/>
          <ac:spMkLst>
            <pc:docMk/>
            <pc:sldMk cId="379870937" sldId="358"/>
            <ac:spMk id="6" creationId="{EA23EA06-0EB0-0049-31F3-805CA06F489B}"/>
          </ac:spMkLst>
        </pc:spChg>
        <pc:spChg chg="add mod">
          <ac:chgData name="Pranav A Sogi" userId="S::pranav.sogi@trinitypartners.com::26041da9-58db-4268-87d2-8f3ed54afd3b" providerId="AD" clId="Web-{CEF5415A-5952-8C57-9497-88C64214D09B}" dt="2024-06-10T09:46:12.902" v="96" actId="1076"/>
          <ac:spMkLst>
            <pc:docMk/>
            <pc:sldMk cId="379870937" sldId="358"/>
            <ac:spMk id="7" creationId="{7569D42E-0684-7BA2-F912-A355038270F2}"/>
          </ac:spMkLst>
        </pc:spChg>
        <pc:spChg chg="add mod">
          <ac:chgData name="Pranav A Sogi" userId="S::pranav.sogi@trinitypartners.com::26041da9-58db-4268-87d2-8f3ed54afd3b" providerId="AD" clId="Web-{CEF5415A-5952-8C57-9497-88C64214D09B}" dt="2024-06-10T09:48:00.327" v="113" actId="1076"/>
          <ac:spMkLst>
            <pc:docMk/>
            <pc:sldMk cId="379870937" sldId="358"/>
            <ac:spMk id="8" creationId="{C7035754-DF3C-F237-7423-F8AA1A4B375A}"/>
          </ac:spMkLst>
        </pc:spChg>
        <pc:spChg chg="add mod">
          <ac:chgData name="Pranav A Sogi" userId="S::pranav.sogi@trinitypartners.com::26041da9-58db-4268-87d2-8f3ed54afd3b" providerId="AD" clId="Web-{CEF5415A-5952-8C57-9497-88C64214D09B}" dt="2024-06-10T09:54:55.323" v="154" actId="1076"/>
          <ac:spMkLst>
            <pc:docMk/>
            <pc:sldMk cId="379870937" sldId="358"/>
            <ac:spMk id="9" creationId="{BCF57972-31E9-C6B6-4ADE-19E9C71F6ADF}"/>
          </ac:spMkLst>
        </pc:spChg>
        <pc:spChg chg="mod">
          <ac:chgData name="Pranav A Sogi" userId="S::pranav.sogi@trinitypartners.com::26041da9-58db-4268-87d2-8f3ed54afd3b" providerId="AD" clId="Web-{CEF5415A-5952-8C57-9497-88C64214D09B}" dt="2024-06-10T09:46:57.310" v="102" actId="14100"/>
          <ac:spMkLst>
            <pc:docMk/>
            <pc:sldMk cId="379870937" sldId="358"/>
            <ac:spMk id="11" creationId="{59CB6F31-A407-0E0B-1839-5E08366CF5D6}"/>
          </ac:spMkLst>
        </pc:spChg>
        <pc:spChg chg="mod">
          <ac:chgData name="Pranav A Sogi" userId="S::pranav.sogi@trinitypartners.com::26041da9-58db-4268-87d2-8f3ed54afd3b" providerId="AD" clId="Web-{CEF5415A-5952-8C57-9497-88C64214D09B}" dt="2024-06-10T09:45:25.010" v="89" actId="14100"/>
          <ac:spMkLst>
            <pc:docMk/>
            <pc:sldMk cId="379870937" sldId="358"/>
            <ac:spMk id="12" creationId="{A48BBA8A-84BC-AFFF-7E02-FFD54369B3FD}"/>
          </ac:spMkLst>
        </pc:spChg>
        <pc:spChg chg="add mod">
          <ac:chgData name="Pranav A Sogi" userId="S::pranav.sogi@trinitypartners.com::26041da9-58db-4268-87d2-8f3ed54afd3b" providerId="AD" clId="Web-{CEF5415A-5952-8C57-9497-88C64214D09B}" dt="2024-06-10T09:53:54.806" v="147" actId="1076"/>
          <ac:spMkLst>
            <pc:docMk/>
            <pc:sldMk cId="379870937" sldId="358"/>
            <ac:spMk id="13" creationId="{E0014234-3D5A-3C38-45E7-57957B95CF5F}"/>
          </ac:spMkLst>
        </pc:spChg>
        <pc:spChg chg="add mod">
          <ac:chgData name="Pranav A Sogi" userId="S::pranav.sogi@trinitypartners.com::26041da9-58db-4268-87d2-8f3ed54afd3b" providerId="AD" clId="Web-{CEF5415A-5952-8C57-9497-88C64214D09B}" dt="2024-06-10T09:55:24.402" v="158" actId="14100"/>
          <ac:spMkLst>
            <pc:docMk/>
            <pc:sldMk cId="379870937" sldId="358"/>
            <ac:spMk id="14" creationId="{012D4850-D7E1-6EEA-2D41-E83C3C7D2BAC}"/>
          </ac:spMkLst>
        </pc:spChg>
        <pc:spChg chg="add mod">
          <ac:chgData name="Pranav A Sogi" userId="S::pranav.sogi@trinitypartners.com::26041da9-58db-4268-87d2-8f3ed54afd3b" providerId="AD" clId="Web-{CEF5415A-5952-8C57-9497-88C64214D09B}" dt="2024-06-10T09:53:50.431" v="146" actId="1076"/>
          <ac:spMkLst>
            <pc:docMk/>
            <pc:sldMk cId="379870937" sldId="358"/>
            <ac:spMk id="15" creationId="{4CCCB541-00E4-8165-3D2B-DFB035F3FA01}"/>
          </ac:spMkLst>
        </pc:spChg>
        <pc:spChg chg="add del">
          <ac:chgData name="Pranav A Sogi" userId="S::pranav.sogi@trinitypartners.com::26041da9-58db-4268-87d2-8f3ed54afd3b" providerId="AD" clId="Web-{CEF5415A-5952-8C57-9497-88C64214D09B}" dt="2024-06-10T09:53:19.742" v="140"/>
          <ac:spMkLst>
            <pc:docMk/>
            <pc:sldMk cId="379870937" sldId="358"/>
            <ac:spMk id="16" creationId="{255B659B-DDEA-EDB3-0430-F7D10107F47F}"/>
          </ac:spMkLst>
        </pc:spChg>
        <pc:spChg chg="add del">
          <ac:chgData name="Pranav A Sogi" userId="S::pranav.sogi@trinitypartners.com::26041da9-58db-4268-87d2-8f3ed54afd3b" providerId="AD" clId="Web-{CEF5415A-5952-8C57-9497-88C64214D09B}" dt="2024-06-10T09:53:24.649" v="142"/>
          <ac:spMkLst>
            <pc:docMk/>
            <pc:sldMk cId="379870937" sldId="358"/>
            <ac:spMk id="17" creationId="{7AA14022-A198-9E8B-FE67-B5732B3FB67D}"/>
          </ac:spMkLst>
        </pc:spChg>
        <pc:spChg chg="add del mod">
          <ac:chgData name="Pranav A Sogi" userId="S::pranav.sogi@trinitypartners.com::26041da9-58db-4268-87d2-8f3ed54afd3b" providerId="AD" clId="Web-{CEF5415A-5952-8C57-9497-88C64214D09B}" dt="2024-06-10T09:57:40.687" v="178"/>
          <ac:spMkLst>
            <pc:docMk/>
            <pc:sldMk cId="379870937" sldId="358"/>
            <ac:spMk id="18" creationId="{0EF41D87-54D4-96C1-671B-916BD16AF48A}"/>
          </ac:spMkLst>
        </pc:spChg>
        <pc:spChg chg="add mod">
          <ac:chgData name="Pranav A Sogi" userId="S::pranav.sogi@trinitypartners.com::26041da9-58db-4268-87d2-8f3ed54afd3b" providerId="AD" clId="Web-{CEF5415A-5952-8C57-9497-88C64214D09B}" dt="2024-06-10T09:57:52.125" v="181" actId="14100"/>
          <ac:spMkLst>
            <pc:docMk/>
            <pc:sldMk cId="379870937" sldId="358"/>
            <ac:spMk id="19" creationId="{FDA14E72-1C59-0B40-43A5-9E812DB5DA40}"/>
          </ac:spMkLst>
        </pc:spChg>
        <pc:spChg chg="add mod">
          <ac:chgData name="Pranav A Sogi" userId="S::pranav.sogi@trinitypartners.com::26041da9-58db-4268-87d2-8f3ed54afd3b" providerId="AD" clId="Web-{CEF5415A-5952-8C57-9497-88C64214D09B}" dt="2024-06-10T09:58:04.829" v="182" actId="1076"/>
          <ac:spMkLst>
            <pc:docMk/>
            <pc:sldMk cId="379870937" sldId="358"/>
            <ac:spMk id="20" creationId="{B94DA821-115D-C67F-DBE0-C2A5F959E9CB}"/>
          </ac:spMkLst>
        </pc:spChg>
        <pc:spChg chg="add del mod">
          <ac:chgData name="Pranav A Sogi" userId="S::pranav.sogi@trinitypartners.com::26041da9-58db-4268-87d2-8f3ed54afd3b" providerId="AD" clId="Web-{CEF5415A-5952-8C57-9497-88C64214D09B}" dt="2024-06-10T09:57:32.031" v="175"/>
          <ac:spMkLst>
            <pc:docMk/>
            <pc:sldMk cId="379870937" sldId="358"/>
            <ac:spMk id="21" creationId="{5DF26F7D-9473-7FE2-DB1A-0BF117FD3403}"/>
          </ac:spMkLst>
        </pc:spChg>
        <pc:spChg chg="mod">
          <ac:chgData name="Pranav A Sogi" userId="S::pranav.sogi@trinitypartners.com::26041da9-58db-4268-87d2-8f3ed54afd3b" providerId="AD" clId="Web-{CEF5415A-5952-8C57-9497-88C64214D09B}" dt="2024-06-10T09:30:15.375" v="1" actId="1076"/>
          <ac:spMkLst>
            <pc:docMk/>
            <pc:sldMk cId="379870937" sldId="358"/>
            <ac:spMk id="63" creationId="{C40CC5F8-DFF3-4AAA-F729-606AD8208FF8}"/>
          </ac:spMkLst>
        </pc:spChg>
        <pc:graphicFrameChg chg="mod modGraphic">
          <ac:chgData name="Pranav A Sogi" userId="S::pranav.sogi@trinitypartners.com::26041da9-58db-4268-87d2-8f3ed54afd3b" providerId="AD" clId="Web-{CEF5415A-5952-8C57-9497-88C64214D09B}" dt="2024-06-10T09:58:36.830" v="187"/>
          <ac:graphicFrameMkLst>
            <pc:docMk/>
            <pc:sldMk cId="379870937" sldId="358"/>
            <ac:graphicFrameMk id="10" creationId="{F896CA51-2DD7-2BA7-97C3-22C8299B6AC1}"/>
          </ac:graphicFrameMkLst>
        </pc:graphicFrameChg>
      </pc:sldChg>
      <pc:sldChg chg="addSp delSp modSp">
        <pc:chgData name="Pranav A Sogi" userId="S::pranav.sogi@trinitypartners.com::26041da9-58db-4268-87d2-8f3ed54afd3b" providerId="AD" clId="Web-{CEF5415A-5952-8C57-9497-88C64214D09B}" dt="2024-06-10T12:11:51.932" v="928" actId="14100"/>
        <pc:sldMkLst>
          <pc:docMk/>
          <pc:sldMk cId="812848875" sldId="360"/>
        </pc:sldMkLst>
        <pc:spChg chg="mod">
          <ac:chgData name="Pranav A Sogi" userId="S::pranav.sogi@trinitypartners.com::26041da9-58db-4268-87d2-8f3ed54afd3b" providerId="AD" clId="Web-{CEF5415A-5952-8C57-9497-88C64214D09B}" dt="2024-06-10T12:09:25.834" v="907" actId="1076"/>
          <ac:spMkLst>
            <pc:docMk/>
            <pc:sldMk cId="812848875" sldId="360"/>
            <ac:spMk id="2" creationId="{F2F39935-05AF-A634-27A8-499EB349F9AF}"/>
          </ac:spMkLst>
        </pc:spChg>
        <pc:spChg chg="mod">
          <ac:chgData name="Pranav A Sogi" userId="S::pranav.sogi@trinitypartners.com::26041da9-58db-4268-87d2-8f3ed54afd3b" providerId="AD" clId="Web-{CEF5415A-5952-8C57-9497-88C64214D09B}" dt="2024-06-10T11:35:35.933" v="875" actId="20577"/>
          <ac:spMkLst>
            <pc:docMk/>
            <pc:sldMk cId="812848875" sldId="360"/>
            <ac:spMk id="4" creationId="{6BE7FC9A-3392-1344-BD93-493BB49841AF}"/>
          </ac:spMkLst>
        </pc:spChg>
        <pc:picChg chg="add mod">
          <ac:chgData name="Pranav A Sogi" userId="S::pranav.sogi@trinitypartners.com::26041da9-58db-4268-87d2-8f3ed54afd3b" providerId="AD" clId="Web-{CEF5415A-5952-8C57-9497-88C64214D09B}" dt="2024-06-10T11:34:05.774" v="872" actId="14100"/>
          <ac:picMkLst>
            <pc:docMk/>
            <pc:sldMk cId="812848875" sldId="360"/>
            <ac:picMk id="5" creationId="{A9656D44-9747-1DD1-2787-0D5295B45033}"/>
          </ac:picMkLst>
        </pc:picChg>
        <pc:picChg chg="add mod">
          <ac:chgData name="Pranav A Sogi" userId="S::pranav.sogi@trinitypartners.com::26041da9-58db-4268-87d2-8f3ed54afd3b" providerId="AD" clId="Web-{CEF5415A-5952-8C57-9497-88C64214D09B}" dt="2024-06-10T12:09:32.397" v="908" actId="14100"/>
          <ac:picMkLst>
            <pc:docMk/>
            <pc:sldMk cId="812848875" sldId="360"/>
            <ac:picMk id="6" creationId="{CDC51CD3-A723-08A9-37C3-8E7EC6B9365E}"/>
          </ac:picMkLst>
        </pc:picChg>
        <pc:picChg chg="add del mod">
          <ac:chgData name="Pranav A Sogi" userId="S::pranav.sogi@trinitypartners.com::26041da9-58db-4268-87d2-8f3ed54afd3b" providerId="AD" clId="Web-{CEF5415A-5952-8C57-9497-88C64214D09B}" dt="2024-06-10T12:11:51.932" v="928" actId="14100"/>
          <ac:picMkLst>
            <pc:docMk/>
            <pc:sldMk cId="812848875" sldId="360"/>
            <ac:picMk id="7" creationId="{DD3EA835-E093-B2CC-FC21-5E3625E31428}"/>
          </ac:picMkLst>
        </pc:picChg>
        <pc:picChg chg="add del mod">
          <ac:chgData name="Pranav A Sogi" userId="S::pranav.sogi@trinitypartners.com::26041da9-58db-4268-87d2-8f3ed54afd3b" providerId="AD" clId="Web-{CEF5415A-5952-8C57-9497-88C64214D09B}" dt="2024-06-10T12:10:50.899" v="923"/>
          <ac:picMkLst>
            <pc:docMk/>
            <pc:sldMk cId="812848875" sldId="360"/>
            <ac:picMk id="8" creationId="{1B0D4D03-613C-843E-3584-5F20EC62B306}"/>
          </ac:picMkLst>
        </pc:picChg>
      </pc:sldChg>
      <pc:sldChg chg="add del replId">
        <pc:chgData name="Pranav A Sogi" userId="S::pranav.sogi@trinitypartners.com::26041da9-58db-4268-87d2-8f3ed54afd3b" providerId="AD" clId="Web-{CEF5415A-5952-8C57-9497-88C64214D09B}" dt="2024-06-10T10:43:34.578" v="480"/>
        <pc:sldMkLst>
          <pc:docMk/>
          <pc:sldMk cId="1262720597" sldId="365"/>
        </pc:sldMkLst>
      </pc:sldChg>
      <pc:sldChg chg="add del replId">
        <pc:chgData name="Pranav A Sogi" userId="S::pranav.sogi@trinitypartners.com::26041da9-58db-4268-87d2-8f3ed54afd3b" providerId="AD" clId="Web-{CEF5415A-5952-8C57-9497-88C64214D09B}" dt="2024-06-10T10:43:33.328" v="479"/>
        <pc:sldMkLst>
          <pc:docMk/>
          <pc:sldMk cId="236622245" sldId="366"/>
        </pc:sldMkLst>
      </pc:sldChg>
    </pc:docChg>
  </pc:docChgLst>
  <pc:docChgLst>
    <pc:chgData name="Pranav A Sogi" userId="S::pranav.sogi@trinitypartners.com::26041da9-58db-4268-87d2-8f3ed54afd3b" providerId="AD" clId="Web-{491D624A-34AF-DE4C-AC5E-E62E9A50B18F}"/>
    <pc:docChg chg="mod modSld">
      <pc:chgData name="Pranav A Sogi" userId="S::pranav.sogi@trinitypartners.com::26041da9-58db-4268-87d2-8f3ed54afd3b" providerId="AD" clId="Web-{491D624A-34AF-DE4C-AC5E-E62E9A50B18F}" dt="2024-06-10T17:29:06.984" v="150"/>
      <pc:docMkLst>
        <pc:docMk/>
      </pc:docMkLst>
      <pc:sldChg chg="addSp modSp">
        <pc:chgData name="Pranav A Sogi" userId="S::pranav.sogi@trinitypartners.com::26041da9-58db-4268-87d2-8f3ed54afd3b" providerId="AD" clId="Web-{491D624A-34AF-DE4C-AC5E-E62E9A50B18F}" dt="2024-06-10T16:55:57.268" v="32" actId="14100"/>
        <pc:sldMkLst>
          <pc:docMk/>
          <pc:sldMk cId="2319494498" sldId="334"/>
        </pc:sldMkLst>
        <pc:spChg chg="add mod">
          <ac:chgData name="Pranav A Sogi" userId="S::pranav.sogi@trinitypartners.com::26041da9-58db-4268-87d2-8f3ed54afd3b" providerId="AD" clId="Web-{491D624A-34AF-DE4C-AC5E-E62E9A50B18F}" dt="2024-06-10T16:55:41.455" v="28" actId="1076"/>
          <ac:spMkLst>
            <pc:docMk/>
            <pc:sldMk cId="2319494498" sldId="334"/>
            <ac:spMk id="2" creationId="{847AD753-8BC5-C6EC-F718-C3CDA66DB4A3}"/>
          </ac:spMkLst>
        </pc:spChg>
        <pc:spChg chg="add mod">
          <ac:chgData name="Pranav A Sogi" userId="S::pranav.sogi@trinitypartners.com::26041da9-58db-4268-87d2-8f3ed54afd3b" providerId="AD" clId="Web-{491D624A-34AF-DE4C-AC5E-E62E9A50B18F}" dt="2024-06-10T16:55:34.142" v="26" actId="1076"/>
          <ac:spMkLst>
            <pc:docMk/>
            <pc:sldMk cId="2319494498" sldId="334"/>
            <ac:spMk id="3" creationId="{18C8CA88-5AEE-5F18-E326-853F78F61066}"/>
          </ac:spMkLst>
        </pc:spChg>
        <pc:spChg chg="add mod">
          <ac:chgData name="Pranav A Sogi" userId="S::pranav.sogi@trinitypartners.com::26041da9-58db-4268-87d2-8f3ed54afd3b" providerId="AD" clId="Web-{491D624A-34AF-DE4C-AC5E-E62E9A50B18F}" dt="2024-06-10T16:55:38.595" v="27" actId="1076"/>
          <ac:spMkLst>
            <pc:docMk/>
            <pc:sldMk cId="2319494498" sldId="334"/>
            <ac:spMk id="4" creationId="{97588B8E-71AF-EAB6-B551-066F33A5CF85}"/>
          </ac:spMkLst>
        </pc:spChg>
        <pc:spChg chg="add mod">
          <ac:chgData name="Pranav A Sogi" userId="S::pranav.sogi@trinitypartners.com::26041da9-58db-4268-87d2-8f3ed54afd3b" providerId="AD" clId="Web-{491D624A-34AF-DE4C-AC5E-E62E9A50B18F}" dt="2024-06-10T16:55:57.268" v="32" actId="14100"/>
          <ac:spMkLst>
            <pc:docMk/>
            <pc:sldMk cId="2319494498" sldId="334"/>
            <ac:spMk id="6" creationId="{57C43A15-0105-9CAB-4C11-90A02CD47FBD}"/>
          </ac:spMkLst>
        </pc:spChg>
        <pc:spChg chg="add mod">
          <ac:chgData name="Pranav A Sogi" userId="S::pranav.sogi@trinitypartners.com::26041da9-58db-4268-87d2-8f3ed54afd3b" providerId="AD" clId="Web-{491D624A-34AF-DE4C-AC5E-E62E9A50B18F}" dt="2024-06-10T16:55:49.345" v="30" actId="14100"/>
          <ac:spMkLst>
            <pc:docMk/>
            <pc:sldMk cId="2319494498" sldId="334"/>
            <ac:spMk id="7" creationId="{C2DA006A-239E-8436-215C-7EC7C0966F23}"/>
          </ac:spMkLst>
        </pc:spChg>
      </pc:sldChg>
      <pc:sldChg chg="addSp delSp modSp">
        <pc:chgData name="Pranav A Sogi" userId="S::pranav.sogi@trinitypartners.com::26041da9-58db-4268-87d2-8f3ed54afd3b" providerId="AD" clId="Web-{491D624A-34AF-DE4C-AC5E-E62E9A50B18F}" dt="2024-06-10T17:29:06.984" v="150"/>
        <pc:sldMkLst>
          <pc:docMk/>
          <pc:sldMk cId="2035529764" sldId="356"/>
        </pc:sldMkLst>
        <pc:spChg chg="mod">
          <ac:chgData name="Pranav A Sogi" userId="S::pranav.sogi@trinitypartners.com::26041da9-58db-4268-87d2-8f3ed54afd3b" providerId="AD" clId="Web-{491D624A-34AF-DE4C-AC5E-E62E9A50B18F}" dt="2024-06-10T17:20:38.423" v="145" actId="20577"/>
          <ac:spMkLst>
            <pc:docMk/>
            <pc:sldMk cId="2035529764" sldId="356"/>
            <ac:spMk id="4" creationId="{0D16D9AA-8613-53AD-A3EE-2D7B3C0970EF}"/>
          </ac:spMkLst>
        </pc:spChg>
        <pc:graphicFrameChg chg="mod modGraphic">
          <ac:chgData name="Pranav A Sogi" userId="S::pranav.sogi@trinitypartners.com::26041da9-58db-4268-87d2-8f3ed54afd3b" providerId="AD" clId="Web-{491D624A-34AF-DE4C-AC5E-E62E9A50B18F}" dt="2024-06-10T17:29:06.984" v="150"/>
          <ac:graphicFrameMkLst>
            <pc:docMk/>
            <pc:sldMk cId="2035529764" sldId="356"/>
            <ac:graphicFrameMk id="6" creationId="{048177B2-DFFD-E7B2-5589-78EFCFC1397F}"/>
          </ac:graphicFrameMkLst>
        </pc:graphicFrameChg>
        <pc:graphicFrameChg chg="add del mod">
          <ac:chgData name="Pranav A Sogi" userId="S::pranav.sogi@trinitypartners.com::26041da9-58db-4268-87d2-8f3ed54afd3b" providerId="AD" clId="Web-{491D624A-34AF-DE4C-AC5E-E62E9A50B18F}" dt="2024-06-10T17:19:52.453" v="132"/>
          <ac:graphicFrameMkLst>
            <pc:docMk/>
            <pc:sldMk cId="2035529764" sldId="356"/>
            <ac:graphicFrameMk id="7" creationId="{57882F74-2D19-4253-25B3-FFA4A2694C33}"/>
          </ac:graphicFrameMkLst>
        </pc:graphicFrameChg>
      </pc:sldChg>
      <pc:sldChg chg="addSp delSp modSp">
        <pc:chgData name="Pranav A Sogi" userId="S::pranav.sogi@trinitypartners.com::26041da9-58db-4268-87d2-8f3ed54afd3b" providerId="AD" clId="Web-{491D624A-34AF-DE4C-AC5E-E62E9A50B18F}" dt="2024-06-10T17:14:42.663" v="125" actId="1076"/>
        <pc:sldMkLst>
          <pc:docMk/>
          <pc:sldMk cId="812848875" sldId="360"/>
        </pc:sldMkLst>
        <pc:spChg chg="mod">
          <ac:chgData name="Pranav A Sogi" userId="S::pranav.sogi@trinitypartners.com::26041da9-58db-4268-87d2-8f3ed54afd3b" providerId="AD" clId="Web-{491D624A-34AF-DE4C-AC5E-E62E9A50B18F}" dt="2024-06-10T17:12:50.519" v="101" actId="20577"/>
          <ac:spMkLst>
            <pc:docMk/>
            <pc:sldMk cId="812848875" sldId="360"/>
            <ac:spMk id="9" creationId="{AE2DC69A-242A-8423-56B4-BB8CDAC0EDD0}"/>
          </ac:spMkLst>
        </pc:spChg>
        <pc:spChg chg="mod">
          <ac:chgData name="Pranav A Sogi" userId="S::pranav.sogi@trinitypartners.com::26041da9-58db-4268-87d2-8f3ed54afd3b" providerId="AD" clId="Web-{491D624A-34AF-DE4C-AC5E-E62E9A50B18F}" dt="2024-06-10T17:11:43.502" v="98" actId="1076"/>
          <ac:spMkLst>
            <pc:docMk/>
            <pc:sldMk cId="812848875" sldId="360"/>
            <ac:spMk id="10" creationId="{21F4F1D9-4FA1-BD69-D258-0AE30C4B8C96}"/>
          </ac:spMkLst>
        </pc:spChg>
        <pc:spChg chg="add mod">
          <ac:chgData name="Pranav A Sogi" userId="S::pranav.sogi@trinitypartners.com::26041da9-58db-4268-87d2-8f3ed54afd3b" providerId="AD" clId="Web-{491D624A-34AF-DE4C-AC5E-E62E9A50B18F}" dt="2024-06-10T17:14:22.912" v="120" actId="1076"/>
          <ac:spMkLst>
            <pc:docMk/>
            <pc:sldMk cId="812848875" sldId="360"/>
            <ac:spMk id="11" creationId="{92FB986B-8C0B-8F71-86A8-377FA0BD81D6}"/>
          </ac:spMkLst>
        </pc:spChg>
        <pc:spChg chg="add mod">
          <ac:chgData name="Pranav A Sogi" userId="S::pranav.sogi@trinitypartners.com::26041da9-58db-4268-87d2-8f3ed54afd3b" providerId="AD" clId="Web-{491D624A-34AF-DE4C-AC5E-E62E9A50B18F}" dt="2024-06-10T17:14:42.663" v="125" actId="1076"/>
          <ac:spMkLst>
            <pc:docMk/>
            <pc:sldMk cId="812848875" sldId="360"/>
            <ac:spMk id="12" creationId="{DE0F4199-1F22-602B-7193-97F2730ABDE9}"/>
          </ac:spMkLst>
        </pc:spChg>
        <pc:spChg chg="add mod">
          <ac:chgData name="Pranav A Sogi" userId="S::pranav.sogi@trinitypartners.com::26041da9-58db-4268-87d2-8f3ed54afd3b" providerId="AD" clId="Web-{491D624A-34AF-DE4C-AC5E-E62E9A50B18F}" dt="2024-06-10T17:14:29.288" v="121" actId="14100"/>
          <ac:spMkLst>
            <pc:docMk/>
            <pc:sldMk cId="812848875" sldId="360"/>
            <ac:spMk id="13" creationId="{C36BB372-CA2D-9167-540B-171E8393D113}"/>
          </ac:spMkLst>
        </pc:spChg>
        <pc:picChg chg="add mod">
          <ac:chgData name="Pranav A Sogi" userId="S::pranav.sogi@trinitypartners.com::26041da9-58db-4268-87d2-8f3ed54afd3b" providerId="AD" clId="Web-{491D624A-34AF-DE4C-AC5E-E62E9A50B18F}" dt="2024-06-10T17:11:32.267" v="96" actId="1076"/>
          <ac:picMkLst>
            <pc:docMk/>
            <pc:sldMk cId="812848875" sldId="360"/>
            <ac:picMk id="6" creationId="{6363C9B0-5E39-46E8-4048-A6E668FC4202}"/>
          </ac:picMkLst>
        </pc:picChg>
        <pc:picChg chg="del">
          <ac:chgData name="Pranav A Sogi" userId="S::pranav.sogi@trinitypartners.com::26041da9-58db-4268-87d2-8f3ed54afd3b" providerId="AD" clId="Web-{491D624A-34AF-DE4C-AC5E-E62E9A50B18F}" dt="2024-06-10T17:08:35.354" v="80"/>
          <ac:picMkLst>
            <pc:docMk/>
            <pc:sldMk cId="812848875" sldId="360"/>
            <ac:picMk id="7" creationId="{DD3EA835-E093-B2CC-FC21-5E3625E31428}"/>
          </ac:picMkLst>
        </pc:picChg>
        <pc:picChg chg="add mod">
          <ac:chgData name="Pranav A Sogi" userId="S::pranav.sogi@trinitypartners.com::26041da9-58db-4268-87d2-8f3ed54afd3b" providerId="AD" clId="Web-{491D624A-34AF-DE4C-AC5E-E62E9A50B18F}" dt="2024-06-10T17:13:18.504" v="106" actId="1076"/>
          <ac:picMkLst>
            <pc:docMk/>
            <pc:sldMk cId="812848875" sldId="360"/>
            <ac:picMk id="8" creationId="{9BBE8C4E-8FF2-7CCA-3E40-B11D887D98EF}"/>
          </ac:picMkLst>
        </pc:picChg>
      </pc:sldChg>
      <pc:sldChg chg="modCm">
        <pc:chgData name="Pranav A Sogi" userId="S::pranav.sogi@trinitypartners.com::26041da9-58db-4268-87d2-8f3ed54afd3b" providerId="AD" clId="Web-{491D624A-34AF-DE4C-AC5E-E62E9A50B18F}" dt="2024-06-10T17:18:38.107" v="127"/>
        <pc:sldMkLst>
          <pc:docMk/>
          <pc:sldMk cId="1977557411" sldId="362"/>
        </pc:sldMkLst>
        <pc:extLst>
          <p:ext xmlns:p="http://schemas.openxmlformats.org/presentationml/2006/main" uri="{D6D511B9-2390-475A-947B-AFAB55BFBCF1}">
            <pc226:cmChg xmlns:pc226="http://schemas.microsoft.com/office/powerpoint/2022/06/main/command" chg="">
              <pc226:chgData name="Pranav A Sogi" userId="S::pranav.sogi@trinitypartners.com::26041da9-58db-4268-87d2-8f3ed54afd3b" providerId="AD" clId="Web-{491D624A-34AF-DE4C-AC5E-E62E9A50B18F}" dt="2024-06-10T17:18:38.107" v="127"/>
              <pc2:cmMkLst xmlns:pc2="http://schemas.microsoft.com/office/powerpoint/2019/9/main/command">
                <pc:docMk/>
                <pc:sldMk cId="1977557411" sldId="362"/>
                <pc2:cmMk id="{F0E31AAD-7886-43BD-A522-FECAA7EDC6C0}"/>
              </pc2:cmMkLst>
              <pc226:cmRplyChg chg="add">
                <pc226:chgData name="Pranav A Sogi" userId="S::pranav.sogi@trinitypartners.com::26041da9-58db-4268-87d2-8f3ed54afd3b" providerId="AD" clId="Web-{491D624A-34AF-DE4C-AC5E-E62E9A50B18F}" dt="2024-06-10T17:18:38.107" v="127"/>
                <pc2:cmRplyMkLst xmlns:pc2="http://schemas.microsoft.com/office/powerpoint/2019/9/main/command">
                  <pc:docMk/>
                  <pc:sldMk cId="1977557411" sldId="362"/>
                  <pc2:cmMk id="{F0E31AAD-7886-43BD-A522-FECAA7EDC6C0}"/>
                  <pc2:cmRplyMk id="{5C0ED7B7-F385-41FB-B8B7-4AB55AD3655B}"/>
                </pc2:cmRplyMkLst>
              </pc226:cmRplyChg>
            </pc226:cmChg>
          </p:ext>
        </pc:extLst>
      </pc:sldChg>
      <pc:sldChg chg="addSp modSp">
        <pc:chgData name="Pranav A Sogi" userId="S::pranav.sogi@trinitypartners.com::26041da9-58db-4268-87d2-8f3ed54afd3b" providerId="AD" clId="Web-{491D624A-34AF-DE4C-AC5E-E62E9A50B18F}" dt="2024-06-10T17:04:25.378" v="76"/>
        <pc:sldMkLst>
          <pc:docMk/>
          <pc:sldMk cId="2042214228" sldId="365"/>
        </pc:sldMkLst>
        <pc:picChg chg="add mod modCrop">
          <ac:chgData name="Pranav A Sogi" userId="S::pranav.sogi@trinitypartners.com::26041da9-58db-4268-87d2-8f3ed54afd3b" providerId="AD" clId="Web-{491D624A-34AF-DE4C-AC5E-E62E9A50B18F}" dt="2024-06-10T17:03:34.111" v="71"/>
          <ac:picMkLst>
            <pc:docMk/>
            <pc:sldMk cId="2042214228" sldId="365"/>
            <ac:picMk id="5" creationId="{789DCC52-4460-7078-13C3-B7AE04A67397}"/>
          </ac:picMkLst>
        </pc:picChg>
        <pc:picChg chg="add mod modCrop">
          <ac:chgData name="Pranav A Sogi" userId="S::pranav.sogi@trinitypartners.com::26041da9-58db-4268-87d2-8f3ed54afd3b" providerId="AD" clId="Web-{491D624A-34AF-DE4C-AC5E-E62E9A50B18F}" dt="2024-06-10T17:04:06.393" v="72"/>
          <ac:picMkLst>
            <pc:docMk/>
            <pc:sldMk cId="2042214228" sldId="365"/>
            <ac:picMk id="6" creationId="{96B9717F-8452-542E-902C-2CF2A0D34CFA}"/>
          </ac:picMkLst>
        </pc:picChg>
        <pc:picChg chg="add mod modCrop">
          <ac:chgData name="Pranav A Sogi" userId="S::pranav.sogi@trinitypartners.com::26041da9-58db-4268-87d2-8f3ed54afd3b" providerId="AD" clId="Web-{491D624A-34AF-DE4C-AC5E-E62E9A50B18F}" dt="2024-06-10T17:04:25.378" v="76"/>
          <ac:picMkLst>
            <pc:docMk/>
            <pc:sldMk cId="2042214228" sldId="365"/>
            <ac:picMk id="7" creationId="{90A67DDF-75B8-8690-DBB0-E59084F938F2}"/>
          </ac:picMkLst>
        </pc:picChg>
        <pc:picChg chg="add mod modCrop">
          <ac:chgData name="Pranav A Sogi" userId="S::pranav.sogi@trinitypartners.com::26041da9-58db-4268-87d2-8f3ed54afd3b" providerId="AD" clId="Web-{491D624A-34AF-DE4C-AC5E-E62E9A50B18F}" dt="2024-06-10T17:04:18.644" v="75"/>
          <ac:picMkLst>
            <pc:docMk/>
            <pc:sldMk cId="2042214228" sldId="365"/>
            <ac:picMk id="8" creationId="{624BE43F-3139-22B3-D918-6ED730324AB3}"/>
          </ac:picMkLst>
        </pc:picChg>
      </pc:sldChg>
    </pc:docChg>
  </pc:docChgLst>
  <pc:docChgLst>
    <pc:chgData name="Pranav A Sogi" userId="S::pranav.sogi@trinitypartners.com::26041da9-58db-4268-87d2-8f3ed54afd3b" providerId="AD" clId="Web-{4F6C6B9D-43D4-0F58-CF42-E82FCB749966}"/>
    <pc:docChg chg="modSld">
      <pc:chgData name="Pranav A Sogi" userId="S::pranav.sogi@trinitypartners.com::26041da9-58db-4268-87d2-8f3ed54afd3b" providerId="AD" clId="Web-{4F6C6B9D-43D4-0F58-CF42-E82FCB749966}" dt="2024-06-10T17:40:30.120" v="2" actId="1076"/>
      <pc:docMkLst>
        <pc:docMk/>
      </pc:docMkLst>
      <pc:sldChg chg="modSp">
        <pc:chgData name="Pranav A Sogi" userId="S::pranav.sogi@trinitypartners.com::26041da9-58db-4268-87d2-8f3ed54afd3b" providerId="AD" clId="Web-{4F6C6B9D-43D4-0F58-CF42-E82FCB749966}" dt="2024-06-10T17:40:30.120" v="2" actId="1076"/>
        <pc:sldMkLst>
          <pc:docMk/>
          <pc:sldMk cId="2035529764" sldId="356"/>
        </pc:sldMkLst>
        <pc:graphicFrameChg chg="mod modGraphic">
          <ac:chgData name="Pranav A Sogi" userId="S::pranav.sogi@trinitypartners.com::26041da9-58db-4268-87d2-8f3ed54afd3b" providerId="AD" clId="Web-{4F6C6B9D-43D4-0F58-CF42-E82FCB749966}" dt="2024-06-10T17:40:30.120" v="2" actId="1076"/>
          <ac:graphicFrameMkLst>
            <pc:docMk/>
            <pc:sldMk cId="2035529764" sldId="356"/>
            <ac:graphicFrameMk id="6" creationId="{048177B2-DFFD-E7B2-5589-78EFCFC1397F}"/>
          </ac:graphicFrameMkLst>
        </pc:graphicFrame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3EBAC797-0065-49A2-89AE-5EB93BBB47DE}" type="datetimeFigureOut">
              <a:rPr lang="en-US" smtClean="0"/>
              <a:t>8/1/20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05DE11D-72D1-4641-A345-6AB91E05E969}" type="slidenum">
              <a:rPr lang="en-US" smtClean="0"/>
              <a:t>‹#›</a:t>
            </a:fld>
            <a:endParaRPr lang="en-US"/>
          </a:p>
        </p:txBody>
      </p:sp>
    </p:spTree>
    <p:extLst>
      <p:ext uri="{BB962C8B-B14F-4D97-AF65-F5344CB8AC3E}">
        <p14:creationId xmlns:p14="http://schemas.microsoft.com/office/powerpoint/2010/main" val="284504987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73E8DD3-7F5E-4F38-8DF1-E0849E959DFE}"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07031157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605DE11D-72D1-4641-A345-6AB91E05E969}" type="slidenum">
              <a:rPr lang="en-US" smtClean="0"/>
              <a:t>4</a:t>
            </a:fld>
            <a:endParaRPr lang="en-US"/>
          </a:p>
        </p:txBody>
      </p:sp>
    </p:spTree>
    <p:extLst>
      <p:ext uri="{BB962C8B-B14F-4D97-AF65-F5344CB8AC3E}">
        <p14:creationId xmlns:p14="http://schemas.microsoft.com/office/powerpoint/2010/main" val="279661057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605DE11D-72D1-4641-A345-6AB91E05E969}" type="slidenum">
              <a:rPr lang="en-US" smtClean="0"/>
              <a:t>15</a:t>
            </a:fld>
            <a:endParaRPr lang="en-US"/>
          </a:p>
        </p:txBody>
      </p:sp>
    </p:spTree>
    <p:extLst>
      <p:ext uri="{BB962C8B-B14F-4D97-AF65-F5344CB8AC3E}">
        <p14:creationId xmlns:p14="http://schemas.microsoft.com/office/powerpoint/2010/main" val="286481316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605DE11D-72D1-4641-A345-6AB91E05E969}" type="slidenum">
              <a:rPr lang="en-US" smtClean="0"/>
              <a:t>16</a:t>
            </a:fld>
            <a:endParaRPr lang="en-US"/>
          </a:p>
        </p:txBody>
      </p:sp>
    </p:spTree>
    <p:extLst>
      <p:ext uri="{BB962C8B-B14F-4D97-AF65-F5344CB8AC3E}">
        <p14:creationId xmlns:p14="http://schemas.microsoft.com/office/powerpoint/2010/main" val="136998675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605DE11D-72D1-4641-A345-6AB91E05E969}" type="slidenum">
              <a:rPr lang="en-US" smtClean="0"/>
              <a:t>17</a:t>
            </a:fld>
            <a:endParaRPr lang="en-US"/>
          </a:p>
        </p:txBody>
      </p:sp>
    </p:spTree>
    <p:extLst>
      <p:ext uri="{BB962C8B-B14F-4D97-AF65-F5344CB8AC3E}">
        <p14:creationId xmlns:p14="http://schemas.microsoft.com/office/powerpoint/2010/main" val="487514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slideMaster" Target="../slideMasters/slideMaster1.xml"/><Relationship Id="rId1" Type="http://schemas.openxmlformats.org/officeDocument/2006/relationships/tags" Target="../tags/tag3.x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6" Type="http://schemas.openxmlformats.org/officeDocument/2006/relationships/image" Target="../media/image4.svg"/><Relationship Id="rId5" Type="http://schemas.openxmlformats.org/officeDocument/2006/relationships/image" Target="../media/image3.png"/><Relationship Id="rId4" Type="http://schemas.openxmlformats.org/officeDocument/2006/relationships/image" Target="../media/image1.emf"/></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5.xml"/><Relationship Id="rId6" Type="http://schemas.openxmlformats.org/officeDocument/2006/relationships/image" Target="../media/image4.svg"/><Relationship Id="rId5" Type="http://schemas.openxmlformats.org/officeDocument/2006/relationships/image" Target="../media/image3.png"/><Relationship Id="rId4" Type="http://schemas.openxmlformats.org/officeDocument/2006/relationships/image" Target="../media/image1.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6.xml"/><Relationship Id="rId6" Type="http://schemas.openxmlformats.org/officeDocument/2006/relationships/image" Target="../media/image4.svg"/><Relationship Id="rId5" Type="http://schemas.openxmlformats.org/officeDocument/2006/relationships/image" Target="../media/image3.png"/><Relationship Id="rId4"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7.xml"/><Relationship Id="rId6" Type="http://schemas.openxmlformats.org/officeDocument/2006/relationships/image" Target="../media/image4.svg"/><Relationship Id="rId5" Type="http://schemas.openxmlformats.org/officeDocument/2006/relationships/image" Target="../media/image3.png"/><Relationship Id="rId4" Type="http://schemas.openxmlformats.org/officeDocument/2006/relationships/image" Target="../media/image1.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8.xml"/><Relationship Id="rId6" Type="http://schemas.openxmlformats.org/officeDocument/2006/relationships/image" Target="../media/image4.svg"/><Relationship Id="rId5" Type="http://schemas.openxmlformats.org/officeDocument/2006/relationships/image" Target="../media/image3.png"/><Relationship Id="rId4"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9.xml"/><Relationship Id="rId6" Type="http://schemas.openxmlformats.org/officeDocument/2006/relationships/image" Target="../media/image4.svg"/><Relationship Id="rId5" Type="http://schemas.openxmlformats.org/officeDocument/2006/relationships/image" Target="../media/image3.png"/><Relationship Id="rId4"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10.xml"/><Relationship Id="rId6" Type="http://schemas.openxmlformats.org/officeDocument/2006/relationships/image" Target="../media/image4.svg"/><Relationship Id="rId5" Type="http://schemas.openxmlformats.org/officeDocument/2006/relationships/image" Target="../media/image3.png"/><Relationship Id="rId4" Type="http://schemas.openxmlformats.org/officeDocument/2006/relationships/image" Target="../media/image1.emf"/></Relationships>
</file>

<file path=ppt/slideLayouts/_rels/slideLayout9.xml.rels><?xml version="1.0" encoding="UTF-8" standalone="yes"?>
<Relationships xmlns="http://schemas.openxmlformats.org/package/2006/relationships"><Relationship Id="rId8" Type="http://schemas.openxmlformats.org/officeDocument/2006/relationships/image" Target="../media/image8.svg"/><Relationship Id="rId13" Type="http://schemas.openxmlformats.org/officeDocument/2006/relationships/hyperlink" Target="https://www.facebook.com/TrinityLifeSciences" TargetMode="External"/><Relationship Id="rId3" Type="http://schemas.openxmlformats.org/officeDocument/2006/relationships/oleObject" Target="../embeddings/oleObject10.bin"/><Relationship Id="rId7" Type="http://schemas.openxmlformats.org/officeDocument/2006/relationships/image" Target="../media/image7.png"/><Relationship Id="rId12" Type="http://schemas.openxmlformats.org/officeDocument/2006/relationships/image" Target="../media/image10.png"/><Relationship Id="rId2" Type="http://schemas.openxmlformats.org/officeDocument/2006/relationships/slideMaster" Target="../slideMasters/slideMaster1.xml"/><Relationship Id="rId16" Type="http://schemas.openxmlformats.org/officeDocument/2006/relationships/image" Target="../media/image4.svg"/><Relationship Id="rId1" Type="http://schemas.openxmlformats.org/officeDocument/2006/relationships/tags" Target="../tags/tag11.xml"/><Relationship Id="rId6" Type="http://schemas.openxmlformats.org/officeDocument/2006/relationships/hyperlink" Target="http://www.trinitypartners.com/" TargetMode="External"/><Relationship Id="rId11" Type="http://schemas.openxmlformats.org/officeDocument/2006/relationships/hyperlink" Target="https://www.linkedin.com/company/trinitylifesciences/" TargetMode="External"/><Relationship Id="rId5" Type="http://schemas.openxmlformats.org/officeDocument/2006/relationships/image" Target="../media/image6.jpeg"/><Relationship Id="rId15" Type="http://schemas.openxmlformats.org/officeDocument/2006/relationships/image" Target="../media/image3.png"/><Relationship Id="rId10" Type="http://schemas.openxmlformats.org/officeDocument/2006/relationships/image" Target="../media/image9.png"/><Relationship Id="rId4" Type="http://schemas.openxmlformats.org/officeDocument/2006/relationships/image" Target="../media/image5.emf"/><Relationship Id="rId9" Type="http://schemas.openxmlformats.org/officeDocument/2006/relationships/hyperlink" Target="https://twitter.com/trinitylifesci" TargetMode="External"/><Relationship Id="rId14" Type="http://schemas.openxmlformats.org/officeDocument/2006/relationships/image" Target="../media/image11.pn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13" name="Picture 12"/>
          <p:cNvPicPr>
            <a:picLocks noChangeAspect="1"/>
          </p:cNvPicPr>
          <p:nvPr userDrawn="1"/>
        </p:nvPicPr>
        <p:blipFill>
          <a:blip r:embed="rId3" cstate="print">
            <a:extLst>
              <a:ext uri="{28A0092B-C50C-407E-A947-70E740481C1C}">
                <a14:useLocalDpi xmlns:a14="http://schemas.microsoft.com/office/drawing/2010/main" val="0"/>
              </a:ext>
            </a:extLst>
          </a:blip>
          <a:srcRect/>
          <a:stretch/>
        </p:blipFill>
        <p:spPr>
          <a:xfrm>
            <a:off x="0" y="0"/>
            <a:ext cx="12192000" cy="4267200"/>
          </a:xfrm>
          <a:prstGeom prst="rect">
            <a:avLst/>
          </a:prstGeom>
        </p:spPr>
      </p:pic>
      <p:sp>
        <p:nvSpPr>
          <p:cNvPr id="12" name="Isosceles Triangle 31">
            <a:extLst>
              <a:ext uri="{FF2B5EF4-FFF2-40B4-BE49-F238E27FC236}">
                <a16:creationId xmlns:a16="http://schemas.microsoft.com/office/drawing/2014/main" id="{8A734E0B-92B4-9A4D-A119-A33601223E92}"/>
              </a:ext>
            </a:extLst>
          </p:cNvPr>
          <p:cNvSpPr/>
          <p:nvPr userDrawn="1"/>
        </p:nvSpPr>
        <p:spPr>
          <a:xfrm>
            <a:off x="0" y="-7023"/>
            <a:ext cx="12192003" cy="4274224"/>
          </a:xfrm>
          <a:prstGeom prst="triangle">
            <a:avLst>
              <a:gd name="adj" fmla="val 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graphicFrame>
        <p:nvGraphicFramePr>
          <p:cNvPr id="11" name="Object 10" hidden="1"/>
          <p:cNvGraphicFramePr>
            <a:graphicFrameLocks noChangeAspect="1"/>
          </p:cNvGraphicFramePr>
          <p:nvPr userDrawn="1">
            <p:custDataLst>
              <p:tags r:id="rId1"/>
            </p:custDataLst>
            <p:extLst>
              <p:ext uri="{D42A27DB-BD31-4B8C-83A1-F6EECF244321}">
                <p14:modId xmlns:p14="http://schemas.microsoft.com/office/powerpoint/2010/main" val="1238974696"/>
              </p:ext>
            </p:extLst>
          </p:nvPr>
        </p:nvGraphicFramePr>
        <p:xfrm>
          <a:off x="2119" y="1593"/>
          <a:ext cx="2116" cy="1587"/>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11" name="Object 10" hidden="1"/>
                      <p:cNvPicPr/>
                      <p:nvPr/>
                    </p:nvPicPr>
                    <p:blipFill>
                      <a:blip r:embed="rId5"/>
                      <a:stretch>
                        <a:fillRect/>
                      </a:stretch>
                    </p:blipFill>
                    <p:spPr>
                      <a:xfrm>
                        <a:off x="2119" y="1593"/>
                        <a:ext cx="2116" cy="1587"/>
                      </a:xfrm>
                      <a:prstGeom prst="rect">
                        <a:avLst/>
                      </a:prstGeom>
                    </p:spPr>
                  </p:pic>
                </p:oleObj>
              </mc:Fallback>
            </mc:AlternateContent>
          </a:graphicData>
        </a:graphic>
      </p:graphicFrame>
      <p:sp>
        <p:nvSpPr>
          <p:cNvPr id="2" name="Title 1"/>
          <p:cNvSpPr>
            <a:spLocks noGrp="1"/>
          </p:cNvSpPr>
          <p:nvPr>
            <p:ph type="ctrTitle"/>
          </p:nvPr>
        </p:nvSpPr>
        <p:spPr>
          <a:xfrm>
            <a:off x="1993392" y="4288211"/>
            <a:ext cx="8165592" cy="582356"/>
          </a:xfrm>
        </p:spPr>
        <p:txBody>
          <a:bodyPr vert="horz" anchor="b" anchorCtr="0"/>
          <a:lstStyle>
            <a:lvl1pPr>
              <a:defRPr sz="2800" b="0" spc="120" baseline="0">
                <a:solidFill>
                  <a:schemeClr val="tx1"/>
                </a:solidFill>
              </a:defRPr>
            </a:lvl1pPr>
          </a:lstStyle>
          <a:p>
            <a:r>
              <a:rPr lang="en-US"/>
              <a:t>Click to edit Master title style</a:t>
            </a:r>
          </a:p>
        </p:txBody>
      </p:sp>
      <p:sp>
        <p:nvSpPr>
          <p:cNvPr id="3" name="Subtitle 2"/>
          <p:cNvSpPr>
            <a:spLocks noGrp="1"/>
          </p:cNvSpPr>
          <p:nvPr>
            <p:ph type="subTitle" idx="1"/>
          </p:nvPr>
        </p:nvSpPr>
        <p:spPr>
          <a:xfrm>
            <a:off x="1993392" y="4971085"/>
            <a:ext cx="8165592" cy="335280"/>
          </a:xfrm>
        </p:spPr>
        <p:txBody>
          <a:bodyPr anchor="b" anchorCtr="0">
            <a:noAutofit/>
          </a:bodyPr>
          <a:lstStyle>
            <a:lvl1pPr marL="0" indent="0" algn="l">
              <a:buNone/>
              <a:defRPr sz="180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9" name="Text Placeholder 8"/>
          <p:cNvSpPr>
            <a:spLocks noGrp="1"/>
          </p:cNvSpPr>
          <p:nvPr>
            <p:ph type="body" sz="quarter" idx="13" hasCustomPrompt="1"/>
          </p:nvPr>
        </p:nvSpPr>
        <p:spPr>
          <a:xfrm>
            <a:off x="1993392" y="5406888"/>
            <a:ext cx="4876800" cy="304800"/>
          </a:xfrm>
        </p:spPr>
        <p:txBody>
          <a:bodyPr anchor="b" anchorCtr="0">
            <a:noAutofit/>
          </a:bodyPr>
          <a:lstStyle>
            <a:lvl1pPr>
              <a:buFontTx/>
              <a:buNone/>
              <a:defRPr sz="1400" baseline="0">
                <a:solidFill>
                  <a:schemeClr val="tx1"/>
                </a:solidFill>
              </a:defRPr>
            </a:lvl1pPr>
          </a:lstStyle>
          <a:p>
            <a:pPr lvl="0"/>
            <a:r>
              <a:rPr lang="en-US"/>
              <a:t>Month Day, Year</a:t>
            </a:r>
          </a:p>
        </p:txBody>
      </p:sp>
      <p:sp>
        <p:nvSpPr>
          <p:cNvPr id="8" name="TextBox 7"/>
          <p:cNvSpPr txBox="1"/>
          <p:nvPr/>
        </p:nvSpPr>
        <p:spPr>
          <a:xfrm>
            <a:off x="2011684" y="6461285"/>
            <a:ext cx="8165593" cy="307777"/>
          </a:xfrm>
          <a:prstGeom prst="rect">
            <a:avLst/>
          </a:prstGeom>
          <a:noFill/>
        </p:spPr>
        <p:txBody>
          <a:bodyPr wrap="square" rtlCol="0">
            <a:spAutoFit/>
          </a:bodyPr>
          <a:lstStyle/>
          <a:p>
            <a:r>
              <a:rPr lang="en-US" sz="700">
                <a:solidFill>
                  <a:schemeClr val="bg2">
                    <a:lumMod val="50000"/>
                  </a:schemeClr>
                </a:solidFill>
              </a:rPr>
              <a:t>This presentation is provided to you by Trinity,</a:t>
            </a:r>
            <a:r>
              <a:rPr lang="en-US" sz="700" baseline="0">
                <a:solidFill>
                  <a:schemeClr val="bg2">
                    <a:lumMod val="50000"/>
                  </a:schemeClr>
                </a:solidFill>
              </a:rPr>
              <a:t> LLC. The presentation is meant to enhance discussions between your organization and Trinity, LLC. The substance of this presentation is confidential and may be legally privileged.  This presentation is intended only for those in attendance.</a:t>
            </a:r>
            <a:endParaRPr lang="en-US" sz="700">
              <a:solidFill>
                <a:schemeClr val="bg2">
                  <a:lumMod val="50000"/>
                </a:schemeClr>
              </a:solidFill>
            </a:endParaRPr>
          </a:p>
        </p:txBody>
      </p:sp>
      <p:sp>
        <p:nvSpPr>
          <p:cNvPr id="17" name="Picture Placeholder 16"/>
          <p:cNvSpPr>
            <a:spLocks noGrp="1"/>
          </p:cNvSpPr>
          <p:nvPr>
            <p:ph type="pic" sz="quarter" idx="14" hasCustomPrompt="1"/>
          </p:nvPr>
        </p:nvSpPr>
        <p:spPr>
          <a:xfrm>
            <a:off x="1993392" y="2511287"/>
            <a:ext cx="5181600" cy="1676400"/>
          </a:xfrm>
        </p:spPr>
        <p:txBody>
          <a:bodyPr anchor="ctr"/>
          <a:lstStyle>
            <a:lvl1pPr marL="3175" indent="0" algn="ctr">
              <a:buNone/>
              <a:defRPr baseline="0"/>
            </a:lvl1pPr>
          </a:lstStyle>
          <a:p>
            <a:r>
              <a:rPr lang="en-US"/>
              <a:t>Placeholder for Client / Trinity Logo</a:t>
            </a:r>
          </a:p>
        </p:txBody>
      </p:sp>
      <p:sp>
        <p:nvSpPr>
          <p:cNvPr id="7" name="Rectangle 6"/>
          <p:cNvSpPr/>
          <p:nvPr userDrawn="1"/>
        </p:nvSpPr>
        <p:spPr>
          <a:xfrm>
            <a:off x="1" y="6620980"/>
            <a:ext cx="404748" cy="237021"/>
          </a:xfrm>
          <a:prstGeom prst="rect">
            <a:avLst/>
          </a:prstGeom>
          <a:solidFill>
            <a:schemeClr val="bg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sz="1800"/>
          </a:p>
        </p:txBody>
      </p:sp>
      <p:sp>
        <p:nvSpPr>
          <p:cNvPr id="10" name="Right Triangle 9">
            <a:extLst>
              <a:ext uri="{FF2B5EF4-FFF2-40B4-BE49-F238E27FC236}">
                <a16:creationId xmlns:a16="http://schemas.microsoft.com/office/drawing/2014/main" id="{3C052C4C-2B0B-B443-AC75-D1D8B338F21F}"/>
              </a:ext>
            </a:extLst>
          </p:cNvPr>
          <p:cNvSpPr/>
          <p:nvPr userDrawn="1"/>
        </p:nvSpPr>
        <p:spPr>
          <a:xfrm rot="5400000">
            <a:off x="-300822" y="300821"/>
            <a:ext cx="4259238" cy="3657604"/>
          </a:xfrm>
          <a:prstGeom prst="rtTriangle">
            <a:avLst/>
          </a:prstGeom>
          <a:gradFill flip="none" rotWithShape="1">
            <a:gsLst>
              <a:gs pos="0">
                <a:srgbClr val="3A4254"/>
              </a:gs>
              <a:gs pos="82000">
                <a:srgbClr val="789ABD">
                  <a:alpha val="75000"/>
                </a:srgbClr>
              </a:gs>
              <a:gs pos="53000">
                <a:srgbClr val="6287B3"/>
              </a:gs>
              <a:gs pos="100000">
                <a:srgbClr val="ABC3D6">
                  <a:alpha val="60000"/>
                </a:srgbClr>
              </a:gs>
            </a:gsLst>
            <a:lin ang="12600000" scaled="0"/>
            <a:tileRect/>
          </a:gra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sz="1800"/>
          </a:p>
        </p:txBody>
      </p:sp>
    </p:spTree>
    <p:extLst>
      <p:ext uri="{BB962C8B-B14F-4D97-AF65-F5344CB8AC3E}">
        <p14:creationId xmlns:p14="http://schemas.microsoft.com/office/powerpoint/2010/main" val="299784538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Agenda Slide">
    <p:spTree>
      <p:nvGrpSpPr>
        <p:cNvPr id="1" name=""/>
        <p:cNvGrpSpPr/>
        <p:nvPr/>
      </p:nvGrpSpPr>
      <p:grpSpPr>
        <a:xfrm>
          <a:off x="0" y="0"/>
          <a:ext cx="0" cy="0"/>
          <a:chOff x="0" y="0"/>
          <a:chExt cx="0" cy="0"/>
        </a:xfrm>
      </p:grpSpPr>
      <p:sp>
        <p:nvSpPr>
          <p:cNvPr id="12" name="Right Triangle 11">
            <a:extLst>
              <a:ext uri="{FF2B5EF4-FFF2-40B4-BE49-F238E27FC236}">
                <a16:creationId xmlns:a16="http://schemas.microsoft.com/office/drawing/2014/main" id="{F74925F4-E2FE-404F-8F2C-10661440AAFC}"/>
              </a:ext>
            </a:extLst>
          </p:cNvPr>
          <p:cNvSpPr/>
          <p:nvPr userDrawn="1"/>
        </p:nvSpPr>
        <p:spPr>
          <a:xfrm rot="16200000">
            <a:off x="7354548" y="2020544"/>
            <a:ext cx="5223296" cy="4451617"/>
          </a:xfrm>
          <a:prstGeom prst="rtTriangle">
            <a:avLst/>
          </a:prstGeom>
          <a:gradFill flip="none" rotWithShape="1">
            <a:gsLst>
              <a:gs pos="100000">
                <a:srgbClr val="7993BA"/>
              </a:gs>
              <a:gs pos="0">
                <a:srgbClr val="8FACCC">
                  <a:alpha val="64706"/>
                </a:srgbClr>
              </a:gs>
            </a:gsLst>
            <a:lin ang="5400000" scaled="0"/>
            <a:tileRect/>
          </a:gra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sz="1800"/>
          </a:p>
        </p:txBody>
      </p:sp>
      <p:sp>
        <p:nvSpPr>
          <p:cNvPr id="6" name="Right Triangle 5"/>
          <p:cNvSpPr/>
          <p:nvPr userDrawn="1"/>
        </p:nvSpPr>
        <p:spPr>
          <a:xfrm flipH="1">
            <a:off x="7251191" y="1634704"/>
            <a:ext cx="4940806" cy="5223296"/>
          </a:xfrm>
          <a:prstGeom prst="rtTriangle">
            <a:avLst/>
          </a:prstGeom>
          <a:gradFill flip="none" rotWithShape="1">
            <a:gsLst>
              <a:gs pos="0">
                <a:schemeClr val="bg1"/>
              </a:gs>
              <a:gs pos="100000">
                <a:schemeClr val="bg1">
                  <a:alpha val="20000"/>
                </a:schemeClr>
              </a:gs>
            </a:gsLst>
            <a:lin ang="10800000" scaled="0"/>
            <a:tileRect/>
          </a:gra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sz="1800"/>
          </a:p>
        </p:txBody>
      </p:sp>
      <p:sp>
        <p:nvSpPr>
          <p:cNvPr id="11" name="Right Triangle 10">
            <a:extLst>
              <a:ext uri="{FF2B5EF4-FFF2-40B4-BE49-F238E27FC236}">
                <a16:creationId xmlns:a16="http://schemas.microsoft.com/office/drawing/2014/main" id="{857CE522-ADB6-E645-8450-7D1EADF70370}"/>
              </a:ext>
            </a:extLst>
          </p:cNvPr>
          <p:cNvSpPr/>
          <p:nvPr userDrawn="1"/>
        </p:nvSpPr>
        <p:spPr>
          <a:xfrm rot="10800000">
            <a:off x="10183654" y="0"/>
            <a:ext cx="2008345" cy="4495803"/>
          </a:xfrm>
          <a:prstGeom prst="rtTriangle">
            <a:avLst/>
          </a:prstGeom>
          <a:gradFill flip="none" rotWithShape="1">
            <a:gsLst>
              <a:gs pos="39000">
                <a:srgbClr val="88ABCC">
                  <a:alpha val="90000"/>
                </a:srgbClr>
              </a:gs>
              <a:gs pos="97000">
                <a:srgbClr val="394F73"/>
              </a:gs>
            </a:gsLst>
            <a:lin ang="9000000" scaled="0"/>
            <a:tileRect/>
          </a:gra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sz="1800"/>
          </a:p>
        </p:txBody>
      </p:sp>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3829277489"/>
              </p:ext>
            </p:extLst>
          </p:nvPr>
        </p:nvGraphicFramePr>
        <p:xfrm>
          <a:off x="2119" y="1591"/>
          <a:ext cx="2116" cy="1587"/>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4" name="Object 3" hidden="1"/>
                      <p:cNvPicPr/>
                      <p:nvPr/>
                    </p:nvPicPr>
                    <p:blipFill>
                      <a:blip r:embed="rId4"/>
                      <a:stretch>
                        <a:fillRect/>
                      </a:stretch>
                    </p:blipFill>
                    <p:spPr>
                      <a:xfrm>
                        <a:off x="2119" y="1591"/>
                        <a:ext cx="2116" cy="1587"/>
                      </a:xfrm>
                      <a:prstGeom prst="rect">
                        <a:avLst/>
                      </a:prstGeom>
                    </p:spPr>
                  </p:pic>
                </p:oleObj>
              </mc:Fallback>
            </mc:AlternateContent>
          </a:graphicData>
        </a:graphic>
      </p:graphicFrame>
      <p:sp>
        <p:nvSpPr>
          <p:cNvPr id="5" name="Text Placeholder 4"/>
          <p:cNvSpPr>
            <a:spLocks noGrp="1"/>
          </p:cNvSpPr>
          <p:nvPr>
            <p:ph type="body" sz="quarter" idx="10"/>
          </p:nvPr>
        </p:nvSpPr>
        <p:spPr>
          <a:xfrm>
            <a:off x="609600" y="1371600"/>
            <a:ext cx="10972800" cy="4953000"/>
          </a:xfrm>
        </p:spPr>
        <p:txBody>
          <a:bodyPr/>
          <a:lstStyle>
            <a:lvl1pPr marL="190500" indent="-187325">
              <a:spcBef>
                <a:spcPts val="1200"/>
              </a:spcBef>
              <a:spcAft>
                <a:spcPts val="1200"/>
              </a:spcAft>
              <a:buClr>
                <a:schemeClr val="bg2">
                  <a:lumMod val="50000"/>
                </a:schemeClr>
              </a:buClr>
              <a:buSzPct val="100000"/>
              <a:buFont typeface="Arial" charset="0"/>
              <a:buChar char="•"/>
              <a:defRPr sz="2000">
                <a:solidFill>
                  <a:schemeClr val="tx1"/>
                </a:solidFill>
              </a:defRPr>
            </a:lvl1pPr>
            <a:lvl2pPr>
              <a:spcBef>
                <a:spcPts val="600"/>
              </a:spcBef>
              <a:spcAft>
                <a:spcPts val="600"/>
              </a:spcAft>
              <a:defRPr sz="1800">
                <a:solidFill>
                  <a:schemeClr val="accent1"/>
                </a:solidFill>
              </a:defRPr>
            </a:lvl2pPr>
            <a:lvl3pPr>
              <a:spcBef>
                <a:spcPts val="600"/>
              </a:spcBef>
              <a:spcAft>
                <a:spcPts val="600"/>
              </a:spcAft>
              <a:defRPr sz="1600">
                <a:solidFill>
                  <a:schemeClr val="bg2">
                    <a:lumMod val="50000"/>
                  </a:schemeClr>
                </a:solidFill>
              </a:defRPr>
            </a:lvl3pPr>
          </a:lstStyle>
          <a:p>
            <a:pPr lvl="0"/>
            <a:r>
              <a:rPr lang="en-US"/>
              <a:t>Click to edit Master text styles</a:t>
            </a:r>
          </a:p>
          <a:p>
            <a:pPr lvl="1"/>
            <a:r>
              <a:rPr lang="en-US"/>
              <a:t>Second level</a:t>
            </a:r>
          </a:p>
          <a:p>
            <a:pPr lvl="2"/>
            <a:r>
              <a:rPr lang="en-US"/>
              <a:t>Third level</a:t>
            </a:r>
          </a:p>
        </p:txBody>
      </p:sp>
      <p:sp>
        <p:nvSpPr>
          <p:cNvPr id="3" name="Slide Number Placeholder 5"/>
          <p:cNvSpPr txBox="1">
            <a:spLocks/>
          </p:cNvSpPr>
          <p:nvPr userDrawn="1"/>
        </p:nvSpPr>
        <p:spPr>
          <a:xfrm>
            <a:off x="11672713" y="6626675"/>
            <a:ext cx="475287" cy="154849"/>
          </a:xfrm>
          <a:prstGeom prst="rect">
            <a:avLst/>
          </a:prstGeom>
        </p:spPr>
        <p:txBody>
          <a:bodyPr anchor="ctr"/>
          <a:lstStyle>
            <a:defPPr>
              <a:defRPr lang="en-US"/>
            </a:defPPr>
            <a:lvl1pPr marL="0" algn="l"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29561F6A-E2B6-43F1-8866-24E01C368EF0}" type="slidenum">
              <a:rPr lang="en-US" sz="900" smtClean="0">
                <a:solidFill>
                  <a:schemeClr val="bg1"/>
                </a:solidFill>
              </a:rPr>
              <a:pPr algn="ctr"/>
              <a:t>‹#›</a:t>
            </a:fld>
            <a:endParaRPr lang="en-US" sz="900">
              <a:solidFill>
                <a:schemeClr val="bg1"/>
              </a:solidFill>
            </a:endParaRPr>
          </a:p>
        </p:txBody>
      </p:sp>
      <p:pic>
        <p:nvPicPr>
          <p:cNvPr id="13" name="Graphic 12">
            <a:extLst>
              <a:ext uri="{FF2B5EF4-FFF2-40B4-BE49-F238E27FC236}">
                <a16:creationId xmlns:a16="http://schemas.microsoft.com/office/drawing/2014/main" id="{2EDE4865-A18F-4B66-B53A-9DE63DD8A8FE}"/>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51496" y="6405894"/>
            <a:ext cx="152400" cy="330200"/>
          </a:xfrm>
          <a:prstGeom prst="rect">
            <a:avLst/>
          </a:prstGeom>
        </p:spPr>
      </p:pic>
      <p:sp>
        <p:nvSpPr>
          <p:cNvPr id="15" name="Text Placeholder 25">
            <a:extLst>
              <a:ext uri="{FF2B5EF4-FFF2-40B4-BE49-F238E27FC236}">
                <a16:creationId xmlns:a16="http://schemas.microsoft.com/office/drawing/2014/main" id="{47E044E3-5C8C-4466-B83E-A87A08E92E30}"/>
              </a:ext>
            </a:extLst>
          </p:cNvPr>
          <p:cNvSpPr>
            <a:spLocks noGrp="1"/>
          </p:cNvSpPr>
          <p:nvPr>
            <p:ph type="body" sz="quarter" idx="12" hasCustomPrompt="1"/>
          </p:nvPr>
        </p:nvSpPr>
        <p:spPr>
          <a:xfrm rot="10800000">
            <a:off x="483951" y="1458962"/>
            <a:ext cx="329184" cy="329184"/>
          </a:xfrm>
          <a:prstGeom prst="rtTriangle">
            <a:avLst/>
          </a:prstGeom>
          <a:gradFill>
            <a:gsLst>
              <a:gs pos="0">
                <a:srgbClr val="7FAFDE"/>
              </a:gs>
              <a:gs pos="80000">
                <a:srgbClr val="3A5580"/>
              </a:gs>
            </a:gsLst>
            <a:lin ang="19800000" scaled="0"/>
          </a:gradFill>
          <a:ln>
            <a:noFill/>
          </a:ln>
        </p:spPr>
        <p:style>
          <a:lnRef idx="0">
            <a:scrgbClr r="0" g="0" b="0"/>
          </a:lnRef>
          <a:fillRef idx="0">
            <a:scrgbClr r="0" g="0" b="0"/>
          </a:fillRef>
          <a:effectRef idx="0">
            <a:scrgbClr r="0" g="0" b="0"/>
          </a:effectRef>
          <a:fontRef idx="minor">
            <a:schemeClr val="lt1"/>
          </a:fontRef>
        </p:style>
        <p:txBody>
          <a:bodyPr vert="horz" lIns="91440" tIns="45720" rIns="91440" bIns="45720" rtlCol="0" anchor="ctr">
            <a:noAutofit/>
          </a:bodyPr>
          <a:lstStyle>
            <a:lvl1pPr algn="l">
              <a:buFontTx/>
              <a:buNone/>
              <a:defRPr lang="en-US" dirty="0" smtClean="0">
                <a:ln>
                  <a:noFill/>
                </a:ln>
                <a:noFill/>
              </a:defRPr>
            </a:lvl1pPr>
            <a:lvl2pPr>
              <a:defRPr lang="en-US" dirty="0" smtClean="0">
                <a:solidFill>
                  <a:schemeClr val="lt1"/>
                </a:solidFill>
              </a:defRPr>
            </a:lvl2pPr>
            <a:lvl3pPr>
              <a:defRPr lang="en-US" dirty="0" smtClean="0">
                <a:solidFill>
                  <a:schemeClr val="lt1"/>
                </a:solidFill>
              </a:defRPr>
            </a:lvl3pPr>
            <a:lvl4pPr>
              <a:defRPr lang="en-US" dirty="0" smtClean="0">
                <a:solidFill>
                  <a:schemeClr val="lt1"/>
                </a:solidFill>
              </a:defRPr>
            </a:lvl4pPr>
            <a:lvl5pPr>
              <a:defRPr lang="en-US" dirty="0">
                <a:solidFill>
                  <a:schemeClr val="lt1"/>
                </a:solidFill>
              </a:defRPr>
            </a:lvl5pPr>
          </a:lstStyle>
          <a:p>
            <a:pPr marL="0" lvl="0" indent="0" algn="ctr">
              <a:buFontTx/>
              <a:buNone/>
            </a:pPr>
            <a:r>
              <a:rPr lang="en-US"/>
              <a:t> </a:t>
            </a:r>
          </a:p>
        </p:txBody>
      </p:sp>
      <p:sp>
        <p:nvSpPr>
          <p:cNvPr id="2" name="Title 1"/>
          <p:cNvSpPr>
            <a:spLocks noGrp="1"/>
          </p:cNvSpPr>
          <p:nvPr>
            <p:ph type="title" hasCustomPrompt="1"/>
          </p:nvPr>
        </p:nvSpPr>
        <p:spPr>
          <a:xfrm>
            <a:off x="609600" y="104415"/>
            <a:ext cx="10972800" cy="906738"/>
          </a:xfrm>
          <a:noFill/>
        </p:spPr>
        <p:txBody>
          <a:bodyPr vert="horz" lIns="91440" tIns="45720" rIns="91440" bIns="45720" rtlCol="0" anchor="ctr">
            <a:noAutofit/>
          </a:bodyPr>
          <a:lstStyle>
            <a:lvl1pPr>
              <a:defRPr lang="en-US" i="0" dirty="0">
                <a:solidFill>
                  <a:schemeClr val="tx1"/>
                </a:solidFill>
              </a:defRPr>
            </a:lvl1pPr>
          </a:lstStyle>
          <a:p>
            <a:pPr lvl="0"/>
            <a:r>
              <a:rPr lang="en-US"/>
              <a:t>Agenda Slide</a:t>
            </a:r>
          </a:p>
        </p:txBody>
      </p:sp>
    </p:spTree>
    <p:extLst>
      <p:ext uri="{BB962C8B-B14F-4D97-AF65-F5344CB8AC3E}">
        <p14:creationId xmlns:p14="http://schemas.microsoft.com/office/powerpoint/2010/main" val="72324653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Blank Slide with Text">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extLst>
              <p:ext uri="{D42A27DB-BD31-4B8C-83A1-F6EECF244321}">
                <p14:modId xmlns:p14="http://schemas.microsoft.com/office/powerpoint/2010/main" val="3788819446"/>
              </p:ext>
            </p:extLst>
          </p:nvPr>
        </p:nvGraphicFramePr>
        <p:xfrm>
          <a:off x="2119" y="1593"/>
          <a:ext cx="2116" cy="1587"/>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6" name="Object 5" hidden="1"/>
                      <p:cNvPicPr/>
                      <p:nvPr/>
                    </p:nvPicPr>
                    <p:blipFill>
                      <a:blip r:embed="rId4"/>
                      <a:stretch>
                        <a:fillRect/>
                      </a:stretch>
                    </p:blipFill>
                    <p:spPr>
                      <a:xfrm>
                        <a:off x="2119" y="1593"/>
                        <a:ext cx="2116" cy="1587"/>
                      </a:xfrm>
                      <a:prstGeom prst="rect">
                        <a:avLst/>
                      </a:prstGeom>
                    </p:spPr>
                  </p:pic>
                </p:oleObj>
              </mc:Fallback>
            </mc:AlternateContent>
          </a:graphicData>
        </a:graphic>
      </p:graphicFrame>
      <p:sp>
        <p:nvSpPr>
          <p:cNvPr id="2" name="Title 1"/>
          <p:cNvSpPr>
            <a:spLocks noGrp="1"/>
          </p:cNvSpPr>
          <p:nvPr>
            <p:ph type="title" hasCustomPrompt="1"/>
          </p:nvPr>
        </p:nvSpPr>
        <p:spPr/>
        <p:txBody>
          <a:bodyPr vert="horz" anchor="ctr"/>
          <a:lstStyle>
            <a:lvl1pPr>
              <a:defRPr b="0" i="0" baseline="0">
                <a:solidFill>
                  <a:schemeClr val="tx1"/>
                </a:solidFill>
              </a:defRPr>
            </a:lvl1pPr>
          </a:lstStyle>
          <a:p>
            <a:r>
              <a:rPr lang="en-US"/>
              <a:t>Title Line 1</a:t>
            </a:r>
            <a:br>
              <a:rPr lang="en-US"/>
            </a:br>
            <a:r>
              <a:rPr lang="en-US"/>
              <a:t>Title Line Continued</a:t>
            </a:r>
          </a:p>
        </p:txBody>
      </p:sp>
      <p:sp>
        <p:nvSpPr>
          <p:cNvPr id="5" name="Slide Number Placeholder 5"/>
          <p:cNvSpPr txBox="1">
            <a:spLocks/>
          </p:cNvSpPr>
          <p:nvPr userDrawn="1"/>
        </p:nvSpPr>
        <p:spPr>
          <a:xfrm>
            <a:off x="11672714" y="6626677"/>
            <a:ext cx="475287" cy="154849"/>
          </a:xfrm>
          <a:prstGeom prst="rect">
            <a:avLst/>
          </a:prstGeom>
        </p:spPr>
        <p:txBody>
          <a:bodyPr anchor="ctr"/>
          <a:lstStyle>
            <a:defPPr>
              <a:defRPr lang="en-US"/>
            </a:defPPr>
            <a:lvl1pPr marL="0" algn="l"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29561F6A-E2B6-43F1-8866-24E01C368EF0}" type="slidenum">
              <a:rPr lang="en-US" sz="900" smtClean="0">
                <a:solidFill>
                  <a:schemeClr val="accent1"/>
                </a:solidFill>
              </a:rPr>
              <a:pPr algn="ctr"/>
              <a:t>‹#›</a:t>
            </a:fld>
            <a:endParaRPr lang="en-US" sz="900">
              <a:solidFill>
                <a:schemeClr val="accent1"/>
              </a:solidFill>
            </a:endParaRPr>
          </a:p>
        </p:txBody>
      </p:sp>
      <p:sp>
        <p:nvSpPr>
          <p:cNvPr id="12" name="Text Placeholder 11"/>
          <p:cNvSpPr>
            <a:spLocks noGrp="1"/>
          </p:cNvSpPr>
          <p:nvPr>
            <p:ph type="body" sz="quarter" idx="14" hasCustomPrompt="1"/>
          </p:nvPr>
        </p:nvSpPr>
        <p:spPr>
          <a:xfrm>
            <a:off x="609600" y="6556376"/>
            <a:ext cx="10972800" cy="301625"/>
          </a:xfrm>
        </p:spPr>
        <p:txBody>
          <a:bodyPr anchor="ctr"/>
          <a:lstStyle>
            <a:lvl1pPr marL="3175" marR="0" indent="0" algn="l" defTabSz="914400" rtl="0" eaLnBrk="1" fontAlgn="auto" latinLnBrk="0" hangingPunct="1">
              <a:lnSpc>
                <a:spcPct val="100000"/>
              </a:lnSpc>
              <a:spcBef>
                <a:spcPts val="0"/>
              </a:spcBef>
              <a:spcAft>
                <a:spcPts val="0"/>
              </a:spcAft>
              <a:buClr>
                <a:schemeClr val="tx1">
                  <a:lumMod val="75000"/>
                  <a:lumOff val="25000"/>
                </a:schemeClr>
              </a:buClr>
              <a:buSzTx/>
              <a:buFont typeface="Arial" panose="020B0604020202020204" pitchFamily="34" charset="0"/>
              <a:buNone/>
              <a:tabLst/>
              <a:defRPr sz="900" b="0">
                <a:solidFill>
                  <a:schemeClr val="bg1">
                    <a:lumMod val="50000"/>
                  </a:schemeClr>
                </a:solidFill>
              </a:defRPr>
            </a:lvl1pPr>
            <a:lvl2pPr>
              <a:spcBef>
                <a:spcPts val="0"/>
              </a:spcBef>
              <a:defRPr/>
            </a:lvl2pPr>
            <a:lvl3pPr>
              <a:spcBef>
                <a:spcPts val="0"/>
              </a:spcBef>
              <a:defRPr/>
            </a:lvl3pPr>
            <a:lvl4pPr>
              <a:spcBef>
                <a:spcPts val="0"/>
              </a:spcBef>
              <a:defRPr/>
            </a:lvl4pPr>
            <a:lvl5pPr>
              <a:spcBef>
                <a:spcPts val="0"/>
              </a:spcBef>
              <a:defRPr/>
            </a:lvl5pPr>
          </a:lstStyle>
          <a:p>
            <a:pPr marL="3175" marR="0" lvl="0" indent="0" algn="l" defTabSz="914400" rtl="0" eaLnBrk="1" fontAlgn="auto" latinLnBrk="0" hangingPunct="1">
              <a:lnSpc>
                <a:spcPct val="100000"/>
              </a:lnSpc>
              <a:spcBef>
                <a:spcPts val="0"/>
              </a:spcBef>
              <a:spcAft>
                <a:spcPts val="0"/>
              </a:spcAft>
              <a:buClr>
                <a:schemeClr val="tx1">
                  <a:lumMod val="75000"/>
                  <a:lumOff val="25000"/>
                </a:schemeClr>
              </a:buClr>
              <a:buSzTx/>
              <a:buFont typeface="Arial" panose="020B0604020202020204" pitchFamily="34" charset="0"/>
              <a:buNone/>
              <a:tabLst/>
              <a:defRPr/>
            </a:pPr>
            <a:r>
              <a:rPr lang="en-US"/>
              <a:t>Sources/Notes section in 9 point </a:t>
            </a:r>
            <a:r>
              <a:rPr lang="en-US" b="1"/>
              <a:t>White, Darker 50%</a:t>
            </a:r>
          </a:p>
        </p:txBody>
      </p:sp>
      <p:sp>
        <p:nvSpPr>
          <p:cNvPr id="14" name="Text Placeholder 13"/>
          <p:cNvSpPr>
            <a:spLocks noGrp="1"/>
          </p:cNvSpPr>
          <p:nvPr>
            <p:ph type="body" sz="quarter" idx="15"/>
          </p:nvPr>
        </p:nvSpPr>
        <p:spPr>
          <a:xfrm>
            <a:off x="609600" y="1276709"/>
            <a:ext cx="10972800" cy="5098692"/>
          </a:xfrm>
        </p:spPr>
        <p:txBody>
          <a:bodyPr/>
          <a:lstStyle>
            <a:lvl1pPr marL="190500" indent="-187325">
              <a:defRPr>
                <a:solidFill>
                  <a:schemeClr val="tx1"/>
                </a:solidFill>
              </a:defRPr>
            </a:lvl1pPr>
            <a:lvl2pPr marL="439738" indent="-250825">
              <a:defRPr>
                <a:solidFill>
                  <a:schemeClr val="accent1"/>
                </a:solidFill>
              </a:defRPr>
            </a:lvl2pPr>
            <a:lvl3pPr marL="652463" indent="-217488">
              <a:defRPr>
                <a:solidFill>
                  <a:schemeClr val="bg2">
                    <a:lumMod val="50000"/>
                  </a:schemeClr>
                </a:solidFill>
              </a:defRPr>
            </a:lvl3pPr>
            <a:lvl4pPr marL="833438" indent="-173038">
              <a:defRPr>
                <a:solidFill>
                  <a:schemeClr val="bg2">
                    <a:lumMod val="50000"/>
                  </a:schemeClr>
                </a:solidFill>
              </a:defRPr>
            </a:lvl4pPr>
            <a:lvl5pPr marL="1004888" indent="-169863">
              <a:defRPr>
                <a:solidFill>
                  <a:schemeClr val="bg2">
                    <a:lumMod val="50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Isosceles Triangle 7"/>
          <p:cNvSpPr/>
          <p:nvPr userDrawn="1"/>
        </p:nvSpPr>
        <p:spPr>
          <a:xfrm rot="5400000">
            <a:off x="-526920" y="526918"/>
            <a:ext cx="1203355" cy="149527"/>
          </a:xfrm>
          <a:prstGeom prst="triangle">
            <a:avLst>
              <a:gd name="adj" fmla="val 84814"/>
            </a:avLst>
          </a:prstGeom>
          <a:gradFill flip="none" rotWithShape="1">
            <a:gsLst>
              <a:gs pos="0">
                <a:schemeClr val="accent3">
                  <a:lumMod val="75000"/>
                </a:schemeClr>
              </a:gs>
              <a:gs pos="21000">
                <a:srgbClr val="4F74A0"/>
              </a:gs>
              <a:gs pos="100000">
                <a:srgbClr val="A0C1D6"/>
              </a:gs>
            </a:gsLst>
            <a:lin ang="12000000" scaled="0"/>
            <a:tileRect/>
          </a:gra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sz="1800"/>
          </a:p>
        </p:txBody>
      </p:sp>
      <p:pic>
        <p:nvPicPr>
          <p:cNvPr id="9" name="Graphic 8">
            <a:extLst>
              <a:ext uri="{FF2B5EF4-FFF2-40B4-BE49-F238E27FC236}">
                <a16:creationId xmlns:a16="http://schemas.microsoft.com/office/drawing/2014/main" id="{36B9E241-CFFF-466B-8BCC-C37A427FEE92}"/>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51496" y="6405894"/>
            <a:ext cx="152400" cy="330200"/>
          </a:xfrm>
          <a:prstGeom prst="rect">
            <a:avLst/>
          </a:prstGeom>
        </p:spPr>
      </p:pic>
    </p:spTree>
    <p:extLst>
      <p:ext uri="{BB962C8B-B14F-4D97-AF65-F5344CB8AC3E}">
        <p14:creationId xmlns:p14="http://schemas.microsoft.com/office/powerpoint/2010/main" val="1792466438"/>
      </p:ext>
    </p:extLst>
  </p:cSld>
  <p:clrMapOvr>
    <a:masterClrMapping/>
  </p:clrMapOvr>
  <p:hf hdr="0" dt="0"/>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only">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extLst>
              <p:ext uri="{D42A27DB-BD31-4B8C-83A1-F6EECF244321}">
                <p14:modId xmlns:p14="http://schemas.microsoft.com/office/powerpoint/2010/main" val="2572258052"/>
              </p:ext>
            </p:extLst>
          </p:nvPr>
        </p:nvGraphicFramePr>
        <p:xfrm>
          <a:off x="2119" y="1593"/>
          <a:ext cx="2116" cy="1587"/>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6" name="Object 5" hidden="1"/>
                      <p:cNvPicPr/>
                      <p:nvPr/>
                    </p:nvPicPr>
                    <p:blipFill>
                      <a:blip r:embed="rId4"/>
                      <a:stretch>
                        <a:fillRect/>
                      </a:stretch>
                    </p:blipFill>
                    <p:spPr>
                      <a:xfrm>
                        <a:off x="2119" y="1593"/>
                        <a:ext cx="2116" cy="1587"/>
                      </a:xfrm>
                      <a:prstGeom prst="rect">
                        <a:avLst/>
                      </a:prstGeom>
                    </p:spPr>
                  </p:pic>
                </p:oleObj>
              </mc:Fallback>
            </mc:AlternateContent>
          </a:graphicData>
        </a:graphic>
      </p:graphicFrame>
      <p:sp>
        <p:nvSpPr>
          <p:cNvPr id="2" name="Title 1"/>
          <p:cNvSpPr>
            <a:spLocks noGrp="1"/>
          </p:cNvSpPr>
          <p:nvPr>
            <p:ph type="title" hasCustomPrompt="1"/>
          </p:nvPr>
        </p:nvSpPr>
        <p:spPr/>
        <p:txBody>
          <a:bodyPr vert="horz" anchor="ctr"/>
          <a:lstStyle>
            <a:lvl1pPr>
              <a:defRPr b="0" i="0" baseline="0">
                <a:solidFill>
                  <a:schemeClr val="tx1"/>
                </a:solidFill>
              </a:defRPr>
            </a:lvl1pPr>
          </a:lstStyle>
          <a:p>
            <a:r>
              <a:rPr lang="en-US"/>
              <a:t>Title Line 1</a:t>
            </a:r>
            <a:br>
              <a:rPr lang="en-US"/>
            </a:br>
            <a:r>
              <a:rPr lang="en-US"/>
              <a:t>Title Line Continued</a:t>
            </a:r>
          </a:p>
        </p:txBody>
      </p:sp>
      <p:sp>
        <p:nvSpPr>
          <p:cNvPr id="5" name="Slide Number Placeholder 5"/>
          <p:cNvSpPr txBox="1">
            <a:spLocks/>
          </p:cNvSpPr>
          <p:nvPr userDrawn="1"/>
        </p:nvSpPr>
        <p:spPr>
          <a:xfrm>
            <a:off x="11672714" y="6626677"/>
            <a:ext cx="475287" cy="154849"/>
          </a:xfrm>
          <a:prstGeom prst="rect">
            <a:avLst/>
          </a:prstGeom>
        </p:spPr>
        <p:txBody>
          <a:bodyPr anchor="ctr"/>
          <a:lstStyle>
            <a:defPPr>
              <a:defRPr lang="en-US"/>
            </a:defPPr>
            <a:lvl1pPr marL="0" algn="l"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29561F6A-E2B6-43F1-8866-24E01C368EF0}" type="slidenum">
              <a:rPr lang="en-US" sz="900" smtClean="0">
                <a:solidFill>
                  <a:schemeClr val="accent1"/>
                </a:solidFill>
              </a:rPr>
              <a:pPr algn="ctr"/>
              <a:t>‹#›</a:t>
            </a:fld>
            <a:endParaRPr lang="en-US" sz="900">
              <a:solidFill>
                <a:schemeClr val="accent1"/>
              </a:solidFill>
            </a:endParaRPr>
          </a:p>
        </p:txBody>
      </p:sp>
      <p:sp>
        <p:nvSpPr>
          <p:cNvPr id="12" name="Text Placeholder 11"/>
          <p:cNvSpPr>
            <a:spLocks noGrp="1"/>
          </p:cNvSpPr>
          <p:nvPr>
            <p:ph type="body" sz="quarter" idx="14" hasCustomPrompt="1"/>
          </p:nvPr>
        </p:nvSpPr>
        <p:spPr>
          <a:xfrm>
            <a:off x="609600" y="6556376"/>
            <a:ext cx="10972800" cy="301625"/>
          </a:xfrm>
        </p:spPr>
        <p:txBody>
          <a:bodyPr anchor="ctr"/>
          <a:lstStyle>
            <a:lvl1pPr marL="3175" marR="0" indent="0" algn="l" defTabSz="914400" rtl="0" eaLnBrk="1" fontAlgn="auto" latinLnBrk="0" hangingPunct="1">
              <a:lnSpc>
                <a:spcPct val="100000"/>
              </a:lnSpc>
              <a:spcBef>
                <a:spcPts val="0"/>
              </a:spcBef>
              <a:spcAft>
                <a:spcPts val="0"/>
              </a:spcAft>
              <a:buClr>
                <a:schemeClr val="tx1">
                  <a:lumMod val="75000"/>
                  <a:lumOff val="25000"/>
                </a:schemeClr>
              </a:buClr>
              <a:buSzTx/>
              <a:buFont typeface="Arial" panose="020B0604020202020204" pitchFamily="34" charset="0"/>
              <a:buNone/>
              <a:tabLst/>
              <a:defRPr sz="900" b="0">
                <a:solidFill>
                  <a:schemeClr val="bg1">
                    <a:lumMod val="50000"/>
                  </a:schemeClr>
                </a:solidFill>
              </a:defRPr>
            </a:lvl1pPr>
            <a:lvl2pPr>
              <a:spcBef>
                <a:spcPts val="0"/>
              </a:spcBef>
              <a:defRPr/>
            </a:lvl2pPr>
            <a:lvl3pPr>
              <a:spcBef>
                <a:spcPts val="0"/>
              </a:spcBef>
              <a:defRPr/>
            </a:lvl3pPr>
            <a:lvl4pPr>
              <a:spcBef>
                <a:spcPts val="0"/>
              </a:spcBef>
              <a:defRPr/>
            </a:lvl4pPr>
            <a:lvl5pPr>
              <a:spcBef>
                <a:spcPts val="0"/>
              </a:spcBef>
              <a:defRPr/>
            </a:lvl5pPr>
          </a:lstStyle>
          <a:p>
            <a:pPr marL="3175" marR="0" lvl="0" indent="0" algn="l" defTabSz="914400" rtl="0" eaLnBrk="1" fontAlgn="auto" latinLnBrk="0" hangingPunct="1">
              <a:lnSpc>
                <a:spcPct val="100000"/>
              </a:lnSpc>
              <a:spcBef>
                <a:spcPts val="0"/>
              </a:spcBef>
              <a:spcAft>
                <a:spcPts val="0"/>
              </a:spcAft>
              <a:buClr>
                <a:schemeClr val="tx1">
                  <a:lumMod val="75000"/>
                  <a:lumOff val="25000"/>
                </a:schemeClr>
              </a:buClr>
              <a:buSzTx/>
              <a:buFont typeface="Arial" panose="020B0604020202020204" pitchFamily="34" charset="0"/>
              <a:buNone/>
              <a:tabLst/>
              <a:defRPr/>
            </a:pPr>
            <a:r>
              <a:rPr lang="en-US"/>
              <a:t>Sources/Notes section in 9 point </a:t>
            </a:r>
            <a:r>
              <a:rPr lang="en-US" b="1"/>
              <a:t>White, Darker 50%</a:t>
            </a:r>
          </a:p>
        </p:txBody>
      </p:sp>
      <p:sp>
        <p:nvSpPr>
          <p:cNvPr id="11" name="Isosceles Triangle 7"/>
          <p:cNvSpPr/>
          <p:nvPr userDrawn="1"/>
        </p:nvSpPr>
        <p:spPr>
          <a:xfrm rot="5400000">
            <a:off x="-526920" y="526918"/>
            <a:ext cx="1203355" cy="149527"/>
          </a:xfrm>
          <a:prstGeom prst="triangle">
            <a:avLst>
              <a:gd name="adj" fmla="val 84814"/>
            </a:avLst>
          </a:prstGeom>
          <a:gradFill flip="none" rotWithShape="1">
            <a:gsLst>
              <a:gs pos="0">
                <a:schemeClr val="accent3">
                  <a:lumMod val="75000"/>
                </a:schemeClr>
              </a:gs>
              <a:gs pos="21000">
                <a:srgbClr val="4F74A0"/>
              </a:gs>
              <a:gs pos="100000">
                <a:srgbClr val="A0C1D6"/>
              </a:gs>
            </a:gsLst>
            <a:lin ang="12000000" scaled="0"/>
            <a:tileRect/>
          </a:gra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sz="1800"/>
          </a:p>
        </p:txBody>
      </p:sp>
      <p:pic>
        <p:nvPicPr>
          <p:cNvPr id="9" name="Graphic 8">
            <a:extLst>
              <a:ext uri="{FF2B5EF4-FFF2-40B4-BE49-F238E27FC236}">
                <a16:creationId xmlns:a16="http://schemas.microsoft.com/office/drawing/2014/main" id="{36B9E241-CFFF-466B-8BCC-C37A427FEE92}"/>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51496" y="6405894"/>
            <a:ext cx="152400" cy="330200"/>
          </a:xfrm>
          <a:prstGeom prst="rect">
            <a:avLst/>
          </a:prstGeom>
        </p:spPr>
      </p:pic>
    </p:spTree>
    <p:extLst>
      <p:ext uri="{BB962C8B-B14F-4D97-AF65-F5344CB8AC3E}">
        <p14:creationId xmlns:p14="http://schemas.microsoft.com/office/powerpoint/2010/main" val="3030119690"/>
      </p:ext>
    </p:extLst>
  </p:cSld>
  <p:clrMapOvr>
    <a:masterClrMapping/>
  </p:clrMapOvr>
  <p:hf hdr="0" dt="0"/>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Content &amp; Tex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130625856"/>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3" name="Object 2"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5" name="Content Placeholder 4"/>
          <p:cNvSpPr>
            <a:spLocks noGrp="1"/>
          </p:cNvSpPr>
          <p:nvPr>
            <p:ph sz="quarter" idx="15" hasCustomPrompt="1"/>
          </p:nvPr>
        </p:nvSpPr>
        <p:spPr>
          <a:xfrm>
            <a:off x="609600" y="1295400"/>
            <a:ext cx="10972800" cy="3657600"/>
          </a:xfrm>
        </p:spPr>
        <p:txBody>
          <a:bodyPr/>
          <a:lstStyle>
            <a:lvl1pPr>
              <a:defRPr>
                <a:solidFill>
                  <a:schemeClr val="tx1"/>
                </a:solidFill>
              </a:defRPr>
            </a:lvl1pPr>
            <a:lvl2pPr>
              <a:defRPr>
                <a:solidFill>
                  <a:schemeClr val="accent1"/>
                </a:solidFill>
              </a:defRPr>
            </a:lvl2pPr>
            <a:lvl3pPr>
              <a:defRPr>
                <a:solidFill>
                  <a:schemeClr val="bg2">
                    <a:lumMod val="50000"/>
                  </a:schemeClr>
                </a:solidFill>
              </a:defRPr>
            </a:lvl3pPr>
            <a:lvl4pPr>
              <a:defRPr>
                <a:solidFill>
                  <a:schemeClr val="bg2">
                    <a:lumMod val="50000"/>
                  </a:schemeClr>
                </a:solidFill>
              </a:defRPr>
            </a:lvl4pPr>
            <a:lvl5pPr>
              <a:defRPr>
                <a:solidFill>
                  <a:schemeClr val="bg2">
                    <a:lumMod val="50000"/>
                  </a:schemeClr>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hasCustomPrompt="1"/>
          </p:nvPr>
        </p:nvSpPr>
        <p:spPr/>
        <p:txBody>
          <a:bodyPr vert="horz" anchor="ctr"/>
          <a:lstStyle>
            <a:lvl1pPr>
              <a:defRPr b="0" baseline="0">
                <a:solidFill>
                  <a:schemeClr val="tx1"/>
                </a:solidFill>
              </a:defRPr>
            </a:lvl1pPr>
          </a:lstStyle>
          <a:p>
            <a:r>
              <a:rPr lang="en-US"/>
              <a:t>Chart Title Line 1</a:t>
            </a:r>
            <a:br>
              <a:rPr lang="en-US"/>
            </a:br>
            <a:r>
              <a:rPr lang="en-US"/>
              <a:t>Chart Title Line Continued</a:t>
            </a:r>
          </a:p>
        </p:txBody>
      </p:sp>
      <p:sp>
        <p:nvSpPr>
          <p:cNvPr id="13" name="Slide Number Placeholder 5"/>
          <p:cNvSpPr txBox="1">
            <a:spLocks/>
          </p:cNvSpPr>
          <p:nvPr userDrawn="1"/>
        </p:nvSpPr>
        <p:spPr>
          <a:xfrm>
            <a:off x="11672714" y="6626677"/>
            <a:ext cx="475287" cy="154849"/>
          </a:xfrm>
          <a:prstGeom prst="rect">
            <a:avLst/>
          </a:prstGeom>
        </p:spPr>
        <p:txBody>
          <a:bodyPr anchor="ctr"/>
          <a:lstStyle>
            <a:defPPr>
              <a:defRPr lang="en-US"/>
            </a:defPPr>
            <a:lvl1pPr marL="0" algn="l"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29561F6A-E2B6-43F1-8866-24E01C368EF0}" type="slidenum">
              <a:rPr lang="en-US" sz="900" smtClean="0">
                <a:solidFill>
                  <a:schemeClr val="accent1"/>
                </a:solidFill>
              </a:rPr>
              <a:pPr algn="ctr"/>
              <a:t>‹#›</a:t>
            </a:fld>
            <a:endParaRPr lang="en-US" sz="900">
              <a:solidFill>
                <a:schemeClr val="accent1"/>
              </a:solidFill>
            </a:endParaRPr>
          </a:p>
        </p:txBody>
      </p:sp>
      <p:sp>
        <p:nvSpPr>
          <p:cNvPr id="4" name="Content Placeholder 3"/>
          <p:cNvSpPr>
            <a:spLocks noGrp="1"/>
          </p:cNvSpPr>
          <p:nvPr>
            <p:ph sz="quarter" idx="16"/>
          </p:nvPr>
        </p:nvSpPr>
        <p:spPr>
          <a:xfrm>
            <a:off x="609600" y="4953000"/>
            <a:ext cx="10972800" cy="1524000"/>
          </a:xfrm>
        </p:spPr>
        <p:txBody>
          <a:bodyPr/>
          <a:lstStyle>
            <a:lvl1pPr>
              <a:defRPr>
                <a:solidFill>
                  <a:schemeClr val="tx1"/>
                </a:solidFill>
              </a:defRPr>
            </a:lvl1pPr>
            <a:lvl2pPr>
              <a:defRPr>
                <a:solidFill>
                  <a:schemeClr val="accent1"/>
                </a:solidFill>
              </a:defRPr>
            </a:lvl2pPr>
            <a:lvl3pPr>
              <a:defRPr>
                <a:solidFill>
                  <a:schemeClr val="bg2">
                    <a:lumMod val="50000"/>
                  </a:schemeClr>
                </a:solidFill>
              </a:defRPr>
            </a:lvl3pPr>
            <a:lvl4pPr>
              <a:defRPr>
                <a:solidFill>
                  <a:schemeClr val="bg2">
                    <a:lumMod val="50000"/>
                  </a:schemeClr>
                </a:solidFill>
              </a:defRPr>
            </a:lvl4pPr>
            <a:lvl5pPr>
              <a:defRPr>
                <a:solidFill>
                  <a:schemeClr val="bg2">
                    <a:lumMod val="50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11"/>
          <p:cNvSpPr>
            <a:spLocks noGrp="1"/>
          </p:cNvSpPr>
          <p:nvPr>
            <p:ph type="body" sz="quarter" idx="14" hasCustomPrompt="1"/>
          </p:nvPr>
        </p:nvSpPr>
        <p:spPr>
          <a:xfrm>
            <a:off x="609600" y="6556376"/>
            <a:ext cx="10972800" cy="301625"/>
          </a:xfrm>
        </p:spPr>
        <p:txBody>
          <a:bodyPr anchor="ctr"/>
          <a:lstStyle>
            <a:lvl1pPr marL="3175" marR="0" indent="0" algn="l" defTabSz="914400" rtl="0" eaLnBrk="1" fontAlgn="auto" latinLnBrk="0" hangingPunct="1">
              <a:lnSpc>
                <a:spcPct val="100000"/>
              </a:lnSpc>
              <a:spcBef>
                <a:spcPts val="0"/>
              </a:spcBef>
              <a:spcAft>
                <a:spcPts val="0"/>
              </a:spcAft>
              <a:buClr>
                <a:schemeClr val="tx1">
                  <a:lumMod val="75000"/>
                  <a:lumOff val="25000"/>
                </a:schemeClr>
              </a:buClr>
              <a:buSzTx/>
              <a:buFont typeface="Arial" panose="020B0604020202020204" pitchFamily="34" charset="0"/>
              <a:buNone/>
              <a:tabLst/>
              <a:defRPr sz="900" b="0">
                <a:solidFill>
                  <a:schemeClr val="bg2">
                    <a:lumMod val="50000"/>
                  </a:schemeClr>
                </a:solidFill>
              </a:defRPr>
            </a:lvl1pPr>
            <a:lvl2pPr>
              <a:spcBef>
                <a:spcPts val="0"/>
              </a:spcBef>
              <a:defRPr/>
            </a:lvl2pPr>
            <a:lvl3pPr>
              <a:spcBef>
                <a:spcPts val="0"/>
              </a:spcBef>
              <a:defRPr/>
            </a:lvl3pPr>
            <a:lvl4pPr>
              <a:spcBef>
                <a:spcPts val="0"/>
              </a:spcBef>
              <a:defRPr/>
            </a:lvl4pPr>
            <a:lvl5pPr>
              <a:spcBef>
                <a:spcPts val="0"/>
              </a:spcBef>
              <a:defRPr/>
            </a:lvl5pPr>
          </a:lstStyle>
          <a:p>
            <a:pPr marL="3175" marR="0" lvl="0" indent="0" algn="l" defTabSz="914400" rtl="0" eaLnBrk="1" fontAlgn="auto" latinLnBrk="0" hangingPunct="1">
              <a:lnSpc>
                <a:spcPct val="100000"/>
              </a:lnSpc>
              <a:spcBef>
                <a:spcPts val="0"/>
              </a:spcBef>
              <a:spcAft>
                <a:spcPts val="0"/>
              </a:spcAft>
              <a:buClr>
                <a:schemeClr val="tx1">
                  <a:lumMod val="75000"/>
                  <a:lumOff val="25000"/>
                </a:schemeClr>
              </a:buClr>
              <a:buSzTx/>
              <a:buFont typeface="Arial" panose="020B0604020202020204" pitchFamily="34" charset="0"/>
              <a:buNone/>
              <a:tabLst/>
              <a:defRPr/>
            </a:pPr>
            <a:r>
              <a:rPr lang="en-US"/>
              <a:t>Sources/Notes section in 9 point </a:t>
            </a:r>
            <a:r>
              <a:rPr lang="en-US" b="1"/>
              <a:t>White, Darker 50%</a:t>
            </a:r>
          </a:p>
        </p:txBody>
      </p:sp>
      <p:sp>
        <p:nvSpPr>
          <p:cNvPr id="12" name="Isosceles Triangle 7"/>
          <p:cNvSpPr/>
          <p:nvPr userDrawn="1"/>
        </p:nvSpPr>
        <p:spPr>
          <a:xfrm rot="5400000">
            <a:off x="-526920" y="526918"/>
            <a:ext cx="1203355" cy="149527"/>
          </a:xfrm>
          <a:prstGeom prst="triangle">
            <a:avLst>
              <a:gd name="adj" fmla="val 84814"/>
            </a:avLst>
          </a:prstGeom>
          <a:gradFill flip="none" rotWithShape="1">
            <a:gsLst>
              <a:gs pos="0">
                <a:schemeClr val="accent3">
                  <a:lumMod val="75000"/>
                </a:schemeClr>
              </a:gs>
              <a:gs pos="21000">
                <a:srgbClr val="4F74A0"/>
              </a:gs>
              <a:gs pos="100000">
                <a:srgbClr val="A0C1D6"/>
              </a:gs>
            </a:gsLst>
            <a:lin ang="12000000" scaled="0"/>
            <a:tileRect/>
          </a:gra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sz="1800"/>
          </a:p>
        </p:txBody>
      </p:sp>
      <p:pic>
        <p:nvPicPr>
          <p:cNvPr id="11" name="Graphic 10">
            <a:extLst>
              <a:ext uri="{FF2B5EF4-FFF2-40B4-BE49-F238E27FC236}">
                <a16:creationId xmlns:a16="http://schemas.microsoft.com/office/drawing/2014/main" id="{96F4AB1D-9480-49B7-B3FE-27C8B6D5CF49}"/>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51496" y="6405894"/>
            <a:ext cx="152400" cy="330200"/>
          </a:xfrm>
          <a:prstGeom prst="rect">
            <a:avLst/>
          </a:prstGeom>
        </p:spPr>
      </p:pic>
    </p:spTree>
    <p:extLst>
      <p:ext uri="{BB962C8B-B14F-4D97-AF65-F5344CB8AC3E}">
        <p14:creationId xmlns:p14="http://schemas.microsoft.com/office/powerpoint/2010/main" val="362970603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Two Content &amp; Tex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735857314"/>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3" name="Object 2"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2" name="Title 1"/>
          <p:cNvSpPr>
            <a:spLocks noGrp="1"/>
          </p:cNvSpPr>
          <p:nvPr>
            <p:ph type="title" hasCustomPrompt="1"/>
          </p:nvPr>
        </p:nvSpPr>
        <p:spPr/>
        <p:txBody>
          <a:bodyPr vert="horz" anchor="ctr"/>
          <a:lstStyle>
            <a:lvl1pPr>
              <a:defRPr b="0" baseline="0">
                <a:solidFill>
                  <a:schemeClr val="tx1"/>
                </a:solidFill>
              </a:defRPr>
            </a:lvl1pPr>
          </a:lstStyle>
          <a:p>
            <a:r>
              <a:rPr lang="en-US"/>
              <a:t>Content Title Line 1</a:t>
            </a:r>
            <a:br>
              <a:rPr lang="en-US"/>
            </a:br>
            <a:r>
              <a:rPr lang="en-US"/>
              <a:t>Content Title Line Continued</a:t>
            </a:r>
          </a:p>
        </p:txBody>
      </p:sp>
      <p:sp>
        <p:nvSpPr>
          <p:cNvPr id="12" name="Content Placeholder 11"/>
          <p:cNvSpPr>
            <a:spLocks noGrp="1"/>
          </p:cNvSpPr>
          <p:nvPr>
            <p:ph sz="quarter" idx="12"/>
          </p:nvPr>
        </p:nvSpPr>
        <p:spPr>
          <a:xfrm>
            <a:off x="609600" y="1285337"/>
            <a:ext cx="5485291" cy="3452004"/>
          </a:xfrm>
        </p:spPr>
        <p:txBody>
          <a:bodyPr/>
          <a:lstStyle>
            <a:lvl1pPr>
              <a:defRPr>
                <a:solidFill>
                  <a:schemeClr val="tx1"/>
                </a:solidFill>
              </a:defRPr>
            </a:lvl1pPr>
            <a:lvl2pPr>
              <a:defRPr>
                <a:solidFill>
                  <a:schemeClr val="accent1"/>
                </a:solidFill>
              </a:defRPr>
            </a:lvl2pPr>
            <a:lvl3pPr>
              <a:defRPr>
                <a:solidFill>
                  <a:schemeClr val="bg2">
                    <a:lumMod val="50000"/>
                  </a:schemeClr>
                </a:solidFill>
              </a:defRPr>
            </a:lvl3pPr>
            <a:lvl4pPr>
              <a:defRPr>
                <a:solidFill>
                  <a:schemeClr val="bg2">
                    <a:lumMod val="50000"/>
                  </a:schemeClr>
                </a:solidFill>
              </a:defRPr>
            </a:lvl4pPr>
            <a:lvl5pPr>
              <a:defRPr>
                <a:solidFill>
                  <a:schemeClr val="bg2">
                    <a:lumMod val="50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5"/>
          <p:cNvSpPr txBox="1">
            <a:spLocks/>
          </p:cNvSpPr>
          <p:nvPr userDrawn="1"/>
        </p:nvSpPr>
        <p:spPr>
          <a:xfrm>
            <a:off x="11672714" y="6626677"/>
            <a:ext cx="475287" cy="154849"/>
          </a:xfrm>
          <a:prstGeom prst="rect">
            <a:avLst/>
          </a:prstGeom>
        </p:spPr>
        <p:txBody>
          <a:bodyPr anchor="ctr"/>
          <a:lstStyle>
            <a:defPPr>
              <a:defRPr lang="en-US"/>
            </a:defPPr>
            <a:lvl1pPr marL="0" algn="l"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29561F6A-E2B6-43F1-8866-24E01C368EF0}" type="slidenum">
              <a:rPr lang="en-US" sz="900" smtClean="0">
                <a:solidFill>
                  <a:schemeClr val="accent1"/>
                </a:solidFill>
              </a:rPr>
              <a:pPr algn="ctr"/>
              <a:t>‹#›</a:t>
            </a:fld>
            <a:endParaRPr lang="en-US" sz="900">
              <a:solidFill>
                <a:schemeClr val="accent1"/>
              </a:solidFill>
            </a:endParaRPr>
          </a:p>
        </p:txBody>
      </p:sp>
      <p:sp>
        <p:nvSpPr>
          <p:cNvPr id="9" name="Content Placeholder 11"/>
          <p:cNvSpPr>
            <a:spLocks noGrp="1"/>
          </p:cNvSpPr>
          <p:nvPr>
            <p:ph sz="quarter" idx="14"/>
          </p:nvPr>
        </p:nvSpPr>
        <p:spPr>
          <a:xfrm>
            <a:off x="6097109" y="1285337"/>
            <a:ext cx="5485291" cy="3452004"/>
          </a:xfrm>
        </p:spPr>
        <p:txBody>
          <a:bodyPr/>
          <a:lstStyle>
            <a:lvl1pPr>
              <a:defRPr>
                <a:solidFill>
                  <a:schemeClr val="tx1"/>
                </a:solidFill>
              </a:defRPr>
            </a:lvl1pPr>
            <a:lvl2pPr>
              <a:defRPr>
                <a:solidFill>
                  <a:schemeClr val="accent1"/>
                </a:solidFill>
              </a:defRPr>
            </a:lvl2pPr>
            <a:lvl3pPr>
              <a:defRPr>
                <a:solidFill>
                  <a:schemeClr val="bg2">
                    <a:lumMod val="50000"/>
                  </a:schemeClr>
                </a:solidFill>
              </a:defRPr>
            </a:lvl3pPr>
            <a:lvl4pPr>
              <a:defRPr>
                <a:solidFill>
                  <a:schemeClr val="bg2">
                    <a:lumMod val="50000"/>
                  </a:schemeClr>
                </a:solidFill>
              </a:defRPr>
            </a:lvl4pPr>
            <a:lvl5pPr>
              <a:defRPr>
                <a:solidFill>
                  <a:schemeClr val="bg2">
                    <a:lumMod val="50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ntent Placeholder 4"/>
          <p:cNvSpPr>
            <a:spLocks noGrp="1"/>
          </p:cNvSpPr>
          <p:nvPr>
            <p:ph sz="quarter" idx="17"/>
          </p:nvPr>
        </p:nvSpPr>
        <p:spPr>
          <a:xfrm>
            <a:off x="609600" y="4754352"/>
            <a:ext cx="11063113" cy="1739900"/>
          </a:xfrm>
        </p:spPr>
        <p:txBody>
          <a:bodyPr/>
          <a:lstStyle>
            <a:lvl1pPr>
              <a:defRPr>
                <a:solidFill>
                  <a:schemeClr val="tx1"/>
                </a:solidFill>
              </a:defRPr>
            </a:lvl1pPr>
            <a:lvl2pPr>
              <a:defRPr>
                <a:solidFill>
                  <a:schemeClr val="accent1"/>
                </a:solidFill>
              </a:defRPr>
            </a:lvl2pPr>
            <a:lvl3pPr>
              <a:defRPr>
                <a:solidFill>
                  <a:schemeClr val="bg2">
                    <a:lumMod val="50000"/>
                  </a:schemeClr>
                </a:solidFill>
              </a:defRPr>
            </a:lvl3pPr>
            <a:lvl4pPr>
              <a:defRPr>
                <a:solidFill>
                  <a:schemeClr val="bg2">
                    <a:lumMod val="50000"/>
                  </a:schemeClr>
                </a:solidFill>
              </a:defRPr>
            </a:lvl4pPr>
            <a:lvl5pPr>
              <a:defRPr>
                <a:solidFill>
                  <a:schemeClr val="bg2">
                    <a:lumMod val="50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11"/>
          <p:cNvSpPr>
            <a:spLocks noGrp="1"/>
          </p:cNvSpPr>
          <p:nvPr>
            <p:ph type="body" sz="quarter" idx="18" hasCustomPrompt="1"/>
          </p:nvPr>
        </p:nvSpPr>
        <p:spPr>
          <a:xfrm>
            <a:off x="609600" y="6556376"/>
            <a:ext cx="10972800" cy="301625"/>
          </a:xfrm>
        </p:spPr>
        <p:txBody>
          <a:bodyPr anchor="ctr"/>
          <a:lstStyle>
            <a:lvl1pPr marL="3175" marR="0" indent="0" algn="l" defTabSz="914400" rtl="0" eaLnBrk="1" fontAlgn="auto" latinLnBrk="0" hangingPunct="1">
              <a:lnSpc>
                <a:spcPct val="100000"/>
              </a:lnSpc>
              <a:spcBef>
                <a:spcPts val="0"/>
              </a:spcBef>
              <a:spcAft>
                <a:spcPts val="0"/>
              </a:spcAft>
              <a:buClr>
                <a:schemeClr val="tx1">
                  <a:lumMod val="75000"/>
                  <a:lumOff val="25000"/>
                </a:schemeClr>
              </a:buClr>
              <a:buSzTx/>
              <a:buFont typeface="Arial" panose="020B0604020202020204" pitchFamily="34" charset="0"/>
              <a:buNone/>
              <a:tabLst/>
              <a:defRPr sz="900" b="0">
                <a:solidFill>
                  <a:schemeClr val="bg2">
                    <a:lumMod val="50000"/>
                  </a:schemeClr>
                </a:solidFill>
              </a:defRPr>
            </a:lvl1pPr>
            <a:lvl2pPr>
              <a:spcBef>
                <a:spcPts val="0"/>
              </a:spcBef>
              <a:defRPr/>
            </a:lvl2pPr>
            <a:lvl3pPr>
              <a:spcBef>
                <a:spcPts val="0"/>
              </a:spcBef>
              <a:defRPr/>
            </a:lvl3pPr>
            <a:lvl4pPr>
              <a:spcBef>
                <a:spcPts val="0"/>
              </a:spcBef>
              <a:defRPr/>
            </a:lvl4pPr>
            <a:lvl5pPr>
              <a:spcBef>
                <a:spcPts val="0"/>
              </a:spcBef>
              <a:defRPr/>
            </a:lvl5pPr>
          </a:lstStyle>
          <a:p>
            <a:pPr marL="3175" marR="0" lvl="0" indent="0" algn="l" defTabSz="914400" rtl="0" eaLnBrk="1" fontAlgn="auto" latinLnBrk="0" hangingPunct="1">
              <a:lnSpc>
                <a:spcPct val="100000"/>
              </a:lnSpc>
              <a:spcBef>
                <a:spcPts val="0"/>
              </a:spcBef>
              <a:spcAft>
                <a:spcPts val="0"/>
              </a:spcAft>
              <a:buClr>
                <a:schemeClr val="tx1">
                  <a:lumMod val="75000"/>
                  <a:lumOff val="25000"/>
                </a:schemeClr>
              </a:buClr>
              <a:buSzTx/>
              <a:buFont typeface="Arial" panose="020B0604020202020204" pitchFamily="34" charset="0"/>
              <a:buNone/>
              <a:tabLst/>
              <a:defRPr/>
            </a:pPr>
            <a:r>
              <a:rPr lang="en-US"/>
              <a:t>Sources/Notes section in 9 point </a:t>
            </a:r>
            <a:r>
              <a:rPr lang="en-US" b="1"/>
              <a:t>White, Darker 50%</a:t>
            </a:r>
          </a:p>
        </p:txBody>
      </p:sp>
      <p:sp>
        <p:nvSpPr>
          <p:cNvPr id="11" name="Isosceles Triangle 7"/>
          <p:cNvSpPr/>
          <p:nvPr userDrawn="1"/>
        </p:nvSpPr>
        <p:spPr>
          <a:xfrm rot="5400000">
            <a:off x="-526920" y="526918"/>
            <a:ext cx="1203355" cy="149527"/>
          </a:xfrm>
          <a:prstGeom prst="triangle">
            <a:avLst>
              <a:gd name="adj" fmla="val 84814"/>
            </a:avLst>
          </a:prstGeom>
          <a:gradFill flip="none" rotWithShape="1">
            <a:gsLst>
              <a:gs pos="0">
                <a:schemeClr val="accent3">
                  <a:lumMod val="75000"/>
                </a:schemeClr>
              </a:gs>
              <a:gs pos="21000">
                <a:srgbClr val="4F74A0"/>
              </a:gs>
              <a:gs pos="100000">
                <a:srgbClr val="A0C1D6"/>
              </a:gs>
            </a:gsLst>
            <a:lin ang="12000000" scaled="0"/>
            <a:tileRect/>
          </a:gra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sz="1800"/>
          </a:p>
        </p:txBody>
      </p:sp>
      <p:pic>
        <p:nvPicPr>
          <p:cNvPr id="15" name="Graphic 14">
            <a:extLst>
              <a:ext uri="{FF2B5EF4-FFF2-40B4-BE49-F238E27FC236}">
                <a16:creationId xmlns:a16="http://schemas.microsoft.com/office/drawing/2014/main" id="{6CB4149F-01E9-40A8-AF6C-99D38407C9F0}"/>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51496" y="6405894"/>
            <a:ext cx="152400" cy="330200"/>
          </a:xfrm>
          <a:prstGeom prst="rect">
            <a:avLst/>
          </a:prstGeom>
        </p:spPr>
      </p:pic>
    </p:spTree>
    <p:extLst>
      <p:ext uri="{BB962C8B-B14F-4D97-AF65-F5344CB8AC3E}">
        <p14:creationId xmlns:p14="http://schemas.microsoft.com/office/powerpoint/2010/main" val="166003642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Section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extLst>
              <p:ext uri="{D42A27DB-BD31-4B8C-83A1-F6EECF244321}">
                <p14:modId xmlns:p14="http://schemas.microsoft.com/office/powerpoint/2010/main" val="1561619277"/>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5" name="Object 4"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27" name="Text Placeholder 19"/>
          <p:cNvSpPr>
            <a:spLocks noGrp="1"/>
          </p:cNvSpPr>
          <p:nvPr>
            <p:ph type="body" sz="quarter" idx="26" hasCustomPrompt="1"/>
          </p:nvPr>
        </p:nvSpPr>
        <p:spPr>
          <a:xfrm>
            <a:off x="601132" y="1376604"/>
            <a:ext cx="813600" cy="1468679"/>
          </a:xfrm>
          <a:noFill/>
          <a:ln>
            <a:noFill/>
          </a:ln>
        </p:spPr>
        <p:txBody>
          <a:bodyPr anchor="ctr">
            <a:normAutofit/>
          </a:bodyPr>
          <a:lstStyle>
            <a:lvl1pPr marL="3175" indent="0" algn="ctr">
              <a:buNone/>
              <a:defRPr sz="800" b="0" i="1" baseline="0">
                <a:solidFill>
                  <a:schemeClr val="bg2">
                    <a:lumMod val="75000"/>
                  </a:schemeClr>
                </a:solidFill>
              </a:defRPr>
            </a:lvl1pPr>
          </a:lstStyle>
          <a:p>
            <a:pPr lvl="0"/>
            <a:r>
              <a:rPr lang="en-US"/>
              <a:t>Icon</a:t>
            </a:r>
          </a:p>
          <a:p>
            <a:pPr lvl="0"/>
            <a:r>
              <a:rPr lang="en-US"/>
              <a:t>Remove Once Icon is Added</a:t>
            </a:r>
          </a:p>
        </p:txBody>
      </p:sp>
      <p:sp>
        <p:nvSpPr>
          <p:cNvPr id="17" name="Text Placeholder 19"/>
          <p:cNvSpPr>
            <a:spLocks noGrp="1"/>
          </p:cNvSpPr>
          <p:nvPr>
            <p:ph type="body" sz="quarter" idx="30" hasCustomPrompt="1"/>
          </p:nvPr>
        </p:nvSpPr>
        <p:spPr>
          <a:xfrm>
            <a:off x="609601" y="3194302"/>
            <a:ext cx="805131" cy="1463675"/>
          </a:xfrm>
          <a:noFill/>
          <a:ln>
            <a:noFill/>
          </a:ln>
        </p:spPr>
        <p:txBody>
          <a:bodyPr anchor="ctr">
            <a:normAutofit/>
          </a:bodyPr>
          <a:lstStyle>
            <a:lvl1pPr marL="3175" marR="0" indent="0" algn="ctr" defTabSz="914400" rtl="0" eaLnBrk="1" fontAlgn="auto" latinLnBrk="0" hangingPunct="1">
              <a:lnSpc>
                <a:spcPct val="100000"/>
              </a:lnSpc>
              <a:spcBef>
                <a:spcPts val="600"/>
              </a:spcBef>
              <a:spcAft>
                <a:spcPts val="0"/>
              </a:spcAft>
              <a:buClr>
                <a:schemeClr val="tx1">
                  <a:lumMod val="50000"/>
                  <a:lumOff val="50000"/>
                </a:schemeClr>
              </a:buClr>
              <a:buSzTx/>
              <a:buFont typeface="Arial" panose="020B0604020202020204" pitchFamily="34" charset="0"/>
              <a:buNone/>
              <a:tabLst/>
              <a:defRPr sz="800" b="0" i="1" baseline="0">
                <a:solidFill>
                  <a:schemeClr val="bg2">
                    <a:lumMod val="75000"/>
                  </a:schemeClr>
                </a:solidFill>
              </a:defRPr>
            </a:lvl1pPr>
          </a:lstStyle>
          <a:p>
            <a:pPr lvl="0"/>
            <a:r>
              <a:rPr lang="en-US"/>
              <a:t>Icon</a:t>
            </a:r>
          </a:p>
          <a:p>
            <a:pPr marL="3175" marR="0" lvl="0" indent="0" algn="ctr" defTabSz="914400" rtl="0" eaLnBrk="1" fontAlgn="auto" latinLnBrk="0" hangingPunct="1">
              <a:lnSpc>
                <a:spcPct val="100000"/>
              </a:lnSpc>
              <a:spcBef>
                <a:spcPts val="600"/>
              </a:spcBef>
              <a:spcAft>
                <a:spcPts val="0"/>
              </a:spcAft>
              <a:buClr>
                <a:schemeClr val="tx1">
                  <a:lumMod val="50000"/>
                  <a:lumOff val="50000"/>
                </a:schemeClr>
              </a:buClr>
              <a:buSzTx/>
              <a:buFont typeface="Arial" panose="020B0604020202020204" pitchFamily="34" charset="0"/>
              <a:buNone/>
              <a:tabLst/>
              <a:defRPr/>
            </a:pPr>
            <a:r>
              <a:rPr lang="en-US"/>
              <a:t>Remove Once Icon is Added</a:t>
            </a:r>
          </a:p>
        </p:txBody>
      </p:sp>
      <p:sp>
        <p:nvSpPr>
          <p:cNvPr id="19" name="Text Placeholder 19"/>
          <p:cNvSpPr>
            <a:spLocks noGrp="1"/>
          </p:cNvSpPr>
          <p:nvPr>
            <p:ph type="body" sz="quarter" idx="32" hasCustomPrompt="1"/>
          </p:nvPr>
        </p:nvSpPr>
        <p:spPr>
          <a:xfrm>
            <a:off x="601132" y="4984742"/>
            <a:ext cx="813600" cy="1463675"/>
          </a:xfrm>
          <a:noFill/>
          <a:ln>
            <a:noFill/>
          </a:ln>
        </p:spPr>
        <p:txBody>
          <a:bodyPr anchor="ctr">
            <a:normAutofit/>
          </a:bodyPr>
          <a:lstStyle>
            <a:lvl1pPr marL="3175" marR="0" indent="0" algn="ctr" defTabSz="914400" rtl="0" eaLnBrk="1" fontAlgn="auto" latinLnBrk="0" hangingPunct="1">
              <a:lnSpc>
                <a:spcPct val="100000"/>
              </a:lnSpc>
              <a:spcBef>
                <a:spcPts val="600"/>
              </a:spcBef>
              <a:spcAft>
                <a:spcPts val="0"/>
              </a:spcAft>
              <a:buClr>
                <a:schemeClr val="tx1">
                  <a:lumMod val="50000"/>
                  <a:lumOff val="50000"/>
                </a:schemeClr>
              </a:buClr>
              <a:buSzTx/>
              <a:buFont typeface="Arial" panose="020B0604020202020204" pitchFamily="34" charset="0"/>
              <a:buNone/>
              <a:tabLst/>
              <a:defRPr sz="800" b="0" i="1" baseline="0">
                <a:solidFill>
                  <a:schemeClr val="bg2">
                    <a:lumMod val="75000"/>
                  </a:schemeClr>
                </a:solidFill>
              </a:defRPr>
            </a:lvl1pPr>
          </a:lstStyle>
          <a:p>
            <a:pPr lvl="0"/>
            <a:r>
              <a:rPr lang="en-US"/>
              <a:t>Icon</a:t>
            </a:r>
          </a:p>
          <a:p>
            <a:pPr marL="3175" marR="0" lvl="0" indent="0" algn="ctr" defTabSz="914400" rtl="0" eaLnBrk="1" fontAlgn="auto" latinLnBrk="0" hangingPunct="1">
              <a:lnSpc>
                <a:spcPct val="100000"/>
              </a:lnSpc>
              <a:spcBef>
                <a:spcPts val="600"/>
              </a:spcBef>
              <a:spcAft>
                <a:spcPts val="0"/>
              </a:spcAft>
              <a:buClr>
                <a:schemeClr val="tx1">
                  <a:lumMod val="50000"/>
                  <a:lumOff val="50000"/>
                </a:schemeClr>
              </a:buClr>
              <a:buSzTx/>
              <a:buFont typeface="Arial" panose="020B0604020202020204" pitchFamily="34" charset="0"/>
              <a:buNone/>
              <a:tabLst/>
              <a:defRPr/>
            </a:pPr>
            <a:r>
              <a:rPr lang="en-US"/>
              <a:t>Remove Once Icon is Added</a:t>
            </a:r>
          </a:p>
        </p:txBody>
      </p:sp>
      <p:sp>
        <p:nvSpPr>
          <p:cNvPr id="4" name="Text Placeholder 3"/>
          <p:cNvSpPr>
            <a:spLocks noGrp="1"/>
          </p:cNvSpPr>
          <p:nvPr>
            <p:ph type="body" sz="quarter" idx="29" hasCustomPrompt="1"/>
          </p:nvPr>
        </p:nvSpPr>
        <p:spPr>
          <a:xfrm>
            <a:off x="1414732" y="1376605"/>
            <a:ext cx="1737696" cy="1463675"/>
          </a:xfrm>
        </p:spPr>
        <p:txBody>
          <a:bodyPr anchor="ctr">
            <a:noAutofit/>
          </a:bodyPr>
          <a:lstStyle>
            <a:lvl1pPr marL="3175" indent="0" algn="l">
              <a:buFontTx/>
              <a:buNone/>
              <a:defRPr sz="2000" i="1" baseline="0">
                <a:solidFill>
                  <a:schemeClr val="tx1"/>
                </a:solidFill>
              </a:defRPr>
            </a:lvl1pPr>
          </a:lstStyle>
          <a:p>
            <a:pPr lvl="0"/>
            <a:r>
              <a:rPr lang="en-US"/>
              <a:t>Content Header</a:t>
            </a:r>
          </a:p>
        </p:txBody>
      </p:sp>
      <p:sp>
        <p:nvSpPr>
          <p:cNvPr id="18" name="Text Placeholder 3"/>
          <p:cNvSpPr>
            <a:spLocks noGrp="1"/>
          </p:cNvSpPr>
          <p:nvPr>
            <p:ph type="body" sz="quarter" idx="31" hasCustomPrompt="1"/>
          </p:nvPr>
        </p:nvSpPr>
        <p:spPr>
          <a:xfrm>
            <a:off x="1414732" y="3194303"/>
            <a:ext cx="1737696" cy="1463675"/>
          </a:xfrm>
        </p:spPr>
        <p:txBody>
          <a:bodyPr anchor="ctr">
            <a:noAutofit/>
          </a:bodyPr>
          <a:lstStyle>
            <a:lvl1pPr marL="3175" indent="0" algn="l">
              <a:buFontTx/>
              <a:buNone/>
              <a:defRPr sz="2000" i="1" baseline="0">
                <a:solidFill>
                  <a:schemeClr val="tx1"/>
                </a:solidFill>
              </a:defRPr>
            </a:lvl1pPr>
          </a:lstStyle>
          <a:p>
            <a:pPr lvl="0"/>
            <a:r>
              <a:rPr lang="en-US"/>
              <a:t>Content Header</a:t>
            </a:r>
          </a:p>
        </p:txBody>
      </p:sp>
      <p:sp>
        <p:nvSpPr>
          <p:cNvPr id="20" name="Text Placeholder 3"/>
          <p:cNvSpPr>
            <a:spLocks noGrp="1"/>
          </p:cNvSpPr>
          <p:nvPr>
            <p:ph type="body" sz="quarter" idx="33" hasCustomPrompt="1"/>
          </p:nvPr>
        </p:nvSpPr>
        <p:spPr>
          <a:xfrm>
            <a:off x="1414732" y="4984743"/>
            <a:ext cx="1737696" cy="1463675"/>
          </a:xfrm>
        </p:spPr>
        <p:txBody>
          <a:bodyPr anchor="ctr">
            <a:noAutofit/>
          </a:bodyPr>
          <a:lstStyle>
            <a:lvl1pPr marL="3175" indent="0" algn="l">
              <a:buFontTx/>
              <a:buNone/>
              <a:defRPr sz="2000" i="1" baseline="0">
                <a:solidFill>
                  <a:schemeClr val="tx1"/>
                </a:solidFill>
              </a:defRPr>
            </a:lvl1pPr>
          </a:lstStyle>
          <a:p>
            <a:pPr lvl="0"/>
            <a:r>
              <a:rPr lang="en-US"/>
              <a:t>Content Header</a:t>
            </a:r>
          </a:p>
        </p:txBody>
      </p:sp>
      <p:sp>
        <p:nvSpPr>
          <p:cNvPr id="2" name="Title 1"/>
          <p:cNvSpPr>
            <a:spLocks noGrp="1"/>
          </p:cNvSpPr>
          <p:nvPr>
            <p:ph type="title" hasCustomPrompt="1"/>
          </p:nvPr>
        </p:nvSpPr>
        <p:spPr/>
        <p:txBody>
          <a:bodyPr vert="horz" anchor="ctr"/>
          <a:lstStyle>
            <a:lvl1pPr>
              <a:defRPr b="0">
                <a:solidFill>
                  <a:schemeClr val="tx1"/>
                </a:solidFill>
              </a:defRPr>
            </a:lvl1pPr>
          </a:lstStyle>
          <a:p>
            <a:r>
              <a:rPr lang="en-US"/>
              <a:t>Content Title Line 1</a:t>
            </a:r>
            <a:br>
              <a:rPr lang="en-US"/>
            </a:br>
            <a:r>
              <a:rPr lang="en-US"/>
              <a:t>Content Title Line Continued</a:t>
            </a:r>
          </a:p>
        </p:txBody>
      </p:sp>
      <p:sp>
        <p:nvSpPr>
          <p:cNvPr id="13" name="Slide Number Placeholder 5"/>
          <p:cNvSpPr txBox="1">
            <a:spLocks/>
          </p:cNvSpPr>
          <p:nvPr userDrawn="1"/>
        </p:nvSpPr>
        <p:spPr>
          <a:xfrm>
            <a:off x="11672714" y="6626677"/>
            <a:ext cx="475287" cy="154849"/>
          </a:xfrm>
          <a:prstGeom prst="rect">
            <a:avLst/>
          </a:prstGeom>
        </p:spPr>
        <p:txBody>
          <a:bodyPr anchor="ctr"/>
          <a:lstStyle>
            <a:defPPr>
              <a:defRPr lang="en-US"/>
            </a:defPPr>
            <a:lvl1pPr marL="0" algn="l"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29561F6A-E2B6-43F1-8866-24E01C368EF0}" type="slidenum">
              <a:rPr lang="en-US" sz="900" smtClean="0">
                <a:solidFill>
                  <a:schemeClr val="accent1"/>
                </a:solidFill>
              </a:rPr>
              <a:pPr algn="ctr"/>
              <a:t>‹#›</a:t>
            </a:fld>
            <a:endParaRPr lang="en-US" sz="900">
              <a:solidFill>
                <a:schemeClr val="accent1"/>
              </a:solidFill>
            </a:endParaRPr>
          </a:p>
        </p:txBody>
      </p:sp>
      <p:sp>
        <p:nvSpPr>
          <p:cNvPr id="14" name="Text Placeholder 10"/>
          <p:cNvSpPr>
            <a:spLocks noGrp="1"/>
          </p:cNvSpPr>
          <p:nvPr>
            <p:ph type="body" sz="quarter" idx="17"/>
          </p:nvPr>
        </p:nvSpPr>
        <p:spPr>
          <a:xfrm>
            <a:off x="3151517" y="1371600"/>
            <a:ext cx="8430883" cy="1465052"/>
          </a:xfrm>
          <a:ln>
            <a:noFill/>
          </a:ln>
        </p:spPr>
        <p:txBody>
          <a:bodyPr anchor="ctr">
            <a:noAutofit/>
          </a:bodyPr>
          <a:lstStyle>
            <a:lvl1pPr>
              <a:defRPr>
                <a:solidFill>
                  <a:schemeClr val="tx1"/>
                </a:solidFill>
              </a:defRPr>
            </a:lvl1pPr>
            <a:lvl2pPr>
              <a:defRPr>
                <a:solidFill>
                  <a:schemeClr val="accent1"/>
                </a:solidFill>
              </a:defRPr>
            </a:lvl2pPr>
            <a:lvl3pPr>
              <a:defRPr>
                <a:solidFill>
                  <a:schemeClr val="bg2">
                    <a:lumMod val="50000"/>
                  </a:schemeClr>
                </a:solidFill>
              </a:defRPr>
            </a:lvl3pPr>
            <a:lvl4pPr>
              <a:defRPr>
                <a:solidFill>
                  <a:schemeClr val="bg2">
                    <a:lumMod val="50000"/>
                  </a:schemeClr>
                </a:solidFill>
              </a:defRPr>
            </a:lvl4pPr>
            <a:lvl5pPr>
              <a:defRPr>
                <a:solidFill>
                  <a:schemeClr val="bg2">
                    <a:lumMod val="50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Text Placeholder 10"/>
          <p:cNvSpPr>
            <a:spLocks noGrp="1"/>
          </p:cNvSpPr>
          <p:nvPr>
            <p:ph type="body" sz="quarter" idx="18"/>
          </p:nvPr>
        </p:nvSpPr>
        <p:spPr>
          <a:xfrm>
            <a:off x="3151517" y="3194938"/>
            <a:ext cx="8430883" cy="1463040"/>
          </a:xfrm>
          <a:ln>
            <a:noFill/>
          </a:ln>
        </p:spPr>
        <p:txBody>
          <a:bodyPr anchor="ctr">
            <a:noAutofit/>
          </a:bodyPr>
          <a:lstStyle>
            <a:lvl1pPr>
              <a:defRPr>
                <a:solidFill>
                  <a:schemeClr val="tx1"/>
                </a:solidFill>
              </a:defRPr>
            </a:lvl1pPr>
            <a:lvl2pPr>
              <a:defRPr>
                <a:solidFill>
                  <a:schemeClr val="accent1"/>
                </a:solidFill>
              </a:defRPr>
            </a:lvl2pPr>
            <a:lvl3pPr>
              <a:defRPr>
                <a:solidFill>
                  <a:schemeClr val="bg2">
                    <a:lumMod val="50000"/>
                  </a:schemeClr>
                </a:solidFill>
              </a:defRPr>
            </a:lvl3pPr>
            <a:lvl4pPr>
              <a:defRPr>
                <a:solidFill>
                  <a:schemeClr val="bg2">
                    <a:lumMod val="50000"/>
                  </a:schemeClr>
                </a:solidFill>
              </a:defRPr>
            </a:lvl4pPr>
            <a:lvl5pPr>
              <a:defRPr>
                <a:solidFill>
                  <a:schemeClr val="bg2">
                    <a:lumMod val="50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ext Placeholder 10"/>
          <p:cNvSpPr>
            <a:spLocks noGrp="1"/>
          </p:cNvSpPr>
          <p:nvPr>
            <p:ph type="body" sz="quarter" idx="19"/>
          </p:nvPr>
        </p:nvSpPr>
        <p:spPr>
          <a:xfrm>
            <a:off x="3151517" y="4990381"/>
            <a:ext cx="8430883" cy="1463040"/>
          </a:xfrm>
          <a:ln>
            <a:noFill/>
          </a:ln>
        </p:spPr>
        <p:txBody>
          <a:bodyPr anchor="ctr">
            <a:noAutofit/>
          </a:bodyPr>
          <a:lstStyle>
            <a:lvl1pPr>
              <a:defRPr>
                <a:solidFill>
                  <a:schemeClr val="tx1"/>
                </a:solidFill>
              </a:defRPr>
            </a:lvl1pPr>
            <a:lvl2pPr>
              <a:defRPr>
                <a:solidFill>
                  <a:schemeClr val="accent1"/>
                </a:solidFill>
              </a:defRPr>
            </a:lvl2pPr>
            <a:lvl3pPr>
              <a:defRPr>
                <a:solidFill>
                  <a:schemeClr val="bg2">
                    <a:lumMod val="50000"/>
                  </a:schemeClr>
                </a:solidFill>
              </a:defRPr>
            </a:lvl3pPr>
            <a:lvl4pPr>
              <a:defRPr>
                <a:solidFill>
                  <a:schemeClr val="bg2">
                    <a:lumMod val="50000"/>
                  </a:schemeClr>
                </a:solidFill>
              </a:defRPr>
            </a:lvl4pPr>
            <a:lvl5pPr>
              <a:defRPr>
                <a:solidFill>
                  <a:schemeClr val="bg2">
                    <a:lumMod val="50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p:cNvSpPr>
            <a:spLocks noGrp="1"/>
          </p:cNvSpPr>
          <p:nvPr>
            <p:ph type="body" sz="quarter" idx="14" hasCustomPrompt="1"/>
          </p:nvPr>
        </p:nvSpPr>
        <p:spPr>
          <a:xfrm>
            <a:off x="609600" y="6556376"/>
            <a:ext cx="10972800" cy="301625"/>
          </a:xfrm>
        </p:spPr>
        <p:txBody>
          <a:bodyPr anchor="ctr"/>
          <a:lstStyle>
            <a:lvl1pPr marL="3175" marR="0" indent="0" algn="l" defTabSz="914400" rtl="0" eaLnBrk="1" fontAlgn="auto" latinLnBrk="0" hangingPunct="1">
              <a:lnSpc>
                <a:spcPct val="100000"/>
              </a:lnSpc>
              <a:spcBef>
                <a:spcPts val="0"/>
              </a:spcBef>
              <a:spcAft>
                <a:spcPts val="0"/>
              </a:spcAft>
              <a:buClr>
                <a:schemeClr val="tx1">
                  <a:lumMod val="75000"/>
                  <a:lumOff val="25000"/>
                </a:schemeClr>
              </a:buClr>
              <a:buSzTx/>
              <a:buFont typeface="Arial" panose="020B0604020202020204" pitchFamily="34" charset="0"/>
              <a:buNone/>
              <a:tabLst/>
              <a:defRPr sz="900" b="0">
                <a:solidFill>
                  <a:schemeClr val="bg2">
                    <a:lumMod val="50000"/>
                  </a:schemeClr>
                </a:solidFill>
              </a:defRPr>
            </a:lvl1pPr>
            <a:lvl2pPr>
              <a:spcBef>
                <a:spcPts val="0"/>
              </a:spcBef>
              <a:defRPr/>
            </a:lvl2pPr>
            <a:lvl3pPr>
              <a:spcBef>
                <a:spcPts val="0"/>
              </a:spcBef>
              <a:defRPr/>
            </a:lvl3pPr>
            <a:lvl4pPr>
              <a:spcBef>
                <a:spcPts val="0"/>
              </a:spcBef>
              <a:defRPr/>
            </a:lvl4pPr>
            <a:lvl5pPr>
              <a:spcBef>
                <a:spcPts val="0"/>
              </a:spcBef>
              <a:defRPr/>
            </a:lvl5pPr>
          </a:lstStyle>
          <a:p>
            <a:pPr marL="3175" marR="0" lvl="0" indent="0" algn="l" defTabSz="914400" rtl="0" eaLnBrk="1" fontAlgn="auto" latinLnBrk="0" hangingPunct="1">
              <a:lnSpc>
                <a:spcPct val="100000"/>
              </a:lnSpc>
              <a:spcBef>
                <a:spcPts val="0"/>
              </a:spcBef>
              <a:spcAft>
                <a:spcPts val="0"/>
              </a:spcAft>
              <a:buClr>
                <a:schemeClr val="tx1">
                  <a:lumMod val="75000"/>
                  <a:lumOff val="25000"/>
                </a:schemeClr>
              </a:buClr>
              <a:buSzTx/>
              <a:buFont typeface="Arial" panose="020B0604020202020204" pitchFamily="34" charset="0"/>
              <a:buNone/>
              <a:tabLst/>
              <a:defRPr/>
            </a:pPr>
            <a:r>
              <a:rPr lang="en-US"/>
              <a:t>Sources/Notes section in 9 point </a:t>
            </a:r>
            <a:r>
              <a:rPr lang="en-US" b="1"/>
              <a:t>White, Darker 50%</a:t>
            </a:r>
          </a:p>
        </p:txBody>
      </p:sp>
      <p:sp>
        <p:nvSpPr>
          <p:cNvPr id="22" name="Isosceles Triangle 7"/>
          <p:cNvSpPr/>
          <p:nvPr userDrawn="1"/>
        </p:nvSpPr>
        <p:spPr>
          <a:xfrm rot="5400000">
            <a:off x="-526920" y="526918"/>
            <a:ext cx="1203355" cy="149527"/>
          </a:xfrm>
          <a:prstGeom prst="triangle">
            <a:avLst>
              <a:gd name="adj" fmla="val 84814"/>
            </a:avLst>
          </a:prstGeom>
          <a:gradFill flip="none" rotWithShape="1">
            <a:gsLst>
              <a:gs pos="0">
                <a:schemeClr val="accent3">
                  <a:lumMod val="75000"/>
                </a:schemeClr>
              </a:gs>
              <a:gs pos="21000">
                <a:srgbClr val="4F74A0"/>
              </a:gs>
              <a:gs pos="100000">
                <a:srgbClr val="A0C1D6"/>
              </a:gs>
            </a:gsLst>
            <a:lin ang="12000000" scaled="0"/>
            <a:tileRect/>
          </a:gra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sz="1800"/>
          </a:p>
        </p:txBody>
      </p:sp>
      <p:pic>
        <p:nvPicPr>
          <p:cNvPr id="24" name="Graphic 23">
            <a:extLst>
              <a:ext uri="{FF2B5EF4-FFF2-40B4-BE49-F238E27FC236}">
                <a16:creationId xmlns:a16="http://schemas.microsoft.com/office/drawing/2014/main" id="{649DDDAE-420B-49B1-A0A6-E18343F11A05}"/>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51496" y="6405894"/>
            <a:ext cx="152400" cy="330200"/>
          </a:xfrm>
          <a:prstGeom prst="rect">
            <a:avLst/>
          </a:prstGeom>
        </p:spPr>
      </p:pic>
    </p:spTree>
    <p:extLst>
      <p:ext uri="{BB962C8B-B14F-4D97-AF65-F5344CB8AC3E}">
        <p14:creationId xmlns:p14="http://schemas.microsoft.com/office/powerpoint/2010/main" val="143940414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Blank Slide">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extLst>
              <p:ext uri="{D42A27DB-BD31-4B8C-83A1-F6EECF244321}">
                <p14:modId xmlns:p14="http://schemas.microsoft.com/office/powerpoint/2010/main" val="4192929100"/>
              </p:ext>
            </p:extLst>
          </p:nvPr>
        </p:nvGraphicFramePr>
        <p:xfrm>
          <a:off x="2119" y="1593"/>
          <a:ext cx="2116" cy="1587"/>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6" name="Object 5" hidden="1"/>
                      <p:cNvPicPr/>
                      <p:nvPr/>
                    </p:nvPicPr>
                    <p:blipFill>
                      <a:blip r:embed="rId4"/>
                      <a:stretch>
                        <a:fillRect/>
                      </a:stretch>
                    </p:blipFill>
                    <p:spPr>
                      <a:xfrm>
                        <a:off x="2119" y="1593"/>
                        <a:ext cx="2116" cy="1587"/>
                      </a:xfrm>
                      <a:prstGeom prst="rect">
                        <a:avLst/>
                      </a:prstGeom>
                    </p:spPr>
                  </p:pic>
                </p:oleObj>
              </mc:Fallback>
            </mc:AlternateContent>
          </a:graphicData>
        </a:graphic>
      </p:graphicFrame>
      <p:sp>
        <p:nvSpPr>
          <p:cNvPr id="5" name="Slide Number Placeholder 5"/>
          <p:cNvSpPr txBox="1">
            <a:spLocks/>
          </p:cNvSpPr>
          <p:nvPr userDrawn="1"/>
        </p:nvSpPr>
        <p:spPr>
          <a:xfrm>
            <a:off x="11672714" y="6626677"/>
            <a:ext cx="475287" cy="154849"/>
          </a:xfrm>
          <a:prstGeom prst="rect">
            <a:avLst/>
          </a:prstGeom>
        </p:spPr>
        <p:txBody>
          <a:bodyPr anchor="ctr"/>
          <a:lstStyle>
            <a:defPPr>
              <a:defRPr lang="en-US"/>
            </a:defPPr>
            <a:lvl1pPr marL="0" algn="l"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29561F6A-E2B6-43F1-8866-24E01C368EF0}" type="slidenum">
              <a:rPr lang="en-US" sz="900" smtClean="0">
                <a:solidFill>
                  <a:schemeClr val="accent1"/>
                </a:solidFill>
              </a:rPr>
              <a:pPr algn="ctr"/>
              <a:t>‹#›</a:t>
            </a:fld>
            <a:endParaRPr lang="en-US" sz="900">
              <a:solidFill>
                <a:schemeClr val="accent1"/>
              </a:solidFill>
            </a:endParaRPr>
          </a:p>
        </p:txBody>
      </p:sp>
      <p:pic>
        <p:nvPicPr>
          <p:cNvPr id="7" name="Graphic 6">
            <a:extLst>
              <a:ext uri="{FF2B5EF4-FFF2-40B4-BE49-F238E27FC236}">
                <a16:creationId xmlns:a16="http://schemas.microsoft.com/office/drawing/2014/main" id="{5DD8CBB5-720A-4D3E-9302-3581E36DBE09}"/>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51496" y="6405894"/>
            <a:ext cx="152400" cy="330200"/>
          </a:xfrm>
          <a:prstGeom prst="rect">
            <a:avLst/>
          </a:prstGeom>
        </p:spPr>
      </p:pic>
      <p:sp>
        <p:nvSpPr>
          <p:cNvPr id="8" name="Isosceles Triangle 7">
            <a:extLst>
              <a:ext uri="{FF2B5EF4-FFF2-40B4-BE49-F238E27FC236}">
                <a16:creationId xmlns:a16="http://schemas.microsoft.com/office/drawing/2014/main" id="{DD36AA67-2249-4498-A83A-109C81843B94}"/>
              </a:ext>
            </a:extLst>
          </p:cNvPr>
          <p:cNvSpPr/>
          <p:nvPr userDrawn="1"/>
        </p:nvSpPr>
        <p:spPr>
          <a:xfrm rot="5400000">
            <a:off x="-526920" y="526918"/>
            <a:ext cx="1203355" cy="149527"/>
          </a:xfrm>
          <a:prstGeom prst="triangle">
            <a:avLst>
              <a:gd name="adj" fmla="val 84814"/>
            </a:avLst>
          </a:prstGeom>
          <a:gradFill flip="none" rotWithShape="1">
            <a:gsLst>
              <a:gs pos="0">
                <a:schemeClr val="accent3">
                  <a:lumMod val="75000"/>
                </a:schemeClr>
              </a:gs>
              <a:gs pos="21000">
                <a:srgbClr val="4F74A0"/>
              </a:gs>
              <a:gs pos="100000">
                <a:srgbClr val="A0C1D6"/>
              </a:gs>
            </a:gsLst>
            <a:lin ang="12000000" scaled="0"/>
            <a:tileRect/>
          </a:gra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sz="1800"/>
          </a:p>
        </p:txBody>
      </p:sp>
    </p:spTree>
    <p:extLst>
      <p:ext uri="{BB962C8B-B14F-4D97-AF65-F5344CB8AC3E}">
        <p14:creationId xmlns:p14="http://schemas.microsoft.com/office/powerpoint/2010/main" val="1439218613"/>
      </p:ext>
    </p:extLst>
  </p:cSld>
  <p:clrMapOvr>
    <a:masterClrMapping/>
  </p:clrMapOvr>
  <p:hf hdr="0" dt="0"/>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Final Slide">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userDrawn="1">
            <p:custDataLst>
              <p:tags r:id="rId1"/>
            </p:custDataLst>
            <p:extLst>
              <p:ext uri="{D42A27DB-BD31-4B8C-83A1-F6EECF244321}">
                <p14:modId xmlns:p14="http://schemas.microsoft.com/office/powerpoint/2010/main" val="1761140143"/>
              </p:ext>
            </p:extLst>
          </p:nvPr>
        </p:nvGraphicFramePr>
        <p:xfrm>
          <a:off x="2119" y="1591"/>
          <a:ext cx="2116" cy="1587"/>
        </p:xfrm>
        <a:graphic>
          <a:graphicData uri="http://schemas.openxmlformats.org/presentationml/2006/ole">
            <mc:AlternateContent xmlns:mc="http://schemas.openxmlformats.org/markup-compatibility/2006">
              <mc:Choice xmlns:v="urn:schemas-microsoft-com:vml" Requires="v">
                <p:oleObj name="think-cell Slide" r:id="rId3" imgW="421" imgH="420" progId="TCLayout.ActiveDocument.1">
                  <p:embed/>
                </p:oleObj>
              </mc:Choice>
              <mc:Fallback>
                <p:oleObj name="think-cell Slide" r:id="rId3" imgW="421" imgH="420" progId="TCLayout.ActiveDocument.1">
                  <p:embed/>
                  <p:pic>
                    <p:nvPicPr>
                      <p:cNvPr id="9" name="Object 8" hidden="1"/>
                      <p:cNvPicPr/>
                      <p:nvPr/>
                    </p:nvPicPr>
                    <p:blipFill>
                      <a:blip r:embed="rId4"/>
                      <a:stretch>
                        <a:fillRect/>
                      </a:stretch>
                    </p:blipFill>
                    <p:spPr>
                      <a:xfrm>
                        <a:off x="2119" y="1591"/>
                        <a:ext cx="2116" cy="1587"/>
                      </a:xfrm>
                      <a:prstGeom prst="rect">
                        <a:avLst/>
                      </a:prstGeom>
                    </p:spPr>
                  </p:pic>
                </p:oleObj>
              </mc:Fallback>
            </mc:AlternateContent>
          </a:graphicData>
        </a:graphic>
      </p:graphicFrame>
      <p:pic>
        <p:nvPicPr>
          <p:cNvPr id="31" name="Picture 30"/>
          <p:cNvPicPr>
            <a:picLocks noChangeAspect="1"/>
          </p:cNvPicPr>
          <p:nvPr userDrawn="1"/>
        </p:nvPicPr>
        <p:blipFill>
          <a:blip r:embed="rId5" cstate="print">
            <a:extLst>
              <a:ext uri="{28A0092B-C50C-407E-A947-70E740481C1C}">
                <a14:useLocalDpi xmlns:a14="http://schemas.microsoft.com/office/drawing/2010/main" val="0"/>
              </a:ext>
            </a:extLst>
          </a:blip>
          <a:srcRect/>
          <a:stretch/>
        </p:blipFill>
        <p:spPr>
          <a:xfrm>
            <a:off x="4358338" y="0"/>
            <a:ext cx="7833663" cy="1479691"/>
          </a:xfrm>
          <a:prstGeom prst="rect">
            <a:avLst/>
          </a:prstGeom>
        </p:spPr>
      </p:pic>
      <p:sp>
        <p:nvSpPr>
          <p:cNvPr id="55" name="Isosceles Triangle 34">
            <a:extLst>
              <a:ext uri="{FF2B5EF4-FFF2-40B4-BE49-F238E27FC236}">
                <a16:creationId xmlns:a16="http://schemas.microsoft.com/office/drawing/2014/main" id="{E94C9310-F41D-E14E-BD00-755814005A74}"/>
              </a:ext>
            </a:extLst>
          </p:cNvPr>
          <p:cNvSpPr/>
          <p:nvPr userDrawn="1"/>
        </p:nvSpPr>
        <p:spPr>
          <a:xfrm>
            <a:off x="4267200" y="0"/>
            <a:ext cx="7924800" cy="1481584"/>
          </a:xfrm>
          <a:prstGeom prst="triangle">
            <a:avLst>
              <a:gd name="adj" fmla="val 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53" name="Right Triangle 52">
            <a:extLst>
              <a:ext uri="{FF2B5EF4-FFF2-40B4-BE49-F238E27FC236}">
                <a16:creationId xmlns:a16="http://schemas.microsoft.com/office/drawing/2014/main" id="{FB6E33E6-376A-0341-BD75-69AEF908BC54}"/>
              </a:ext>
            </a:extLst>
          </p:cNvPr>
          <p:cNvSpPr/>
          <p:nvPr userDrawn="1"/>
        </p:nvSpPr>
        <p:spPr>
          <a:xfrm rot="5400000">
            <a:off x="3228839" y="-3228841"/>
            <a:ext cx="1479688" cy="7937376"/>
          </a:xfrm>
          <a:prstGeom prst="rtTriangle">
            <a:avLst/>
          </a:prstGeom>
          <a:gradFill flip="none" rotWithShape="1">
            <a:gsLst>
              <a:gs pos="0">
                <a:srgbClr val="3A4254"/>
              </a:gs>
              <a:gs pos="82000">
                <a:srgbClr val="789ABD">
                  <a:alpha val="75000"/>
                </a:srgbClr>
              </a:gs>
              <a:gs pos="53000">
                <a:srgbClr val="6287B3"/>
              </a:gs>
              <a:gs pos="100000">
                <a:srgbClr val="ABC3D6">
                  <a:alpha val="60000"/>
                </a:srgbClr>
              </a:gs>
            </a:gsLst>
            <a:lin ang="12600000" scaled="0"/>
            <a:tileRect/>
          </a:gra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sz="1800"/>
          </a:p>
        </p:txBody>
      </p:sp>
      <p:sp>
        <p:nvSpPr>
          <p:cNvPr id="7" name="Rectangle 6">
            <a:hlinkClick r:id="rId6"/>
          </p:cNvPr>
          <p:cNvSpPr/>
          <p:nvPr userDrawn="1"/>
        </p:nvSpPr>
        <p:spPr>
          <a:xfrm>
            <a:off x="9373415" y="6568882"/>
            <a:ext cx="1307285" cy="194733"/>
          </a:xfrm>
          <a:prstGeom prst="rect">
            <a:avLst/>
          </a:prstGeom>
          <a:noFill/>
          <a:ln>
            <a:noFill/>
          </a:ln>
        </p:spPr>
        <p:style>
          <a:lnRef idx="2">
            <a:schemeClr val="accent1"/>
          </a:lnRef>
          <a:fillRef idx="1">
            <a:schemeClr val="lt1"/>
          </a:fillRef>
          <a:effectRef idx="0">
            <a:schemeClr val="accent1"/>
          </a:effectRef>
          <a:fontRef idx="minor">
            <a:schemeClr val="dk1"/>
          </a:fontRef>
        </p:style>
        <p:txBody>
          <a:bodyPr rtlCol="0" anchor="ctr"/>
          <a:lstStyle/>
          <a:p>
            <a:pPr algn="r"/>
            <a:r>
              <a:rPr lang="en-US" sz="1000" b="0" i="0">
                <a:solidFill>
                  <a:schemeClr val="bg2">
                    <a:lumMod val="65000"/>
                  </a:schemeClr>
                </a:solidFill>
              </a:rPr>
              <a:t>TRINITY</a:t>
            </a:r>
            <a:r>
              <a:rPr lang="en-US" sz="1000" b="0" i="0" baseline="0">
                <a:solidFill>
                  <a:schemeClr val="bg2">
                    <a:lumMod val="65000"/>
                  </a:schemeClr>
                </a:solidFill>
              </a:rPr>
              <a:t>, LLC</a:t>
            </a:r>
            <a:endParaRPr lang="en-US" sz="1000" b="0" i="0">
              <a:solidFill>
                <a:schemeClr val="bg2">
                  <a:lumMod val="65000"/>
                </a:schemeClr>
              </a:solidFill>
            </a:endParaRPr>
          </a:p>
        </p:txBody>
      </p:sp>
      <p:sp>
        <p:nvSpPr>
          <p:cNvPr id="51" name="Rectangle 50">
            <a:hlinkClick r:id="rId6"/>
          </p:cNvPr>
          <p:cNvSpPr/>
          <p:nvPr userDrawn="1"/>
        </p:nvSpPr>
        <p:spPr>
          <a:xfrm>
            <a:off x="1101343" y="6568881"/>
            <a:ext cx="2414291" cy="194734"/>
          </a:xfrm>
          <a:prstGeom prst="rect">
            <a:avLst/>
          </a:prstGeom>
          <a:noFill/>
          <a:ln>
            <a:noFill/>
          </a:ln>
        </p:spPr>
        <p:style>
          <a:lnRef idx="2">
            <a:schemeClr val="accent1"/>
          </a:lnRef>
          <a:fillRef idx="1">
            <a:schemeClr val="lt1"/>
          </a:fillRef>
          <a:effectRef idx="0">
            <a:schemeClr val="accent1"/>
          </a:effectRef>
          <a:fontRef idx="minor">
            <a:schemeClr val="dk1"/>
          </a:fontRef>
        </p:style>
        <p:txBody>
          <a:bodyPr rtlCol="0" anchor="ctr"/>
          <a:lstStyle/>
          <a:p>
            <a:pPr algn="l"/>
            <a:r>
              <a:rPr lang="en-US" sz="900" b="0" i="0">
                <a:solidFill>
                  <a:schemeClr val="bg1">
                    <a:lumMod val="65000"/>
                  </a:schemeClr>
                </a:solidFill>
              </a:rPr>
              <a:t>TRINITYLIFESCIENCES.COM</a:t>
            </a:r>
          </a:p>
        </p:txBody>
      </p:sp>
      <p:pic>
        <p:nvPicPr>
          <p:cNvPr id="64" name="Graphic 63">
            <a:extLst>
              <a:ext uri="{FF2B5EF4-FFF2-40B4-BE49-F238E27FC236}">
                <a16:creationId xmlns:a16="http://schemas.microsoft.com/office/drawing/2014/main" id="{4771A41E-A1E1-4434-B8EA-22E5F4F82DDD}"/>
              </a:ext>
            </a:extLst>
          </p:cNvPr>
          <p:cNvPicPr>
            <a:picLocks noChangeAspect="1"/>
          </p:cNvPicPr>
          <p:nvPr userDrawn="1"/>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4481372" y="788108"/>
            <a:ext cx="3229256" cy="777414"/>
          </a:xfrm>
          <a:prstGeom prst="rect">
            <a:avLst/>
          </a:prstGeom>
        </p:spPr>
      </p:pic>
      <p:pic>
        <p:nvPicPr>
          <p:cNvPr id="87" name="Picture 2" descr="https://blog.twitter.com/sites/all/themes/gazebo/img/twitter-bird-white-on-blue.png">
            <a:hlinkClick r:id="rId9"/>
            <a:extLst>
              <a:ext uri="{FF2B5EF4-FFF2-40B4-BE49-F238E27FC236}">
                <a16:creationId xmlns:a16="http://schemas.microsoft.com/office/drawing/2014/main" id="{49ABFB95-7990-B649-B98E-EBC44641BD1F}"/>
              </a:ext>
            </a:extLst>
          </p:cNvPr>
          <p:cNvPicPr>
            <a:picLocks noChangeAspect="1" noChangeArrowheads="1"/>
          </p:cNvPicPr>
          <p:nvPr userDrawn="1"/>
        </p:nvPicPr>
        <p:blipFill>
          <a:blip r:embed="rId10" cstate="print">
            <a:grayscl/>
            <a:extLst>
              <a:ext uri="{28A0092B-C50C-407E-A947-70E740481C1C}">
                <a14:useLocalDpi xmlns:a14="http://schemas.microsoft.com/office/drawing/2010/main" val="0"/>
              </a:ext>
            </a:extLst>
          </a:blip>
          <a:srcRect/>
          <a:stretch>
            <a:fillRect/>
          </a:stretch>
        </p:blipFill>
        <p:spPr bwMode="auto">
          <a:xfrm>
            <a:off x="10740702" y="6591397"/>
            <a:ext cx="163759" cy="163759"/>
          </a:xfrm>
          <a:prstGeom prst="rect">
            <a:avLst/>
          </a:prstGeom>
          <a:noFill/>
          <a:extLst>
            <a:ext uri="{909E8E84-426E-40DD-AFC4-6F175D3DCCD1}">
              <a14:hiddenFill xmlns:a14="http://schemas.microsoft.com/office/drawing/2010/main">
                <a:solidFill>
                  <a:srgbClr val="FFFFFF"/>
                </a:solidFill>
              </a14:hiddenFill>
            </a:ext>
          </a:extLst>
        </p:spPr>
      </p:pic>
      <p:pic>
        <p:nvPicPr>
          <p:cNvPr id="88" name="Picture 4" descr="Image result for linkedin official logo">
            <a:hlinkClick r:id="rId11"/>
            <a:extLst>
              <a:ext uri="{FF2B5EF4-FFF2-40B4-BE49-F238E27FC236}">
                <a16:creationId xmlns:a16="http://schemas.microsoft.com/office/drawing/2014/main" id="{88CD604B-7B15-B746-9DD6-2FA0BDC908C9}"/>
              </a:ext>
            </a:extLst>
          </p:cNvPr>
          <p:cNvPicPr>
            <a:picLocks noChangeAspect="1" noChangeArrowheads="1"/>
          </p:cNvPicPr>
          <p:nvPr userDrawn="1"/>
        </p:nvPicPr>
        <p:blipFill rotWithShape="1">
          <a:blip r:embed="rId12" cstate="print">
            <a:grayscl/>
            <a:extLst>
              <a:ext uri="{28A0092B-C50C-407E-A947-70E740481C1C}">
                <a14:useLocalDpi xmlns:a14="http://schemas.microsoft.com/office/drawing/2010/main" val="0"/>
              </a:ext>
            </a:extLst>
          </a:blip>
          <a:srcRect l="8067" t="10407" r="10599" b="6547"/>
          <a:stretch/>
        </p:blipFill>
        <p:spPr bwMode="auto">
          <a:xfrm>
            <a:off x="10979559" y="6590564"/>
            <a:ext cx="161198" cy="164592"/>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89" name="Picture 8" descr="https://facebookbrand.com/wp-content/themes/fb-branding/prj-fb-branding/assets/images/fb-art.png">
            <a:hlinkClick r:id="rId13"/>
            <a:extLst>
              <a:ext uri="{FF2B5EF4-FFF2-40B4-BE49-F238E27FC236}">
                <a16:creationId xmlns:a16="http://schemas.microsoft.com/office/drawing/2014/main" id="{50D77134-1206-824B-82B7-5F60A9FD0F17}"/>
              </a:ext>
            </a:extLst>
          </p:cNvPr>
          <p:cNvPicPr>
            <a:picLocks noChangeAspect="1" noChangeArrowheads="1"/>
          </p:cNvPicPr>
          <p:nvPr userDrawn="1"/>
        </p:nvPicPr>
        <p:blipFill rotWithShape="1">
          <a:blip r:embed="rId14" cstate="print">
            <a:grayscl/>
            <a:extLst>
              <a:ext uri="{28A0092B-C50C-407E-A947-70E740481C1C}">
                <a14:useLocalDpi xmlns:a14="http://schemas.microsoft.com/office/drawing/2010/main" val="0"/>
              </a:ext>
            </a:extLst>
          </a:blip>
          <a:srcRect l="7708" t="3031" r="8742" b="7720"/>
          <a:stretch/>
        </p:blipFill>
        <p:spPr bwMode="auto">
          <a:xfrm>
            <a:off x="11215854" y="6590564"/>
            <a:ext cx="154082" cy="164592"/>
          </a:xfrm>
          <a:prstGeom prst="rect">
            <a:avLst/>
          </a:prstGeom>
          <a:noFill/>
          <a:extLst>
            <a:ext uri="{909E8E84-426E-40DD-AFC4-6F175D3DCCD1}">
              <a14:hiddenFill xmlns:a14="http://schemas.microsoft.com/office/drawing/2010/main">
                <a:solidFill>
                  <a:srgbClr val="FFFFFF"/>
                </a:solidFill>
              </a14:hiddenFill>
            </a:ext>
          </a:extLst>
        </p:spPr>
      </p:pic>
      <p:pic>
        <p:nvPicPr>
          <p:cNvPr id="49" name="Graphic 48">
            <a:extLst>
              <a:ext uri="{FF2B5EF4-FFF2-40B4-BE49-F238E27FC236}">
                <a16:creationId xmlns:a16="http://schemas.microsoft.com/office/drawing/2014/main" id="{C1BC4DAE-D695-4420-A09D-C8F6E03B9779}"/>
              </a:ext>
            </a:extLst>
          </p:cNvPr>
          <p:cNvPicPr>
            <a:picLocks noChangeAspect="1"/>
          </p:cNvPicPr>
          <p:nvPr userDrawn="1"/>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151496" y="6405894"/>
            <a:ext cx="152400" cy="330200"/>
          </a:xfrm>
          <a:prstGeom prst="rect">
            <a:avLst/>
          </a:prstGeom>
        </p:spPr>
      </p:pic>
      <p:grpSp>
        <p:nvGrpSpPr>
          <p:cNvPr id="66" name="Group 65">
            <a:extLst>
              <a:ext uri="{FF2B5EF4-FFF2-40B4-BE49-F238E27FC236}">
                <a16:creationId xmlns:a16="http://schemas.microsoft.com/office/drawing/2014/main" id="{76EAD314-1FBB-4CB5-9A1D-83E6CA099C47}"/>
              </a:ext>
            </a:extLst>
          </p:cNvPr>
          <p:cNvGrpSpPr>
            <a:grpSpLocks/>
          </p:cNvGrpSpPr>
          <p:nvPr userDrawn="1"/>
        </p:nvGrpSpPr>
        <p:grpSpPr>
          <a:xfrm>
            <a:off x="2999292" y="3815825"/>
            <a:ext cx="6193416" cy="3042175"/>
            <a:chOff x="571501" y="1987465"/>
            <a:chExt cx="8000999" cy="3891134"/>
          </a:xfrm>
          <a:solidFill>
            <a:srgbClr val="F3F2F2"/>
          </a:solidFill>
        </p:grpSpPr>
        <p:sp>
          <p:nvSpPr>
            <p:cNvPr id="74" name="Freeform 7">
              <a:extLst>
                <a:ext uri="{FF2B5EF4-FFF2-40B4-BE49-F238E27FC236}">
                  <a16:creationId xmlns:a16="http://schemas.microsoft.com/office/drawing/2014/main" id="{663254B2-23E7-4281-A9DE-24C49895315B}"/>
                </a:ext>
              </a:extLst>
            </p:cNvPr>
            <p:cNvSpPr>
              <a:spLocks/>
            </p:cNvSpPr>
            <p:nvPr/>
          </p:nvSpPr>
          <p:spPr bwMode="auto">
            <a:xfrm>
              <a:off x="2714626" y="5784894"/>
              <a:ext cx="214313" cy="93705"/>
            </a:xfrm>
            <a:custGeom>
              <a:avLst/>
              <a:gdLst>
                <a:gd name="T0" fmla="*/ 75 w 135"/>
                <a:gd name="T1" fmla="*/ 0 h 59"/>
                <a:gd name="T2" fmla="*/ 85 w 135"/>
                <a:gd name="T3" fmla="*/ 2 h 59"/>
                <a:gd name="T4" fmla="*/ 91 w 135"/>
                <a:gd name="T5" fmla="*/ 11 h 59"/>
                <a:gd name="T6" fmla="*/ 96 w 135"/>
                <a:gd name="T7" fmla="*/ 25 h 59"/>
                <a:gd name="T8" fmla="*/ 116 w 135"/>
                <a:gd name="T9" fmla="*/ 36 h 59"/>
                <a:gd name="T10" fmla="*/ 135 w 135"/>
                <a:gd name="T11" fmla="*/ 40 h 59"/>
                <a:gd name="T12" fmla="*/ 131 w 135"/>
                <a:gd name="T13" fmla="*/ 52 h 59"/>
                <a:gd name="T14" fmla="*/ 116 w 135"/>
                <a:gd name="T15" fmla="*/ 52 h 59"/>
                <a:gd name="T16" fmla="*/ 110 w 135"/>
                <a:gd name="T17" fmla="*/ 46 h 59"/>
                <a:gd name="T18" fmla="*/ 104 w 135"/>
                <a:gd name="T19" fmla="*/ 52 h 59"/>
                <a:gd name="T20" fmla="*/ 93 w 135"/>
                <a:gd name="T21" fmla="*/ 59 h 59"/>
                <a:gd name="T22" fmla="*/ 85 w 135"/>
                <a:gd name="T23" fmla="*/ 59 h 59"/>
                <a:gd name="T24" fmla="*/ 77 w 135"/>
                <a:gd name="T25" fmla="*/ 57 h 59"/>
                <a:gd name="T26" fmla="*/ 68 w 135"/>
                <a:gd name="T27" fmla="*/ 52 h 59"/>
                <a:gd name="T28" fmla="*/ 52 w 135"/>
                <a:gd name="T29" fmla="*/ 50 h 59"/>
                <a:gd name="T30" fmla="*/ 33 w 135"/>
                <a:gd name="T31" fmla="*/ 36 h 59"/>
                <a:gd name="T32" fmla="*/ 20 w 135"/>
                <a:gd name="T33" fmla="*/ 27 h 59"/>
                <a:gd name="T34" fmla="*/ 0 w 135"/>
                <a:gd name="T35" fmla="*/ 6 h 59"/>
                <a:gd name="T36" fmla="*/ 12 w 135"/>
                <a:gd name="T37" fmla="*/ 11 h 59"/>
                <a:gd name="T38" fmla="*/ 33 w 135"/>
                <a:gd name="T39" fmla="*/ 23 h 59"/>
                <a:gd name="T40" fmla="*/ 50 w 135"/>
                <a:gd name="T41" fmla="*/ 29 h 59"/>
                <a:gd name="T42" fmla="*/ 56 w 135"/>
                <a:gd name="T43" fmla="*/ 21 h 59"/>
                <a:gd name="T44" fmla="*/ 62 w 135"/>
                <a:gd name="T45" fmla="*/ 8 h 59"/>
                <a:gd name="T46" fmla="*/ 75 w 135"/>
                <a:gd name="T47" fmla="*/ 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35" h="59">
                  <a:moveTo>
                    <a:pt x="75" y="0"/>
                  </a:moveTo>
                  <a:lnTo>
                    <a:pt x="85" y="2"/>
                  </a:lnTo>
                  <a:lnTo>
                    <a:pt x="91" y="11"/>
                  </a:lnTo>
                  <a:lnTo>
                    <a:pt x="96" y="25"/>
                  </a:lnTo>
                  <a:lnTo>
                    <a:pt x="116" y="36"/>
                  </a:lnTo>
                  <a:lnTo>
                    <a:pt x="135" y="40"/>
                  </a:lnTo>
                  <a:lnTo>
                    <a:pt x="131" y="52"/>
                  </a:lnTo>
                  <a:lnTo>
                    <a:pt x="116" y="52"/>
                  </a:lnTo>
                  <a:lnTo>
                    <a:pt x="110" y="46"/>
                  </a:lnTo>
                  <a:lnTo>
                    <a:pt x="104" y="52"/>
                  </a:lnTo>
                  <a:lnTo>
                    <a:pt x="93" y="59"/>
                  </a:lnTo>
                  <a:lnTo>
                    <a:pt x="85" y="59"/>
                  </a:lnTo>
                  <a:lnTo>
                    <a:pt x="77" y="57"/>
                  </a:lnTo>
                  <a:lnTo>
                    <a:pt x="68" y="52"/>
                  </a:lnTo>
                  <a:lnTo>
                    <a:pt x="52" y="50"/>
                  </a:lnTo>
                  <a:lnTo>
                    <a:pt x="33" y="36"/>
                  </a:lnTo>
                  <a:lnTo>
                    <a:pt x="20" y="27"/>
                  </a:lnTo>
                  <a:lnTo>
                    <a:pt x="0" y="6"/>
                  </a:lnTo>
                  <a:lnTo>
                    <a:pt x="12" y="11"/>
                  </a:lnTo>
                  <a:lnTo>
                    <a:pt x="33" y="23"/>
                  </a:lnTo>
                  <a:lnTo>
                    <a:pt x="50" y="29"/>
                  </a:lnTo>
                  <a:lnTo>
                    <a:pt x="56" y="21"/>
                  </a:lnTo>
                  <a:lnTo>
                    <a:pt x="62" y="8"/>
                  </a:lnTo>
                  <a:lnTo>
                    <a:pt x="75" y="0"/>
                  </a:lnTo>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6" name="Freeform 9">
              <a:extLst>
                <a:ext uri="{FF2B5EF4-FFF2-40B4-BE49-F238E27FC236}">
                  <a16:creationId xmlns:a16="http://schemas.microsoft.com/office/drawing/2014/main" id="{E056408E-CA85-488F-898C-A12AB071CB31}"/>
                </a:ext>
              </a:extLst>
            </p:cNvPr>
            <p:cNvSpPr>
              <a:spLocks/>
            </p:cNvSpPr>
            <p:nvPr/>
          </p:nvSpPr>
          <p:spPr bwMode="auto">
            <a:xfrm>
              <a:off x="3014663" y="5745189"/>
              <a:ext cx="74613" cy="30177"/>
            </a:xfrm>
            <a:custGeom>
              <a:avLst/>
              <a:gdLst>
                <a:gd name="T0" fmla="*/ 38 w 47"/>
                <a:gd name="T1" fmla="*/ 0 h 19"/>
                <a:gd name="T2" fmla="*/ 47 w 47"/>
                <a:gd name="T3" fmla="*/ 8 h 19"/>
                <a:gd name="T4" fmla="*/ 46 w 47"/>
                <a:gd name="T5" fmla="*/ 13 h 19"/>
                <a:gd name="T6" fmla="*/ 24 w 47"/>
                <a:gd name="T7" fmla="*/ 19 h 19"/>
                <a:gd name="T8" fmla="*/ 21 w 47"/>
                <a:gd name="T9" fmla="*/ 11 h 19"/>
                <a:gd name="T10" fmla="*/ 9 w 47"/>
                <a:gd name="T11" fmla="*/ 19 h 19"/>
                <a:gd name="T12" fmla="*/ 0 w 47"/>
                <a:gd name="T13" fmla="*/ 11 h 19"/>
                <a:gd name="T14" fmla="*/ 17 w 47"/>
                <a:gd name="T15" fmla="*/ 2 h 19"/>
                <a:gd name="T16" fmla="*/ 30 w 47"/>
                <a:gd name="T17" fmla="*/ 6 h 19"/>
                <a:gd name="T18" fmla="*/ 38 w 47"/>
                <a:gd name="T19"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7" h="19">
                  <a:moveTo>
                    <a:pt x="38" y="0"/>
                  </a:moveTo>
                  <a:lnTo>
                    <a:pt x="47" y="8"/>
                  </a:lnTo>
                  <a:lnTo>
                    <a:pt x="46" y="13"/>
                  </a:lnTo>
                  <a:lnTo>
                    <a:pt x="24" y="19"/>
                  </a:lnTo>
                  <a:lnTo>
                    <a:pt x="21" y="11"/>
                  </a:lnTo>
                  <a:lnTo>
                    <a:pt x="9" y="19"/>
                  </a:lnTo>
                  <a:lnTo>
                    <a:pt x="0" y="11"/>
                  </a:lnTo>
                  <a:lnTo>
                    <a:pt x="17" y="2"/>
                  </a:lnTo>
                  <a:lnTo>
                    <a:pt x="30" y="6"/>
                  </a:lnTo>
                  <a:lnTo>
                    <a:pt x="38" y="0"/>
                  </a:lnTo>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7" name="Freeform 11">
              <a:extLst>
                <a:ext uri="{FF2B5EF4-FFF2-40B4-BE49-F238E27FC236}">
                  <a16:creationId xmlns:a16="http://schemas.microsoft.com/office/drawing/2014/main" id="{5F6A418A-F690-4341-9EB8-44857EF0D0FF}"/>
                </a:ext>
              </a:extLst>
            </p:cNvPr>
            <p:cNvSpPr>
              <a:spLocks/>
            </p:cNvSpPr>
            <p:nvPr/>
          </p:nvSpPr>
          <p:spPr bwMode="auto">
            <a:xfrm>
              <a:off x="5886451" y="5672131"/>
              <a:ext cx="42863" cy="30177"/>
            </a:xfrm>
            <a:custGeom>
              <a:avLst/>
              <a:gdLst>
                <a:gd name="T0" fmla="*/ 4 w 27"/>
                <a:gd name="T1" fmla="*/ 0 h 19"/>
                <a:gd name="T2" fmla="*/ 13 w 27"/>
                <a:gd name="T3" fmla="*/ 6 h 19"/>
                <a:gd name="T4" fmla="*/ 25 w 27"/>
                <a:gd name="T5" fmla="*/ 8 h 19"/>
                <a:gd name="T6" fmla="*/ 27 w 27"/>
                <a:gd name="T7" fmla="*/ 11 h 19"/>
                <a:gd name="T8" fmla="*/ 23 w 27"/>
                <a:gd name="T9" fmla="*/ 19 h 19"/>
                <a:gd name="T10" fmla="*/ 2 w 27"/>
                <a:gd name="T11" fmla="*/ 19 h 19"/>
                <a:gd name="T12" fmla="*/ 0 w 27"/>
                <a:gd name="T13" fmla="*/ 11 h 19"/>
                <a:gd name="T14" fmla="*/ 4 w 27"/>
                <a:gd name="T15" fmla="*/ 4 h 19"/>
                <a:gd name="T16" fmla="*/ 4 w 27"/>
                <a:gd name="T17"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7" h="19">
                  <a:moveTo>
                    <a:pt x="4" y="0"/>
                  </a:moveTo>
                  <a:lnTo>
                    <a:pt x="13" y="6"/>
                  </a:lnTo>
                  <a:lnTo>
                    <a:pt x="25" y="8"/>
                  </a:lnTo>
                  <a:lnTo>
                    <a:pt x="27" y="11"/>
                  </a:lnTo>
                  <a:lnTo>
                    <a:pt x="23" y="19"/>
                  </a:lnTo>
                  <a:lnTo>
                    <a:pt x="2" y="19"/>
                  </a:lnTo>
                  <a:lnTo>
                    <a:pt x="0" y="11"/>
                  </a:lnTo>
                  <a:lnTo>
                    <a:pt x="4" y="4"/>
                  </a:lnTo>
                  <a:lnTo>
                    <a:pt x="4" y="0"/>
                  </a:lnTo>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8" name="Freeform 13">
              <a:extLst>
                <a:ext uri="{FF2B5EF4-FFF2-40B4-BE49-F238E27FC236}">
                  <a16:creationId xmlns:a16="http://schemas.microsoft.com/office/drawing/2014/main" id="{02A29AC2-6A93-4F91-8909-0BD8FA55F2D8}"/>
                </a:ext>
              </a:extLst>
            </p:cNvPr>
            <p:cNvSpPr>
              <a:spLocks/>
            </p:cNvSpPr>
            <p:nvPr/>
          </p:nvSpPr>
          <p:spPr bwMode="auto">
            <a:xfrm>
              <a:off x="7567612" y="5452957"/>
              <a:ext cx="82550" cy="82587"/>
            </a:xfrm>
            <a:custGeom>
              <a:avLst/>
              <a:gdLst>
                <a:gd name="T0" fmla="*/ 0 w 52"/>
                <a:gd name="T1" fmla="*/ 0 h 52"/>
                <a:gd name="T2" fmla="*/ 10 w 52"/>
                <a:gd name="T3" fmla="*/ 2 h 52"/>
                <a:gd name="T4" fmla="*/ 23 w 52"/>
                <a:gd name="T5" fmla="*/ 9 h 52"/>
                <a:gd name="T6" fmla="*/ 31 w 52"/>
                <a:gd name="T7" fmla="*/ 5 h 52"/>
                <a:gd name="T8" fmla="*/ 42 w 52"/>
                <a:gd name="T9" fmla="*/ 2 h 52"/>
                <a:gd name="T10" fmla="*/ 52 w 52"/>
                <a:gd name="T11" fmla="*/ 4 h 52"/>
                <a:gd name="T12" fmla="*/ 52 w 52"/>
                <a:gd name="T13" fmla="*/ 25 h 52"/>
                <a:gd name="T14" fmla="*/ 48 w 52"/>
                <a:gd name="T15" fmla="*/ 29 h 52"/>
                <a:gd name="T16" fmla="*/ 46 w 52"/>
                <a:gd name="T17" fmla="*/ 42 h 52"/>
                <a:gd name="T18" fmla="*/ 40 w 52"/>
                <a:gd name="T19" fmla="*/ 40 h 52"/>
                <a:gd name="T20" fmla="*/ 31 w 52"/>
                <a:gd name="T21" fmla="*/ 52 h 52"/>
                <a:gd name="T22" fmla="*/ 27 w 52"/>
                <a:gd name="T23" fmla="*/ 50 h 52"/>
                <a:gd name="T24" fmla="*/ 17 w 52"/>
                <a:gd name="T25" fmla="*/ 50 h 52"/>
                <a:gd name="T26" fmla="*/ 10 w 52"/>
                <a:gd name="T27" fmla="*/ 34 h 52"/>
                <a:gd name="T28" fmla="*/ 8 w 52"/>
                <a:gd name="T29" fmla="*/ 23 h 52"/>
                <a:gd name="T30" fmla="*/ 0 w 52"/>
                <a:gd name="T31" fmla="*/ 9 h 52"/>
                <a:gd name="T32" fmla="*/ 0 w 52"/>
                <a:gd name="T33"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2" h="52">
                  <a:moveTo>
                    <a:pt x="0" y="0"/>
                  </a:moveTo>
                  <a:lnTo>
                    <a:pt x="10" y="2"/>
                  </a:lnTo>
                  <a:lnTo>
                    <a:pt x="23" y="9"/>
                  </a:lnTo>
                  <a:lnTo>
                    <a:pt x="31" y="5"/>
                  </a:lnTo>
                  <a:lnTo>
                    <a:pt x="42" y="2"/>
                  </a:lnTo>
                  <a:lnTo>
                    <a:pt x="52" y="4"/>
                  </a:lnTo>
                  <a:lnTo>
                    <a:pt x="52" y="25"/>
                  </a:lnTo>
                  <a:lnTo>
                    <a:pt x="48" y="29"/>
                  </a:lnTo>
                  <a:lnTo>
                    <a:pt x="46" y="42"/>
                  </a:lnTo>
                  <a:lnTo>
                    <a:pt x="40" y="40"/>
                  </a:lnTo>
                  <a:lnTo>
                    <a:pt x="31" y="52"/>
                  </a:lnTo>
                  <a:lnTo>
                    <a:pt x="27" y="50"/>
                  </a:lnTo>
                  <a:lnTo>
                    <a:pt x="17" y="50"/>
                  </a:lnTo>
                  <a:lnTo>
                    <a:pt x="10" y="34"/>
                  </a:lnTo>
                  <a:lnTo>
                    <a:pt x="8" y="23"/>
                  </a:lnTo>
                  <a:lnTo>
                    <a:pt x="0" y="9"/>
                  </a:lnTo>
                  <a:lnTo>
                    <a:pt x="0" y="0"/>
                  </a:lnTo>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9" name="Freeform 15">
              <a:extLst>
                <a:ext uri="{FF2B5EF4-FFF2-40B4-BE49-F238E27FC236}">
                  <a16:creationId xmlns:a16="http://schemas.microsoft.com/office/drawing/2014/main" id="{44F9E3A7-EF85-49B5-A382-86A8A45B30F2}"/>
                </a:ext>
              </a:extLst>
            </p:cNvPr>
            <p:cNvSpPr>
              <a:spLocks/>
            </p:cNvSpPr>
            <p:nvPr/>
          </p:nvSpPr>
          <p:spPr bwMode="auto">
            <a:xfrm>
              <a:off x="8051800" y="5449780"/>
              <a:ext cx="171450" cy="163587"/>
            </a:xfrm>
            <a:custGeom>
              <a:avLst/>
              <a:gdLst>
                <a:gd name="T0" fmla="*/ 87 w 108"/>
                <a:gd name="T1" fmla="*/ 0 h 103"/>
                <a:gd name="T2" fmla="*/ 90 w 108"/>
                <a:gd name="T3" fmla="*/ 6 h 103"/>
                <a:gd name="T4" fmla="*/ 94 w 108"/>
                <a:gd name="T5" fmla="*/ 13 h 103"/>
                <a:gd name="T6" fmla="*/ 104 w 108"/>
                <a:gd name="T7" fmla="*/ 6 h 103"/>
                <a:gd name="T8" fmla="*/ 108 w 108"/>
                <a:gd name="T9" fmla="*/ 15 h 103"/>
                <a:gd name="T10" fmla="*/ 108 w 108"/>
                <a:gd name="T11" fmla="*/ 21 h 103"/>
                <a:gd name="T12" fmla="*/ 102 w 108"/>
                <a:gd name="T13" fmla="*/ 27 h 103"/>
                <a:gd name="T14" fmla="*/ 92 w 108"/>
                <a:gd name="T15" fmla="*/ 42 h 103"/>
                <a:gd name="T16" fmla="*/ 85 w 108"/>
                <a:gd name="T17" fmla="*/ 48 h 103"/>
                <a:gd name="T18" fmla="*/ 90 w 108"/>
                <a:gd name="T19" fmla="*/ 55 h 103"/>
                <a:gd name="T20" fmla="*/ 81 w 108"/>
                <a:gd name="T21" fmla="*/ 55 h 103"/>
                <a:gd name="T22" fmla="*/ 69 w 108"/>
                <a:gd name="T23" fmla="*/ 63 h 103"/>
                <a:gd name="T24" fmla="*/ 64 w 108"/>
                <a:gd name="T25" fmla="*/ 73 h 103"/>
                <a:gd name="T26" fmla="*/ 58 w 108"/>
                <a:gd name="T27" fmla="*/ 92 h 103"/>
                <a:gd name="T28" fmla="*/ 46 w 108"/>
                <a:gd name="T29" fmla="*/ 100 h 103"/>
                <a:gd name="T30" fmla="*/ 39 w 108"/>
                <a:gd name="T31" fmla="*/ 103 h 103"/>
                <a:gd name="T32" fmla="*/ 25 w 108"/>
                <a:gd name="T33" fmla="*/ 103 h 103"/>
                <a:gd name="T34" fmla="*/ 18 w 108"/>
                <a:gd name="T35" fmla="*/ 98 h 103"/>
                <a:gd name="T36" fmla="*/ 2 w 108"/>
                <a:gd name="T37" fmla="*/ 96 h 103"/>
                <a:gd name="T38" fmla="*/ 0 w 108"/>
                <a:gd name="T39" fmla="*/ 90 h 103"/>
                <a:gd name="T40" fmla="*/ 8 w 108"/>
                <a:gd name="T41" fmla="*/ 78 h 103"/>
                <a:gd name="T42" fmla="*/ 23 w 108"/>
                <a:gd name="T43" fmla="*/ 61 h 103"/>
                <a:gd name="T44" fmla="*/ 35 w 108"/>
                <a:gd name="T45" fmla="*/ 57 h 103"/>
                <a:gd name="T46" fmla="*/ 44 w 108"/>
                <a:gd name="T47" fmla="*/ 52 h 103"/>
                <a:gd name="T48" fmla="*/ 56 w 108"/>
                <a:gd name="T49" fmla="*/ 42 h 103"/>
                <a:gd name="T50" fmla="*/ 64 w 108"/>
                <a:gd name="T51" fmla="*/ 32 h 103"/>
                <a:gd name="T52" fmla="*/ 71 w 108"/>
                <a:gd name="T53" fmla="*/ 21 h 103"/>
                <a:gd name="T54" fmla="*/ 75 w 108"/>
                <a:gd name="T55" fmla="*/ 17 h 103"/>
                <a:gd name="T56" fmla="*/ 77 w 108"/>
                <a:gd name="T57" fmla="*/ 7 h 103"/>
                <a:gd name="T58" fmla="*/ 87 w 108"/>
                <a:gd name="T59"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08" h="103">
                  <a:moveTo>
                    <a:pt x="87" y="0"/>
                  </a:moveTo>
                  <a:lnTo>
                    <a:pt x="90" y="6"/>
                  </a:lnTo>
                  <a:lnTo>
                    <a:pt x="94" y="13"/>
                  </a:lnTo>
                  <a:lnTo>
                    <a:pt x="104" y="6"/>
                  </a:lnTo>
                  <a:lnTo>
                    <a:pt x="108" y="15"/>
                  </a:lnTo>
                  <a:lnTo>
                    <a:pt x="108" y="21"/>
                  </a:lnTo>
                  <a:lnTo>
                    <a:pt x="102" y="27"/>
                  </a:lnTo>
                  <a:lnTo>
                    <a:pt x="92" y="42"/>
                  </a:lnTo>
                  <a:lnTo>
                    <a:pt x="85" y="48"/>
                  </a:lnTo>
                  <a:lnTo>
                    <a:pt x="90" y="55"/>
                  </a:lnTo>
                  <a:lnTo>
                    <a:pt x="81" y="55"/>
                  </a:lnTo>
                  <a:lnTo>
                    <a:pt x="69" y="63"/>
                  </a:lnTo>
                  <a:lnTo>
                    <a:pt x="64" y="73"/>
                  </a:lnTo>
                  <a:lnTo>
                    <a:pt x="58" y="92"/>
                  </a:lnTo>
                  <a:lnTo>
                    <a:pt x="46" y="100"/>
                  </a:lnTo>
                  <a:lnTo>
                    <a:pt x="39" y="103"/>
                  </a:lnTo>
                  <a:lnTo>
                    <a:pt x="25" y="103"/>
                  </a:lnTo>
                  <a:lnTo>
                    <a:pt x="18" y="98"/>
                  </a:lnTo>
                  <a:lnTo>
                    <a:pt x="2" y="96"/>
                  </a:lnTo>
                  <a:lnTo>
                    <a:pt x="0" y="90"/>
                  </a:lnTo>
                  <a:lnTo>
                    <a:pt x="8" y="78"/>
                  </a:lnTo>
                  <a:lnTo>
                    <a:pt x="23" y="61"/>
                  </a:lnTo>
                  <a:lnTo>
                    <a:pt x="35" y="57"/>
                  </a:lnTo>
                  <a:lnTo>
                    <a:pt x="44" y="52"/>
                  </a:lnTo>
                  <a:lnTo>
                    <a:pt x="56" y="42"/>
                  </a:lnTo>
                  <a:lnTo>
                    <a:pt x="64" y="32"/>
                  </a:lnTo>
                  <a:lnTo>
                    <a:pt x="71" y="21"/>
                  </a:lnTo>
                  <a:lnTo>
                    <a:pt x="75" y="17"/>
                  </a:lnTo>
                  <a:lnTo>
                    <a:pt x="77" y="7"/>
                  </a:lnTo>
                  <a:lnTo>
                    <a:pt x="87" y="0"/>
                  </a:lnTo>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0" name="Freeform 17">
              <a:extLst>
                <a:ext uri="{FF2B5EF4-FFF2-40B4-BE49-F238E27FC236}">
                  <a16:creationId xmlns:a16="http://schemas.microsoft.com/office/drawing/2014/main" id="{67D40441-2608-44DC-A4EB-A4ACF587E895}"/>
                </a:ext>
              </a:extLst>
            </p:cNvPr>
            <p:cNvSpPr>
              <a:spLocks/>
            </p:cNvSpPr>
            <p:nvPr/>
          </p:nvSpPr>
          <p:spPr bwMode="auto">
            <a:xfrm>
              <a:off x="8186737" y="5294135"/>
              <a:ext cx="127000" cy="185822"/>
            </a:xfrm>
            <a:custGeom>
              <a:avLst/>
              <a:gdLst>
                <a:gd name="T0" fmla="*/ 5 w 80"/>
                <a:gd name="T1" fmla="*/ 0 h 117"/>
                <a:gd name="T2" fmla="*/ 13 w 80"/>
                <a:gd name="T3" fmla="*/ 10 h 117"/>
                <a:gd name="T4" fmla="*/ 25 w 80"/>
                <a:gd name="T5" fmla="*/ 13 h 117"/>
                <a:gd name="T6" fmla="*/ 27 w 80"/>
                <a:gd name="T7" fmla="*/ 27 h 117"/>
                <a:gd name="T8" fmla="*/ 36 w 80"/>
                <a:gd name="T9" fmla="*/ 44 h 117"/>
                <a:gd name="T10" fmla="*/ 36 w 80"/>
                <a:gd name="T11" fmla="*/ 34 h 117"/>
                <a:gd name="T12" fmla="*/ 44 w 80"/>
                <a:gd name="T13" fmla="*/ 38 h 117"/>
                <a:gd name="T14" fmla="*/ 46 w 80"/>
                <a:gd name="T15" fmla="*/ 50 h 117"/>
                <a:gd name="T16" fmla="*/ 57 w 80"/>
                <a:gd name="T17" fmla="*/ 56 h 117"/>
                <a:gd name="T18" fmla="*/ 67 w 80"/>
                <a:gd name="T19" fmla="*/ 56 h 117"/>
                <a:gd name="T20" fmla="*/ 75 w 80"/>
                <a:gd name="T21" fmla="*/ 50 h 117"/>
                <a:gd name="T22" fmla="*/ 80 w 80"/>
                <a:gd name="T23" fmla="*/ 52 h 117"/>
                <a:gd name="T24" fmla="*/ 76 w 80"/>
                <a:gd name="T25" fmla="*/ 65 h 117"/>
                <a:gd name="T26" fmla="*/ 75 w 80"/>
                <a:gd name="T27" fmla="*/ 77 h 117"/>
                <a:gd name="T28" fmla="*/ 65 w 80"/>
                <a:gd name="T29" fmla="*/ 77 h 117"/>
                <a:gd name="T30" fmla="*/ 59 w 80"/>
                <a:gd name="T31" fmla="*/ 81 h 117"/>
                <a:gd name="T32" fmla="*/ 61 w 80"/>
                <a:gd name="T33" fmla="*/ 86 h 117"/>
                <a:gd name="T34" fmla="*/ 59 w 80"/>
                <a:gd name="T35" fmla="*/ 90 h 117"/>
                <a:gd name="T36" fmla="*/ 55 w 80"/>
                <a:gd name="T37" fmla="*/ 98 h 117"/>
                <a:gd name="T38" fmla="*/ 48 w 80"/>
                <a:gd name="T39" fmla="*/ 111 h 117"/>
                <a:gd name="T40" fmla="*/ 36 w 80"/>
                <a:gd name="T41" fmla="*/ 117 h 117"/>
                <a:gd name="T42" fmla="*/ 34 w 80"/>
                <a:gd name="T43" fmla="*/ 113 h 117"/>
                <a:gd name="T44" fmla="*/ 27 w 80"/>
                <a:gd name="T45" fmla="*/ 111 h 117"/>
                <a:gd name="T46" fmla="*/ 36 w 80"/>
                <a:gd name="T47" fmla="*/ 98 h 117"/>
                <a:gd name="T48" fmla="*/ 30 w 80"/>
                <a:gd name="T49" fmla="*/ 86 h 117"/>
                <a:gd name="T50" fmla="*/ 15 w 80"/>
                <a:gd name="T51" fmla="*/ 82 h 117"/>
                <a:gd name="T52" fmla="*/ 17 w 80"/>
                <a:gd name="T53" fmla="*/ 77 h 117"/>
                <a:gd name="T54" fmla="*/ 27 w 80"/>
                <a:gd name="T55" fmla="*/ 71 h 117"/>
                <a:gd name="T56" fmla="*/ 28 w 80"/>
                <a:gd name="T57" fmla="*/ 57 h 117"/>
                <a:gd name="T58" fmla="*/ 28 w 80"/>
                <a:gd name="T59" fmla="*/ 48 h 117"/>
                <a:gd name="T60" fmla="*/ 23 w 80"/>
                <a:gd name="T61" fmla="*/ 36 h 117"/>
                <a:gd name="T62" fmla="*/ 25 w 80"/>
                <a:gd name="T63" fmla="*/ 34 h 117"/>
                <a:gd name="T64" fmla="*/ 17 w 80"/>
                <a:gd name="T65" fmla="*/ 27 h 117"/>
                <a:gd name="T66" fmla="*/ 5 w 80"/>
                <a:gd name="T67" fmla="*/ 11 h 117"/>
                <a:gd name="T68" fmla="*/ 0 w 80"/>
                <a:gd name="T69" fmla="*/ 2 h 117"/>
                <a:gd name="T70" fmla="*/ 5 w 80"/>
                <a:gd name="T71" fmla="*/ 0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80" h="117">
                  <a:moveTo>
                    <a:pt x="5" y="0"/>
                  </a:moveTo>
                  <a:lnTo>
                    <a:pt x="13" y="10"/>
                  </a:lnTo>
                  <a:lnTo>
                    <a:pt x="25" y="13"/>
                  </a:lnTo>
                  <a:lnTo>
                    <a:pt x="27" y="27"/>
                  </a:lnTo>
                  <a:lnTo>
                    <a:pt x="36" y="44"/>
                  </a:lnTo>
                  <a:lnTo>
                    <a:pt x="36" y="34"/>
                  </a:lnTo>
                  <a:lnTo>
                    <a:pt x="44" y="38"/>
                  </a:lnTo>
                  <a:lnTo>
                    <a:pt x="46" y="50"/>
                  </a:lnTo>
                  <a:lnTo>
                    <a:pt x="57" y="56"/>
                  </a:lnTo>
                  <a:lnTo>
                    <a:pt x="67" y="56"/>
                  </a:lnTo>
                  <a:lnTo>
                    <a:pt x="75" y="50"/>
                  </a:lnTo>
                  <a:lnTo>
                    <a:pt x="80" y="52"/>
                  </a:lnTo>
                  <a:lnTo>
                    <a:pt x="76" y="65"/>
                  </a:lnTo>
                  <a:lnTo>
                    <a:pt x="75" y="77"/>
                  </a:lnTo>
                  <a:lnTo>
                    <a:pt x="65" y="77"/>
                  </a:lnTo>
                  <a:lnTo>
                    <a:pt x="59" y="81"/>
                  </a:lnTo>
                  <a:lnTo>
                    <a:pt x="61" y="86"/>
                  </a:lnTo>
                  <a:lnTo>
                    <a:pt x="59" y="90"/>
                  </a:lnTo>
                  <a:lnTo>
                    <a:pt x="55" y="98"/>
                  </a:lnTo>
                  <a:lnTo>
                    <a:pt x="48" y="111"/>
                  </a:lnTo>
                  <a:lnTo>
                    <a:pt x="36" y="117"/>
                  </a:lnTo>
                  <a:lnTo>
                    <a:pt x="34" y="113"/>
                  </a:lnTo>
                  <a:lnTo>
                    <a:pt x="27" y="111"/>
                  </a:lnTo>
                  <a:lnTo>
                    <a:pt x="36" y="98"/>
                  </a:lnTo>
                  <a:lnTo>
                    <a:pt x="30" y="86"/>
                  </a:lnTo>
                  <a:lnTo>
                    <a:pt x="15" y="82"/>
                  </a:lnTo>
                  <a:lnTo>
                    <a:pt x="17" y="77"/>
                  </a:lnTo>
                  <a:lnTo>
                    <a:pt x="27" y="71"/>
                  </a:lnTo>
                  <a:lnTo>
                    <a:pt x="28" y="57"/>
                  </a:lnTo>
                  <a:lnTo>
                    <a:pt x="28" y="48"/>
                  </a:lnTo>
                  <a:lnTo>
                    <a:pt x="23" y="36"/>
                  </a:lnTo>
                  <a:lnTo>
                    <a:pt x="25" y="34"/>
                  </a:lnTo>
                  <a:lnTo>
                    <a:pt x="17" y="27"/>
                  </a:lnTo>
                  <a:lnTo>
                    <a:pt x="5" y="11"/>
                  </a:lnTo>
                  <a:lnTo>
                    <a:pt x="0" y="2"/>
                  </a:lnTo>
                  <a:lnTo>
                    <a:pt x="5" y="0"/>
                  </a:lnTo>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1" name="Freeform 19">
              <a:extLst>
                <a:ext uri="{FF2B5EF4-FFF2-40B4-BE49-F238E27FC236}">
                  <a16:creationId xmlns:a16="http://schemas.microsoft.com/office/drawing/2014/main" id="{9D5E61F1-EA51-49AA-9530-15917BC2D744}"/>
                </a:ext>
              </a:extLst>
            </p:cNvPr>
            <p:cNvSpPr>
              <a:spLocks/>
            </p:cNvSpPr>
            <p:nvPr/>
          </p:nvSpPr>
          <p:spPr bwMode="auto">
            <a:xfrm>
              <a:off x="7997825" y="4952668"/>
              <a:ext cx="66675" cy="52412"/>
            </a:xfrm>
            <a:custGeom>
              <a:avLst/>
              <a:gdLst>
                <a:gd name="T0" fmla="*/ 0 w 42"/>
                <a:gd name="T1" fmla="*/ 0 h 33"/>
                <a:gd name="T2" fmla="*/ 4 w 42"/>
                <a:gd name="T3" fmla="*/ 0 h 33"/>
                <a:gd name="T4" fmla="*/ 13 w 42"/>
                <a:gd name="T5" fmla="*/ 6 h 33"/>
                <a:gd name="T6" fmla="*/ 19 w 42"/>
                <a:gd name="T7" fmla="*/ 10 h 33"/>
                <a:gd name="T8" fmla="*/ 23 w 42"/>
                <a:gd name="T9" fmla="*/ 15 h 33"/>
                <a:gd name="T10" fmla="*/ 34 w 42"/>
                <a:gd name="T11" fmla="*/ 23 h 33"/>
                <a:gd name="T12" fmla="*/ 42 w 42"/>
                <a:gd name="T13" fmla="*/ 29 h 33"/>
                <a:gd name="T14" fmla="*/ 36 w 42"/>
                <a:gd name="T15" fmla="*/ 33 h 33"/>
                <a:gd name="T16" fmla="*/ 30 w 42"/>
                <a:gd name="T17" fmla="*/ 29 h 33"/>
                <a:gd name="T18" fmla="*/ 19 w 42"/>
                <a:gd name="T19" fmla="*/ 23 h 33"/>
                <a:gd name="T20" fmla="*/ 11 w 42"/>
                <a:gd name="T21" fmla="*/ 15 h 33"/>
                <a:gd name="T22" fmla="*/ 2 w 42"/>
                <a:gd name="T23" fmla="*/ 6 h 33"/>
                <a:gd name="T24" fmla="*/ 0 w 42"/>
                <a:gd name="T25" fmla="*/ 0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 h="33">
                  <a:moveTo>
                    <a:pt x="0" y="0"/>
                  </a:moveTo>
                  <a:lnTo>
                    <a:pt x="4" y="0"/>
                  </a:lnTo>
                  <a:lnTo>
                    <a:pt x="13" y="6"/>
                  </a:lnTo>
                  <a:lnTo>
                    <a:pt x="19" y="10"/>
                  </a:lnTo>
                  <a:lnTo>
                    <a:pt x="23" y="15"/>
                  </a:lnTo>
                  <a:lnTo>
                    <a:pt x="34" y="23"/>
                  </a:lnTo>
                  <a:lnTo>
                    <a:pt x="42" y="29"/>
                  </a:lnTo>
                  <a:lnTo>
                    <a:pt x="36" y="33"/>
                  </a:lnTo>
                  <a:lnTo>
                    <a:pt x="30" y="29"/>
                  </a:lnTo>
                  <a:lnTo>
                    <a:pt x="19" y="23"/>
                  </a:lnTo>
                  <a:lnTo>
                    <a:pt x="11" y="15"/>
                  </a:lnTo>
                  <a:lnTo>
                    <a:pt x="2" y="6"/>
                  </a:lnTo>
                  <a:lnTo>
                    <a:pt x="0" y="0"/>
                  </a:lnTo>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2" name="Freeform 21">
              <a:extLst>
                <a:ext uri="{FF2B5EF4-FFF2-40B4-BE49-F238E27FC236}">
                  <a16:creationId xmlns:a16="http://schemas.microsoft.com/office/drawing/2014/main" id="{AD8B6016-B835-426F-8C95-20FDF7487ED4}"/>
                </a:ext>
              </a:extLst>
            </p:cNvPr>
            <p:cNvSpPr>
              <a:spLocks/>
            </p:cNvSpPr>
            <p:nvPr/>
          </p:nvSpPr>
          <p:spPr bwMode="auto">
            <a:xfrm>
              <a:off x="8289925" y="4889139"/>
              <a:ext cx="30163" cy="20647"/>
            </a:xfrm>
            <a:custGeom>
              <a:avLst/>
              <a:gdLst>
                <a:gd name="T0" fmla="*/ 13 w 19"/>
                <a:gd name="T1" fmla="*/ 0 h 13"/>
                <a:gd name="T2" fmla="*/ 19 w 19"/>
                <a:gd name="T3" fmla="*/ 4 h 13"/>
                <a:gd name="T4" fmla="*/ 17 w 19"/>
                <a:gd name="T5" fmla="*/ 11 h 13"/>
                <a:gd name="T6" fmla="*/ 10 w 19"/>
                <a:gd name="T7" fmla="*/ 13 h 13"/>
                <a:gd name="T8" fmla="*/ 0 w 19"/>
                <a:gd name="T9" fmla="*/ 11 h 13"/>
                <a:gd name="T10" fmla="*/ 0 w 19"/>
                <a:gd name="T11" fmla="*/ 5 h 13"/>
                <a:gd name="T12" fmla="*/ 4 w 19"/>
                <a:gd name="T13" fmla="*/ 2 h 13"/>
                <a:gd name="T14" fmla="*/ 11 w 19"/>
                <a:gd name="T15" fmla="*/ 4 h 13"/>
                <a:gd name="T16" fmla="*/ 13 w 19"/>
                <a:gd name="T17"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3">
                  <a:moveTo>
                    <a:pt x="13" y="0"/>
                  </a:moveTo>
                  <a:lnTo>
                    <a:pt x="19" y="4"/>
                  </a:lnTo>
                  <a:lnTo>
                    <a:pt x="17" y="11"/>
                  </a:lnTo>
                  <a:lnTo>
                    <a:pt x="10" y="13"/>
                  </a:lnTo>
                  <a:lnTo>
                    <a:pt x="0" y="11"/>
                  </a:lnTo>
                  <a:lnTo>
                    <a:pt x="0" y="5"/>
                  </a:lnTo>
                  <a:lnTo>
                    <a:pt x="4" y="2"/>
                  </a:lnTo>
                  <a:lnTo>
                    <a:pt x="11" y="4"/>
                  </a:lnTo>
                  <a:lnTo>
                    <a:pt x="13" y="0"/>
                  </a:lnTo>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3" name="Freeform 23">
              <a:extLst>
                <a:ext uri="{FF2B5EF4-FFF2-40B4-BE49-F238E27FC236}">
                  <a16:creationId xmlns:a16="http://schemas.microsoft.com/office/drawing/2014/main" id="{CCE699DB-94F8-4DFE-896B-D499DB72C99E}"/>
                </a:ext>
              </a:extLst>
            </p:cNvPr>
            <p:cNvSpPr>
              <a:spLocks/>
            </p:cNvSpPr>
            <p:nvPr/>
          </p:nvSpPr>
          <p:spPr bwMode="auto">
            <a:xfrm>
              <a:off x="8316912" y="4860551"/>
              <a:ext cx="36513" cy="22235"/>
            </a:xfrm>
            <a:custGeom>
              <a:avLst/>
              <a:gdLst>
                <a:gd name="T0" fmla="*/ 23 w 23"/>
                <a:gd name="T1" fmla="*/ 0 h 14"/>
                <a:gd name="T2" fmla="*/ 21 w 23"/>
                <a:gd name="T3" fmla="*/ 8 h 14"/>
                <a:gd name="T4" fmla="*/ 12 w 23"/>
                <a:gd name="T5" fmla="*/ 10 h 14"/>
                <a:gd name="T6" fmla="*/ 2 w 23"/>
                <a:gd name="T7" fmla="*/ 14 h 14"/>
                <a:gd name="T8" fmla="*/ 0 w 23"/>
                <a:gd name="T9" fmla="*/ 8 h 14"/>
                <a:gd name="T10" fmla="*/ 8 w 23"/>
                <a:gd name="T11" fmla="*/ 6 h 14"/>
                <a:gd name="T12" fmla="*/ 12 w 23"/>
                <a:gd name="T13" fmla="*/ 4 h 14"/>
                <a:gd name="T14" fmla="*/ 21 w 23"/>
                <a:gd name="T15" fmla="*/ 0 h 14"/>
                <a:gd name="T16" fmla="*/ 23 w 23"/>
                <a:gd name="T17"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 h="14">
                  <a:moveTo>
                    <a:pt x="23" y="0"/>
                  </a:moveTo>
                  <a:lnTo>
                    <a:pt x="21" y="8"/>
                  </a:lnTo>
                  <a:lnTo>
                    <a:pt x="12" y="10"/>
                  </a:lnTo>
                  <a:lnTo>
                    <a:pt x="2" y="14"/>
                  </a:lnTo>
                  <a:lnTo>
                    <a:pt x="0" y="8"/>
                  </a:lnTo>
                  <a:lnTo>
                    <a:pt x="8" y="6"/>
                  </a:lnTo>
                  <a:lnTo>
                    <a:pt x="12" y="4"/>
                  </a:lnTo>
                  <a:lnTo>
                    <a:pt x="21" y="0"/>
                  </a:lnTo>
                  <a:lnTo>
                    <a:pt x="23" y="0"/>
                  </a:lnTo>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4" name="Freeform 25">
              <a:extLst>
                <a:ext uri="{FF2B5EF4-FFF2-40B4-BE49-F238E27FC236}">
                  <a16:creationId xmlns:a16="http://schemas.microsoft.com/office/drawing/2014/main" id="{8A2C392D-B6C4-4E2A-8333-B8459082A89D}"/>
                </a:ext>
              </a:extLst>
            </p:cNvPr>
            <p:cNvSpPr>
              <a:spLocks/>
            </p:cNvSpPr>
            <p:nvPr/>
          </p:nvSpPr>
          <p:spPr bwMode="auto">
            <a:xfrm>
              <a:off x="8064500" y="4857375"/>
              <a:ext cx="15875" cy="15882"/>
            </a:xfrm>
            <a:custGeom>
              <a:avLst/>
              <a:gdLst>
                <a:gd name="T0" fmla="*/ 0 w 10"/>
                <a:gd name="T1" fmla="*/ 0 h 10"/>
                <a:gd name="T2" fmla="*/ 10 w 10"/>
                <a:gd name="T3" fmla="*/ 8 h 10"/>
                <a:gd name="T4" fmla="*/ 6 w 10"/>
                <a:gd name="T5" fmla="*/ 10 h 10"/>
                <a:gd name="T6" fmla="*/ 0 w 10"/>
                <a:gd name="T7" fmla="*/ 2 h 10"/>
                <a:gd name="T8" fmla="*/ 0 w 10"/>
                <a:gd name="T9" fmla="*/ 0 h 10"/>
              </a:gdLst>
              <a:ahLst/>
              <a:cxnLst>
                <a:cxn ang="0">
                  <a:pos x="T0" y="T1"/>
                </a:cxn>
                <a:cxn ang="0">
                  <a:pos x="T2" y="T3"/>
                </a:cxn>
                <a:cxn ang="0">
                  <a:pos x="T4" y="T5"/>
                </a:cxn>
                <a:cxn ang="0">
                  <a:pos x="T6" y="T7"/>
                </a:cxn>
                <a:cxn ang="0">
                  <a:pos x="T8" y="T9"/>
                </a:cxn>
              </a:cxnLst>
              <a:rect l="0" t="0" r="r" b="b"/>
              <a:pathLst>
                <a:path w="10" h="10">
                  <a:moveTo>
                    <a:pt x="0" y="0"/>
                  </a:moveTo>
                  <a:lnTo>
                    <a:pt x="10" y="8"/>
                  </a:lnTo>
                  <a:lnTo>
                    <a:pt x="6" y="10"/>
                  </a:lnTo>
                  <a:lnTo>
                    <a:pt x="0" y="2"/>
                  </a:lnTo>
                  <a:lnTo>
                    <a:pt x="0" y="0"/>
                  </a:lnTo>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5" name="Freeform 27">
              <a:extLst>
                <a:ext uri="{FF2B5EF4-FFF2-40B4-BE49-F238E27FC236}">
                  <a16:creationId xmlns:a16="http://schemas.microsoft.com/office/drawing/2014/main" id="{5D3D3563-941C-4937-9AFA-047BA3ABBDE4}"/>
                </a:ext>
              </a:extLst>
            </p:cNvPr>
            <p:cNvSpPr>
              <a:spLocks/>
            </p:cNvSpPr>
            <p:nvPr/>
          </p:nvSpPr>
          <p:spPr bwMode="auto">
            <a:xfrm>
              <a:off x="8054975" y="4827199"/>
              <a:ext cx="12700" cy="28588"/>
            </a:xfrm>
            <a:custGeom>
              <a:avLst/>
              <a:gdLst>
                <a:gd name="T0" fmla="*/ 0 w 8"/>
                <a:gd name="T1" fmla="*/ 0 h 18"/>
                <a:gd name="T2" fmla="*/ 6 w 8"/>
                <a:gd name="T3" fmla="*/ 4 h 18"/>
                <a:gd name="T4" fmla="*/ 8 w 8"/>
                <a:gd name="T5" fmla="*/ 18 h 18"/>
                <a:gd name="T6" fmla="*/ 6 w 8"/>
                <a:gd name="T7" fmla="*/ 16 h 18"/>
                <a:gd name="T8" fmla="*/ 2 w 8"/>
                <a:gd name="T9" fmla="*/ 16 h 18"/>
                <a:gd name="T10" fmla="*/ 0 w 8"/>
                <a:gd name="T11" fmla="*/ 12 h 18"/>
                <a:gd name="T12" fmla="*/ 0 w 8"/>
                <a:gd name="T13" fmla="*/ 0 h 18"/>
              </a:gdLst>
              <a:ahLst/>
              <a:cxnLst>
                <a:cxn ang="0">
                  <a:pos x="T0" y="T1"/>
                </a:cxn>
                <a:cxn ang="0">
                  <a:pos x="T2" y="T3"/>
                </a:cxn>
                <a:cxn ang="0">
                  <a:pos x="T4" y="T5"/>
                </a:cxn>
                <a:cxn ang="0">
                  <a:pos x="T6" y="T7"/>
                </a:cxn>
                <a:cxn ang="0">
                  <a:pos x="T8" y="T9"/>
                </a:cxn>
                <a:cxn ang="0">
                  <a:pos x="T10" y="T11"/>
                </a:cxn>
                <a:cxn ang="0">
                  <a:pos x="T12" y="T13"/>
                </a:cxn>
              </a:cxnLst>
              <a:rect l="0" t="0" r="r" b="b"/>
              <a:pathLst>
                <a:path w="8" h="18">
                  <a:moveTo>
                    <a:pt x="0" y="0"/>
                  </a:moveTo>
                  <a:lnTo>
                    <a:pt x="6" y="4"/>
                  </a:lnTo>
                  <a:lnTo>
                    <a:pt x="8" y="18"/>
                  </a:lnTo>
                  <a:lnTo>
                    <a:pt x="6" y="16"/>
                  </a:lnTo>
                  <a:lnTo>
                    <a:pt x="2" y="16"/>
                  </a:lnTo>
                  <a:lnTo>
                    <a:pt x="0" y="12"/>
                  </a:lnTo>
                  <a:lnTo>
                    <a:pt x="0" y="0"/>
                  </a:lnTo>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6" name="Freeform 29">
              <a:extLst>
                <a:ext uri="{FF2B5EF4-FFF2-40B4-BE49-F238E27FC236}">
                  <a16:creationId xmlns:a16="http://schemas.microsoft.com/office/drawing/2014/main" id="{047E89A7-B979-45AE-8528-DF3D7B883873}"/>
                </a:ext>
              </a:extLst>
            </p:cNvPr>
            <p:cNvSpPr>
              <a:spLocks/>
            </p:cNvSpPr>
            <p:nvPr/>
          </p:nvSpPr>
          <p:spPr bwMode="auto">
            <a:xfrm>
              <a:off x="5326063" y="4770023"/>
              <a:ext cx="158750" cy="311291"/>
            </a:xfrm>
            <a:custGeom>
              <a:avLst/>
              <a:gdLst>
                <a:gd name="T0" fmla="*/ 82 w 100"/>
                <a:gd name="T1" fmla="*/ 0 h 196"/>
                <a:gd name="T2" fmla="*/ 86 w 100"/>
                <a:gd name="T3" fmla="*/ 6 h 196"/>
                <a:gd name="T4" fmla="*/ 92 w 100"/>
                <a:gd name="T5" fmla="*/ 11 h 196"/>
                <a:gd name="T6" fmla="*/ 94 w 100"/>
                <a:gd name="T7" fmla="*/ 21 h 196"/>
                <a:gd name="T8" fmla="*/ 96 w 100"/>
                <a:gd name="T9" fmla="*/ 38 h 196"/>
                <a:gd name="T10" fmla="*/ 100 w 100"/>
                <a:gd name="T11" fmla="*/ 44 h 196"/>
                <a:gd name="T12" fmla="*/ 98 w 100"/>
                <a:gd name="T13" fmla="*/ 52 h 196"/>
                <a:gd name="T14" fmla="*/ 96 w 100"/>
                <a:gd name="T15" fmla="*/ 57 h 196"/>
                <a:gd name="T16" fmla="*/ 92 w 100"/>
                <a:gd name="T17" fmla="*/ 48 h 196"/>
                <a:gd name="T18" fmla="*/ 88 w 100"/>
                <a:gd name="T19" fmla="*/ 52 h 196"/>
                <a:gd name="T20" fmla="*/ 92 w 100"/>
                <a:gd name="T21" fmla="*/ 63 h 196"/>
                <a:gd name="T22" fmla="*/ 90 w 100"/>
                <a:gd name="T23" fmla="*/ 67 h 196"/>
                <a:gd name="T24" fmla="*/ 86 w 100"/>
                <a:gd name="T25" fmla="*/ 71 h 196"/>
                <a:gd name="T26" fmla="*/ 84 w 100"/>
                <a:gd name="T27" fmla="*/ 84 h 196"/>
                <a:gd name="T28" fmla="*/ 81 w 100"/>
                <a:gd name="T29" fmla="*/ 102 h 196"/>
                <a:gd name="T30" fmla="*/ 73 w 100"/>
                <a:gd name="T31" fmla="*/ 121 h 196"/>
                <a:gd name="T32" fmla="*/ 63 w 100"/>
                <a:gd name="T33" fmla="*/ 148 h 196"/>
                <a:gd name="T34" fmla="*/ 59 w 100"/>
                <a:gd name="T35" fmla="*/ 169 h 196"/>
                <a:gd name="T36" fmla="*/ 54 w 100"/>
                <a:gd name="T37" fmla="*/ 184 h 196"/>
                <a:gd name="T38" fmla="*/ 40 w 100"/>
                <a:gd name="T39" fmla="*/ 190 h 196"/>
                <a:gd name="T40" fmla="*/ 29 w 100"/>
                <a:gd name="T41" fmla="*/ 196 h 196"/>
                <a:gd name="T42" fmla="*/ 21 w 100"/>
                <a:gd name="T43" fmla="*/ 192 h 196"/>
                <a:gd name="T44" fmla="*/ 11 w 100"/>
                <a:gd name="T45" fmla="*/ 186 h 196"/>
                <a:gd name="T46" fmla="*/ 6 w 100"/>
                <a:gd name="T47" fmla="*/ 178 h 196"/>
                <a:gd name="T48" fmla="*/ 6 w 100"/>
                <a:gd name="T49" fmla="*/ 165 h 196"/>
                <a:gd name="T50" fmla="*/ 0 w 100"/>
                <a:gd name="T51" fmla="*/ 153 h 196"/>
                <a:gd name="T52" fmla="*/ 0 w 100"/>
                <a:gd name="T53" fmla="*/ 142 h 196"/>
                <a:gd name="T54" fmla="*/ 0 w 100"/>
                <a:gd name="T55" fmla="*/ 132 h 196"/>
                <a:gd name="T56" fmla="*/ 8 w 100"/>
                <a:gd name="T57" fmla="*/ 130 h 196"/>
                <a:gd name="T58" fmla="*/ 8 w 100"/>
                <a:gd name="T59" fmla="*/ 128 h 196"/>
                <a:gd name="T60" fmla="*/ 8 w 100"/>
                <a:gd name="T61" fmla="*/ 125 h 196"/>
                <a:gd name="T62" fmla="*/ 15 w 100"/>
                <a:gd name="T63" fmla="*/ 115 h 196"/>
                <a:gd name="T64" fmla="*/ 15 w 100"/>
                <a:gd name="T65" fmla="*/ 103 h 196"/>
                <a:gd name="T66" fmla="*/ 13 w 100"/>
                <a:gd name="T67" fmla="*/ 98 h 196"/>
                <a:gd name="T68" fmla="*/ 11 w 100"/>
                <a:gd name="T69" fmla="*/ 90 h 196"/>
                <a:gd name="T70" fmla="*/ 10 w 100"/>
                <a:gd name="T71" fmla="*/ 77 h 196"/>
                <a:gd name="T72" fmla="*/ 15 w 100"/>
                <a:gd name="T73" fmla="*/ 67 h 196"/>
                <a:gd name="T74" fmla="*/ 15 w 100"/>
                <a:gd name="T75" fmla="*/ 59 h 196"/>
                <a:gd name="T76" fmla="*/ 23 w 100"/>
                <a:gd name="T77" fmla="*/ 57 h 196"/>
                <a:gd name="T78" fmla="*/ 31 w 100"/>
                <a:gd name="T79" fmla="*/ 57 h 196"/>
                <a:gd name="T80" fmla="*/ 36 w 100"/>
                <a:gd name="T81" fmla="*/ 54 h 196"/>
                <a:gd name="T82" fmla="*/ 40 w 100"/>
                <a:gd name="T83" fmla="*/ 54 h 196"/>
                <a:gd name="T84" fmla="*/ 50 w 100"/>
                <a:gd name="T85" fmla="*/ 44 h 196"/>
                <a:gd name="T86" fmla="*/ 61 w 100"/>
                <a:gd name="T87" fmla="*/ 36 h 196"/>
                <a:gd name="T88" fmla="*/ 65 w 100"/>
                <a:gd name="T89" fmla="*/ 29 h 196"/>
                <a:gd name="T90" fmla="*/ 63 w 100"/>
                <a:gd name="T91" fmla="*/ 23 h 196"/>
                <a:gd name="T92" fmla="*/ 69 w 100"/>
                <a:gd name="T93" fmla="*/ 25 h 196"/>
                <a:gd name="T94" fmla="*/ 79 w 100"/>
                <a:gd name="T95" fmla="*/ 15 h 196"/>
                <a:gd name="T96" fmla="*/ 79 w 100"/>
                <a:gd name="T97" fmla="*/ 6 h 196"/>
                <a:gd name="T98" fmla="*/ 82 w 100"/>
                <a:gd name="T99" fmla="*/ 0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00" h="196">
                  <a:moveTo>
                    <a:pt x="82" y="0"/>
                  </a:moveTo>
                  <a:lnTo>
                    <a:pt x="86" y="6"/>
                  </a:lnTo>
                  <a:lnTo>
                    <a:pt x="92" y="11"/>
                  </a:lnTo>
                  <a:lnTo>
                    <a:pt x="94" y="21"/>
                  </a:lnTo>
                  <a:lnTo>
                    <a:pt x="96" y="38"/>
                  </a:lnTo>
                  <a:lnTo>
                    <a:pt x="100" y="44"/>
                  </a:lnTo>
                  <a:lnTo>
                    <a:pt x="98" y="52"/>
                  </a:lnTo>
                  <a:lnTo>
                    <a:pt x="96" y="57"/>
                  </a:lnTo>
                  <a:lnTo>
                    <a:pt x="92" y="48"/>
                  </a:lnTo>
                  <a:lnTo>
                    <a:pt x="88" y="52"/>
                  </a:lnTo>
                  <a:lnTo>
                    <a:pt x="92" y="63"/>
                  </a:lnTo>
                  <a:lnTo>
                    <a:pt x="90" y="67"/>
                  </a:lnTo>
                  <a:lnTo>
                    <a:pt x="86" y="71"/>
                  </a:lnTo>
                  <a:lnTo>
                    <a:pt x="84" y="84"/>
                  </a:lnTo>
                  <a:lnTo>
                    <a:pt x="81" y="102"/>
                  </a:lnTo>
                  <a:lnTo>
                    <a:pt x="73" y="121"/>
                  </a:lnTo>
                  <a:lnTo>
                    <a:pt x="63" y="148"/>
                  </a:lnTo>
                  <a:lnTo>
                    <a:pt x="59" y="169"/>
                  </a:lnTo>
                  <a:lnTo>
                    <a:pt x="54" y="184"/>
                  </a:lnTo>
                  <a:lnTo>
                    <a:pt x="40" y="190"/>
                  </a:lnTo>
                  <a:lnTo>
                    <a:pt x="29" y="196"/>
                  </a:lnTo>
                  <a:lnTo>
                    <a:pt x="21" y="192"/>
                  </a:lnTo>
                  <a:lnTo>
                    <a:pt x="11" y="186"/>
                  </a:lnTo>
                  <a:lnTo>
                    <a:pt x="6" y="178"/>
                  </a:lnTo>
                  <a:lnTo>
                    <a:pt x="6" y="165"/>
                  </a:lnTo>
                  <a:lnTo>
                    <a:pt x="0" y="153"/>
                  </a:lnTo>
                  <a:lnTo>
                    <a:pt x="0" y="142"/>
                  </a:lnTo>
                  <a:lnTo>
                    <a:pt x="0" y="132"/>
                  </a:lnTo>
                  <a:lnTo>
                    <a:pt x="8" y="130"/>
                  </a:lnTo>
                  <a:lnTo>
                    <a:pt x="8" y="128"/>
                  </a:lnTo>
                  <a:lnTo>
                    <a:pt x="8" y="125"/>
                  </a:lnTo>
                  <a:lnTo>
                    <a:pt x="15" y="115"/>
                  </a:lnTo>
                  <a:lnTo>
                    <a:pt x="15" y="103"/>
                  </a:lnTo>
                  <a:lnTo>
                    <a:pt x="13" y="98"/>
                  </a:lnTo>
                  <a:lnTo>
                    <a:pt x="11" y="90"/>
                  </a:lnTo>
                  <a:lnTo>
                    <a:pt x="10" y="77"/>
                  </a:lnTo>
                  <a:lnTo>
                    <a:pt x="15" y="67"/>
                  </a:lnTo>
                  <a:lnTo>
                    <a:pt x="15" y="59"/>
                  </a:lnTo>
                  <a:lnTo>
                    <a:pt x="23" y="57"/>
                  </a:lnTo>
                  <a:lnTo>
                    <a:pt x="31" y="57"/>
                  </a:lnTo>
                  <a:lnTo>
                    <a:pt x="36" y="54"/>
                  </a:lnTo>
                  <a:lnTo>
                    <a:pt x="40" y="54"/>
                  </a:lnTo>
                  <a:lnTo>
                    <a:pt x="50" y="44"/>
                  </a:lnTo>
                  <a:lnTo>
                    <a:pt x="61" y="36"/>
                  </a:lnTo>
                  <a:lnTo>
                    <a:pt x="65" y="29"/>
                  </a:lnTo>
                  <a:lnTo>
                    <a:pt x="63" y="23"/>
                  </a:lnTo>
                  <a:lnTo>
                    <a:pt x="69" y="25"/>
                  </a:lnTo>
                  <a:lnTo>
                    <a:pt x="79" y="15"/>
                  </a:lnTo>
                  <a:lnTo>
                    <a:pt x="79" y="6"/>
                  </a:lnTo>
                  <a:lnTo>
                    <a:pt x="82" y="0"/>
                  </a:lnTo>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7" name="Freeform 31">
              <a:extLst>
                <a:ext uri="{FF2B5EF4-FFF2-40B4-BE49-F238E27FC236}">
                  <a16:creationId xmlns:a16="http://schemas.microsoft.com/office/drawing/2014/main" id="{DE6112E0-3BB9-4042-8317-0B4FF84E8B09}"/>
                </a:ext>
              </a:extLst>
            </p:cNvPr>
            <p:cNvSpPr>
              <a:spLocks/>
            </p:cNvSpPr>
            <p:nvPr/>
          </p:nvSpPr>
          <p:spPr bwMode="auto">
            <a:xfrm>
              <a:off x="6873875" y="4739847"/>
              <a:ext cx="892175" cy="673404"/>
            </a:xfrm>
            <a:custGeom>
              <a:avLst/>
              <a:gdLst>
                <a:gd name="T0" fmla="*/ 416 w 562"/>
                <a:gd name="T1" fmla="*/ 17 h 424"/>
                <a:gd name="T2" fmla="*/ 420 w 562"/>
                <a:gd name="T3" fmla="*/ 44 h 424"/>
                <a:gd name="T4" fmla="*/ 447 w 562"/>
                <a:gd name="T5" fmla="*/ 59 h 424"/>
                <a:gd name="T6" fmla="*/ 454 w 562"/>
                <a:gd name="T7" fmla="*/ 88 h 424"/>
                <a:gd name="T8" fmla="*/ 476 w 562"/>
                <a:gd name="T9" fmla="*/ 124 h 424"/>
                <a:gd name="T10" fmla="*/ 502 w 562"/>
                <a:gd name="T11" fmla="*/ 151 h 424"/>
                <a:gd name="T12" fmla="*/ 522 w 562"/>
                <a:gd name="T13" fmla="*/ 167 h 424"/>
                <a:gd name="T14" fmla="*/ 552 w 562"/>
                <a:gd name="T15" fmla="*/ 209 h 424"/>
                <a:gd name="T16" fmla="*/ 562 w 562"/>
                <a:gd name="T17" fmla="*/ 253 h 424"/>
                <a:gd name="T18" fmla="*/ 554 w 562"/>
                <a:gd name="T19" fmla="*/ 293 h 424"/>
                <a:gd name="T20" fmla="*/ 531 w 562"/>
                <a:gd name="T21" fmla="*/ 339 h 424"/>
                <a:gd name="T22" fmla="*/ 512 w 562"/>
                <a:gd name="T23" fmla="*/ 382 h 424"/>
                <a:gd name="T24" fmla="*/ 489 w 562"/>
                <a:gd name="T25" fmla="*/ 403 h 424"/>
                <a:gd name="T26" fmla="*/ 449 w 562"/>
                <a:gd name="T27" fmla="*/ 416 h 424"/>
                <a:gd name="T28" fmla="*/ 422 w 562"/>
                <a:gd name="T29" fmla="*/ 420 h 424"/>
                <a:gd name="T30" fmla="*/ 380 w 562"/>
                <a:gd name="T31" fmla="*/ 406 h 424"/>
                <a:gd name="T32" fmla="*/ 359 w 562"/>
                <a:gd name="T33" fmla="*/ 368 h 424"/>
                <a:gd name="T34" fmla="*/ 341 w 562"/>
                <a:gd name="T35" fmla="*/ 360 h 424"/>
                <a:gd name="T36" fmla="*/ 341 w 562"/>
                <a:gd name="T37" fmla="*/ 335 h 424"/>
                <a:gd name="T38" fmla="*/ 314 w 562"/>
                <a:gd name="T39" fmla="*/ 357 h 424"/>
                <a:gd name="T40" fmla="*/ 289 w 562"/>
                <a:gd name="T41" fmla="*/ 324 h 424"/>
                <a:gd name="T42" fmla="*/ 251 w 562"/>
                <a:gd name="T43" fmla="*/ 303 h 424"/>
                <a:gd name="T44" fmla="*/ 180 w 562"/>
                <a:gd name="T45" fmla="*/ 314 h 424"/>
                <a:gd name="T46" fmla="*/ 144 w 562"/>
                <a:gd name="T47" fmla="*/ 341 h 424"/>
                <a:gd name="T48" fmla="*/ 101 w 562"/>
                <a:gd name="T49" fmla="*/ 341 h 424"/>
                <a:gd name="T50" fmla="*/ 73 w 562"/>
                <a:gd name="T51" fmla="*/ 355 h 424"/>
                <a:gd name="T52" fmla="*/ 30 w 562"/>
                <a:gd name="T53" fmla="*/ 347 h 424"/>
                <a:gd name="T54" fmla="*/ 34 w 562"/>
                <a:gd name="T55" fmla="*/ 332 h 424"/>
                <a:gd name="T56" fmla="*/ 27 w 562"/>
                <a:gd name="T57" fmla="*/ 289 h 424"/>
                <a:gd name="T58" fmla="*/ 19 w 562"/>
                <a:gd name="T59" fmla="*/ 257 h 424"/>
                <a:gd name="T60" fmla="*/ 0 w 562"/>
                <a:gd name="T61" fmla="*/ 222 h 424"/>
                <a:gd name="T62" fmla="*/ 13 w 562"/>
                <a:gd name="T63" fmla="*/ 226 h 424"/>
                <a:gd name="T64" fmla="*/ 0 w 562"/>
                <a:gd name="T65" fmla="*/ 197 h 424"/>
                <a:gd name="T66" fmla="*/ 5 w 562"/>
                <a:gd name="T67" fmla="*/ 169 h 424"/>
                <a:gd name="T68" fmla="*/ 30 w 562"/>
                <a:gd name="T69" fmla="*/ 153 h 424"/>
                <a:gd name="T70" fmla="*/ 57 w 562"/>
                <a:gd name="T71" fmla="*/ 144 h 424"/>
                <a:gd name="T72" fmla="*/ 82 w 562"/>
                <a:gd name="T73" fmla="*/ 132 h 424"/>
                <a:gd name="T74" fmla="*/ 117 w 562"/>
                <a:gd name="T75" fmla="*/ 113 h 424"/>
                <a:gd name="T76" fmla="*/ 134 w 562"/>
                <a:gd name="T77" fmla="*/ 80 h 424"/>
                <a:gd name="T78" fmla="*/ 146 w 562"/>
                <a:gd name="T79" fmla="*/ 76 h 424"/>
                <a:gd name="T80" fmla="*/ 165 w 562"/>
                <a:gd name="T81" fmla="*/ 57 h 424"/>
                <a:gd name="T82" fmla="*/ 178 w 562"/>
                <a:gd name="T83" fmla="*/ 48 h 424"/>
                <a:gd name="T84" fmla="*/ 209 w 562"/>
                <a:gd name="T85" fmla="*/ 57 h 424"/>
                <a:gd name="T86" fmla="*/ 232 w 562"/>
                <a:gd name="T87" fmla="*/ 42 h 424"/>
                <a:gd name="T88" fmla="*/ 249 w 562"/>
                <a:gd name="T89" fmla="*/ 19 h 424"/>
                <a:gd name="T90" fmla="*/ 259 w 562"/>
                <a:gd name="T91" fmla="*/ 9 h 424"/>
                <a:gd name="T92" fmla="*/ 293 w 562"/>
                <a:gd name="T93" fmla="*/ 19 h 424"/>
                <a:gd name="T94" fmla="*/ 320 w 562"/>
                <a:gd name="T95" fmla="*/ 19 h 424"/>
                <a:gd name="T96" fmla="*/ 320 w 562"/>
                <a:gd name="T97" fmla="*/ 36 h 424"/>
                <a:gd name="T98" fmla="*/ 309 w 562"/>
                <a:gd name="T99" fmla="*/ 57 h 424"/>
                <a:gd name="T100" fmla="*/ 339 w 562"/>
                <a:gd name="T101" fmla="*/ 78 h 424"/>
                <a:gd name="T102" fmla="*/ 362 w 562"/>
                <a:gd name="T103" fmla="*/ 96 h 424"/>
                <a:gd name="T104" fmla="*/ 387 w 562"/>
                <a:gd name="T105" fmla="*/ 80 h 424"/>
                <a:gd name="T106" fmla="*/ 393 w 562"/>
                <a:gd name="T107" fmla="*/ 50 h 424"/>
                <a:gd name="T108" fmla="*/ 395 w 562"/>
                <a:gd name="T109" fmla="*/ 23 h 424"/>
                <a:gd name="T110" fmla="*/ 406 w 562"/>
                <a:gd name="T111" fmla="*/ 0 h 4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62" h="424">
                  <a:moveTo>
                    <a:pt x="406" y="0"/>
                  </a:moveTo>
                  <a:lnTo>
                    <a:pt x="410" y="7"/>
                  </a:lnTo>
                  <a:lnTo>
                    <a:pt x="412" y="15"/>
                  </a:lnTo>
                  <a:lnTo>
                    <a:pt x="416" y="17"/>
                  </a:lnTo>
                  <a:lnTo>
                    <a:pt x="416" y="23"/>
                  </a:lnTo>
                  <a:lnTo>
                    <a:pt x="420" y="30"/>
                  </a:lnTo>
                  <a:lnTo>
                    <a:pt x="422" y="38"/>
                  </a:lnTo>
                  <a:lnTo>
                    <a:pt x="420" y="44"/>
                  </a:lnTo>
                  <a:lnTo>
                    <a:pt x="426" y="53"/>
                  </a:lnTo>
                  <a:lnTo>
                    <a:pt x="435" y="48"/>
                  </a:lnTo>
                  <a:lnTo>
                    <a:pt x="441" y="55"/>
                  </a:lnTo>
                  <a:lnTo>
                    <a:pt x="447" y="59"/>
                  </a:lnTo>
                  <a:lnTo>
                    <a:pt x="445" y="67"/>
                  </a:lnTo>
                  <a:lnTo>
                    <a:pt x="449" y="78"/>
                  </a:lnTo>
                  <a:lnTo>
                    <a:pt x="451" y="86"/>
                  </a:lnTo>
                  <a:lnTo>
                    <a:pt x="454" y="88"/>
                  </a:lnTo>
                  <a:lnTo>
                    <a:pt x="456" y="99"/>
                  </a:lnTo>
                  <a:lnTo>
                    <a:pt x="454" y="107"/>
                  </a:lnTo>
                  <a:lnTo>
                    <a:pt x="460" y="117"/>
                  </a:lnTo>
                  <a:lnTo>
                    <a:pt x="476" y="124"/>
                  </a:lnTo>
                  <a:lnTo>
                    <a:pt x="487" y="132"/>
                  </a:lnTo>
                  <a:lnTo>
                    <a:pt x="497" y="140"/>
                  </a:lnTo>
                  <a:lnTo>
                    <a:pt x="493" y="142"/>
                  </a:lnTo>
                  <a:lnTo>
                    <a:pt x="502" y="151"/>
                  </a:lnTo>
                  <a:lnTo>
                    <a:pt x="506" y="167"/>
                  </a:lnTo>
                  <a:lnTo>
                    <a:pt x="512" y="163"/>
                  </a:lnTo>
                  <a:lnTo>
                    <a:pt x="518" y="169"/>
                  </a:lnTo>
                  <a:lnTo>
                    <a:pt x="522" y="167"/>
                  </a:lnTo>
                  <a:lnTo>
                    <a:pt x="525" y="182"/>
                  </a:lnTo>
                  <a:lnTo>
                    <a:pt x="533" y="192"/>
                  </a:lnTo>
                  <a:lnTo>
                    <a:pt x="541" y="197"/>
                  </a:lnTo>
                  <a:lnTo>
                    <a:pt x="552" y="209"/>
                  </a:lnTo>
                  <a:lnTo>
                    <a:pt x="554" y="222"/>
                  </a:lnTo>
                  <a:lnTo>
                    <a:pt x="554" y="230"/>
                  </a:lnTo>
                  <a:lnTo>
                    <a:pt x="554" y="240"/>
                  </a:lnTo>
                  <a:lnTo>
                    <a:pt x="562" y="253"/>
                  </a:lnTo>
                  <a:lnTo>
                    <a:pt x="560" y="264"/>
                  </a:lnTo>
                  <a:lnTo>
                    <a:pt x="558" y="272"/>
                  </a:lnTo>
                  <a:lnTo>
                    <a:pt x="554" y="286"/>
                  </a:lnTo>
                  <a:lnTo>
                    <a:pt x="554" y="293"/>
                  </a:lnTo>
                  <a:lnTo>
                    <a:pt x="552" y="305"/>
                  </a:lnTo>
                  <a:lnTo>
                    <a:pt x="545" y="320"/>
                  </a:lnTo>
                  <a:lnTo>
                    <a:pt x="535" y="328"/>
                  </a:lnTo>
                  <a:lnTo>
                    <a:pt x="531" y="339"/>
                  </a:lnTo>
                  <a:lnTo>
                    <a:pt x="527" y="347"/>
                  </a:lnTo>
                  <a:lnTo>
                    <a:pt x="522" y="360"/>
                  </a:lnTo>
                  <a:lnTo>
                    <a:pt x="516" y="368"/>
                  </a:lnTo>
                  <a:lnTo>
                    <a:pt x="512" y="382"/>
                  </a:lnTo>
                  <a:lnTo>
                    <a:pt x="512" y="391"/>
                  </a:lnTo>
                  <a:lnTo>
                    <a:pt x="512" y="397"/>
                  </a:lnTo>
                  <a:lnTo>
                    <a:pt x="502" y="403"/>
                  </a:lnTo>
                  <a:lnTo>
                    <a:pt x="489" y="403"/>
                  </a:lnTo>
                  <a:lnTo>
                    <a:pt x="474" y="408"/>
                  </a:lnTo>
                  <a:lnTo>
                    <a:pt x="468" y="416"/>
                  </a:lnTo>
                  <a:lnTo>
                    <a:pt x="458" y="424"/>
                  </a:lnTo>
                  <a:lnTo>
                    <a:pt x="449" y="416"/>
                  </a:lnTo>
                  <a:lnTo>
                    <a:pt x="439" y="412"/>
                  </a:lnTo>
                  <a:lnTo>
                    <a:pt x="443" y="405"/>
                  </a:lnTo>
                  <a:lnTo>
                    <a:pt x="433" y="406"/>
                  </a:lnTo>
                  <a:lnTo>
                    <a:pt x="422" y="420"/>
                  </a:lnTo>
                  <a:lnTo>
                    <a:pt x="410" y="414"/>
                  </a:lnTo>
                  <a:lnTo>
                    <a:pt x="403" y="412"/>
                  </a:lnTo>
                  <a:lnTo>
                    <a:pt x="393" y="410"/>
                  </a:lnTo>
                  <a:lnTo>
                    <a:pt x="380" y="406"/>
                  </a:lnTo>
                  <a:lnTo>
                    <a:pt x="372" y="397"/>
                  </a:lnTo>
                  <a:lnTo>
                    <a:pt x="368" y="385"/>
                  </a:lnTo>
                  <a:lnTo>
                    <a:pt x="366" y="376"/>
                  </a:lnTo>
                  <a:lnTo>
                    <a:pt x="359" y="368"/>
                  </a:lnTo>
                  <a:lnTo>
                    <a:pt x="345" y="368"/>
                  </a:lnTo>
                  <a:lnTo>
                    <a:pt x="351" y="360"/>
                  </a:lnTo>
                  <a:lnTo>
                    <a:pt x="347" y="347"/>
                  </a:lnTo>
                  <a:lnTo>
                    <a:pt x="341" y="360"/>
                  </a:lnTo>
                  <a:lnTo>
                    <a:pt x="326" y="362"/>
                  </a:lnTo>
                  <a:lnTo>
                    <a:pt x="335" y="353"/>
                  </a:lnTo>
                  <a:lnTo>
                    <a:pt x="337" y="345"/>
                  </a:lnTo>
                  <a:lnTo>
                    <a:pt x="341" y="335"/>
                  </a:lnTo>
                  <a:lnTo>
                    <a:pt x="341" y="326"/>
                  </a:lnTo>
                  <a:lnTo>
                    <a:pt x="330" y="339"/>
                  </a:lnTo>
                  <a:lnTo>
                    <a:pt x="322" y="345"/>
                  </a:lnTo>
                  <a:lnTo>
                    <a:pt x="314" y="357"/>
                  </a:lnTo>
                  <a:lnTo>
                    <a:pt x="305" y="349"/>
                  </a:lnTo>
                  <a:lnTo>
                    <a:pt x="305" y="341"/>
                  </a:lnTo>
                  <a:lnTo>
                    <a:pt x="297" y="332"/>
                  </a:lnTo>
                  <a:lnTo>
                    <a:pt x="289" y="324"/>
                  </a:lnTo>
                  <a:lnTo>
                    <a:pt x="291" y="322"/>
                  </a:lnTo>
                  <a:lnTo>
                    <a:pt x="274" y="311"/>
                  </a:lnTo>
                  <a:lnTo>
                    <a:pt x="264" y="311"/>
                  </a:lnTo>
                  <a:lnTo>
                    <a:pt x="251" y="303"/>
                  </a:lnTo>
                  <a:lnTo>
                    <a:pt x="226" y="303"/>
                  </a:lnTo>
                  <a:lnTo>
                    <a:pt x="207" y="311"/>
                  </a:lnTo>
                  <a:lnTo>
                    <a:pt x="192" y="316"/>
                  </a:lnTo>
                  <a:lnTo>
                    <a:pt x="180" y="314"/>
                  </a:lnTo>
                  <a:lnTo>
                    <a:pt x="165" y="322"/>
                  </a:lnTo>
                  <a:lnTo>
                    <a:pt x="151" y="326"/>
                  </a:lnTo>
                  <a:lnTo>
                    <a:pt x="149" y="334"/>
                  </a:lnTo>
                  <a:lnTo>
                    <a:pt x="144" y="341"/>
                  </a:lnTo>
                  <a:lnTo>
                    <a:pt x="132" y="341"/>
                  </a:lnTo>
                  <a:lnTo>
                    <a:pt x="124" y="343"/>
                  </a:lnTo>
                  <a:lnTo>
                    <a:pt x="111" y="339"/>
                  </a:lnTo>
                  <a:lnTo>
                    <a:pt x="101" y="341"/>
                  </a:lnTo>
                  <a:lnTo>
                    <a:pt x="92" y="343"/>
                  </a:lnTo>
                  <a:lnTo>
                    <a:pt x="84" y="351"/>
                  </a:lnTo>
                  <a:lnTo>
                    <a:pt x="78" y="349"/>
                  </a:lnTo>
                  <a:lnTo>
                    <a:pt x="73" y="355"/>
                  </a:lnTo>
                  <a:lnTo>
                    <a:pt x="65" y="360"/>
                  </a:lnTo>
                  <a:lnTo>
                    <a:pt x="55" y="359"/>
                  </a:lnTo>
                  <a:lnTo>
                    <a:pt x="46" y="359"/>
                  </a:lnTo>
                  <a:lnTo>
                    <a:pt x="30" y="347"/>
                  </a:lnTo>
                  <a:lnTo>
                    <a:pt x="25" y="345"/>
                  </a:lnTo>
                  <a:lnTo>
                    <a:pt x="25" y="335"/>
                  </a:lnTo>
                  <a:lnTo>
                    <a:pt x="30" y="334"/>
                  </a:lnTo>
                  <a:lnTo>
                    <a:pt x="34" y="332"/>
                  </a:lnTo>
                  <a:lnTo>
                    <a:pt x="32" y="326"/>
                  </a:lnTo>
                  <a:lnTo>
                    <a:pt x="34" y="314"/>
                  </a:lnTo>
                  <a:lnTo>
                    <a:pt x="32" y="305"/>
                  </a:lnTo>
                  <a:lnTo>
                    <a:pt x="27" y="289"/>
                  </a:lnTo>
                  <a:lnTo>
                    <a:pt x="25" y="282"/>
                  </a:lnTo>
                  <a:lnTo>
                    <a:pt x="25" y="272"/>
                  </a:lnTo>
                  <a:lnTo>
                    <a:pt x="19" y="263"/>
                  </a:lnTo>
                  <a:lnTo>
                    <a:pt x="19" y="257"/>
                  </a:lnTo>
                  <a:lnTo>
                    <a:pt x="13" y="253"/>
                  </a:lnTo>
                  <a:lnTo>
                    <a:pt x="11" y="241"/>
                  </a:lnTo>
                  <a:lnTo>
                    <a:pt x="2" y="228"/>
                  </a:lnTo>
                  <a:lnTo>
                    <a:pt x="0" y="222"/>
                  </a:lnTo>
                  <a:lnTo>
                    <a:pt x="7" y="228"/>
                  </a:lnTo>
                  <a:lnTo>
                    <a:pt x="2" y="216"/>
                  </a:lnTo>
                  <a:lnTo>
                    <a:pt x="9" y="218"/>
                  </a:lnTo>
                  <a:lnTo>
                    <a:pt x="13" y="226"/>
                  </a:lnTo>
                  <a:lnTo>
                    <a:pt x="13" y="218"/>
                  </a:lnTo>
                  <a:lnTo>
                    <a:pt x="5" y="205"/>
                  </a:lnTo>
                  <a:lnTo>
                    <a:pt x="4" y="201"/>
                  </a:lnTo>
                  <a:lnTo>
                    <a:pt x="0" y="197"/>
                  </a:lnTo>
                  <a:lnTo>
                    <a:pt x="2" y="188"/>
                  </a:lnTo>
                  <a:lnTo>
                    <a:pt x="5" y="184"/>
                  </a:lnTo>
                  <a:lnTo>
                    <a:pt x="7" y="178"/>
                  </a:lnTo>
                  <a:lnTo>
                    <a:pt x="5" y="169"/>
                  </a:lnTo>
                  <a:lnTo>
                    <a:pt x="13" y="159"/>
                  </a:lnTo>
                  <a:lnTo>
                    <a:pt x="13" y="169"/>
                  </a:lnTo>
                  <a:lnTo>
                    <a:pt x="19" y="159"/>
                  </a:lnTo>
                  <a:lnTo>
                    <a:pt x="30" y="153"/>
                  </a:lnTo>
                  <a:lnTo>
                    <a:pt x="36" y="149"/>
                  </a:lnTo>
                  <a:lnTo>
                    <a:pt x="48" y="142"/>
                  </a:lnTo>
                  <a:lnTo>
                    <a:pt x="55" y="142"/>
                  </a:lnTo>
                  <a:lnTo>
                    <a:pt x="57" y="144"/>
                  </a:lnTo>
                  <a:lnTo>
                    <a:pt x="69" y="138"/>
                  </a:lnTo>
                  <a:lnTo>
                    <a:pt x="76" y="138"/>
                  </a:lnTo>
                  <a:lnTo>
                    <a:pt x="78" y="134"/>
                  </a:lnTo>
                  <a:lnTo>
                    <a:pt x="82" y="132"/>
                  </a:lnTo>
                  <a:lnTo>
                    <a:pt x="92" y="132"/>
                  </a:lnTo>
                  <a:lnTo>
                    <a:pt x="103" y="128"/>
                  </a:lnTo>
                  <a:lnTo>
                    <a:pt x="113" y="122"/>
                  </a:lnTo>
                  <a:lnTo>
                    <a:pt x="117" y="113"/>
                  </a:lnTo>
                  <a:lnTo>
                    <a:pt x="124" y="107"/>
                  </a:lnTo>
                  <a:lnTo>
                    <a:pt x="124" y="99"/>
                  </a:lnTo>
                  <a:lnTo>
                    <a:pt x="126" y="94"/>
                  </a:lnTo>
                  <a:lnTo>
                    <a:pt x="134" y="80"/>
                  </a:lnTo>
                  <a:lnTo>
                    <a:pt x="142" y="94"/>
                  </a:lnTo>
                  <a:lnTo>
                    <a:pt x="146" y="90"/>
                  </a:lnTo>
                  <a:lnTo>
                    <a:pt x="142" y="84"/>
                  </a:lnTo>
                  <a:lnTo>
                    <a:pt x="146" y="76"/>
                  </a:lnTo>
                  <a:lnTo>
                    <a:pt x="153" y="80"/>
                  </a:lnTo>
                  <a:lnTo>
                    <a:pt x="155" y="69"/>
                  </a:lnTo>
                  <a:lnTo>
                    <a:pt x="161" y="61"/>
                  </a:lnTo>
                  <a:lnTo>
                    <a:pt x="165" y="57"/>
                  </a:lnTo>
                  <a:lnTo>
                    <a:pt x="172" y="53"/>
                  </a:lnTo>
                  <a:lnTo>
                    <a:pt x="172" y="50"/>
                  </a:lnTo>
                  <a:lnTo>
                    <a:pt x="178" y="51"/>
                  </a:lnTo>
                  <a:lnTo>
                    <a:pt x="178" y="48"/>
                  </a:lnTo>
                  <a:lnTo>
                    <a:pt x="184" y="46"/>
                  </a:lnTo>
                  <a:lnTo>
                    <a:pt x="192" y="44"/>
                  </a:lnTo>
                  <a:lnTo>
                    <a:pt x="201" y="50"/>
                  </a:lnTo>
                  <a:lnTo>
                    <a:pt x="209" y="57"/>
                  </a:lnTo>
                  <a:lnTo>
                    <a:pt x="218" y="57"/>
                  </a:lnTo>
                  <a:lnTo>
                    <a:pt x="226" y="59"/>
                  </a:lnTo>
                  <a:lnTo>
                    <a:pt x="224" y="51"/>
                  </a:lnTo>
                  <a:lnTo>
                    <a:pt x="232" y="42"/>
                  </a:lnTo>
                  <a:lnTo>
                    <a:pt x="236" y="36"/>
                  </a:lnTo>
                  <a:lnTo>
                    <a:pt x="236" y="34"/>
                  </a:lnTo>
                  <a:lnTo>
                    <a:pt x="241" y="25"/>
                  </a:lnTo>
                  <a:lnTo>
                    <a:pt x="249" y="19"/>
                  </a:lnTo>
                  <a:lnTo>
                    <a:pt x="257" y="21"/>
                  </a:lnTo>
                  <a:lnTo>
                    <a:pt x="268" y="19"/>
                  </a:lnTo>
                  <a:lnTo>
                    <a:pt x="268" y="13"/>
                  </a:lnTo>
                  <a:lnTo>
                    <a:pt x="259" y="9"/>
                  </a:lnTo>
                  <a:lnTo>
                    <a:pt x="264" y="7"/>
                  </a:lnTo>
                  <a:lnTo>
                    <a:pt x="274" y="9"/>
                  </a:lnTo>
                  <a:lnTo>
                    <a:pt x="282" y="15"/>
                  </a:lnTo>
                  <a:lnTo>
                    <a:pt x="293" y="19"/>
                  </a:lnTo>
                  <a:lnTo>
                    <a:pt x="299" y="17"/>
                  </a:lnTo>
                  <a:lnTo>
                    <a:pt x="307" y="21"/>
                  </a:lnTo>
                  <a:lnTo>
                    <a:pt x="314" y="19"/>
                  </a:lnTo>
                  <a:lnTo>
                    <a:pt x="320" y="19"/>
                  </a:lnTo>
                  <a:lnTo>
                    <a:pt x="324" y="17"/>
                  </a:lnTo>
                  <a:lnTo>
                    <a:pt x="328" y="23"/>
                  </a:lnTo>
                  <a:lnTo>
                    <a:pt x="324" y="30"/>
                  </a:lnTo>
                  <a:lnTo>
                    <a:pt x="320" y="36"/>
                  </a:lnTo>
                  <a:lnTo>
                    <a:pt x="314" y="36"/>
                  </a:lnTo>
                  <a:lnTo>
                    <a:pt x="316" y="42"/>
                  </a:lnTo>
                  <a:lnTo>
                    <a:pt x="312" y="50"/>
                  </a:lnTo>
                  <a:lnTo>
                    <a:pt x="309" y="57"/>
                  </a:lnTo>
                  <a:lnTo>
                    <a:pt x="309" y="59"/>
                  </a:lnTo>
                  <a:lnTo>
                    <a:pt x="320" y="69"/>
                  </a:lnTo>
                  <a:lnTo>
                    <a:pt x="330" y="74"/>
                  </a:lnTo>
                  <a:lnTo>
                    <a:pt x="339" y="78"/>
                  </a:lnTo>
                  <a:lnTo>
                    <a:pt x="349" y="86"/>
                  </a:lnTo>
                  <a:lnTo>
                    <a:pt x="351" y="86"/>
                  </a:lnTo>
                  <a:lnTo>
                    <a:pt x="359" y="90"/>
                  </a:lnTo>
                  <a:lnTo>
                    <a:pt x="362" y="96"/>
                  </a:lnTo>
                  <a:lnTo>
                    <a:pt x="376" y="99"/>
                  </a:lnTo>
                  <a:lnTo>
                    <a:pt x="383" y="96"/>
                  </a:lnTo>
                  <a:lnTo>
                    <a:pt x="387" y="86"/>
                  </a:lnTo>
                  <a:lnTo>
                    <a:pt x="387" y="80"/>
                  </a:lnTo>
                  <a:lnTo>
                    <a:pt x="389" y="73"/>
                  </a:lnTo>
                  <a:lnTo>
                    <a:pt x="395" y="61"/>
                  </a:lnTo>
                  <a:lnTo>
                    <a:pt x="393" y="55"/>
                  </a:lnTo>
                  <a:lnTo>
                    <a:pt x="393" y="50"/>
                  </a:lnTo>
                  <a:lnTo>
                    <a:pt x="391" y="42"/>
                  </a:lnTo>
                  <a:lnTo>
                    <a:pt x="395" y="32"/>
                  </a:lnTo>
                  <a:lnTo>
                    <a:pt x="397" y="28"/>
                  </a:lnTo>
                  <a:lnTo>
                    <a:pt x="395" y="23"/>
                  </a:lnTo>
                  <a:lnTo>
                    <a:pt x="399" y="17"/>
                  </a:lnTo>
                  <a:lnTo>
                    <a:pt x="401" y="9"/>
                  </a:lnTo>
                  <a:lnTo>
                    <a:pt x="403" y="5"/>
                  </a:lnTo>
                  <a:lnTo>
                    <a:pt x="406" y="0"/>
                  </a:lnTo>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8" name="Freeform 33">
              <a:extLst>
                <a:ext uri="{FF2B5EF4-FFF2-40B4-BE49-F238E27FC236}">
                  <a16:creationId xmlns:a16="http://schemas.microsoft.com/office/drawing/2014/main" id="{B5D95480-AEA7-42E8-9FDD-4349B62A4D0D}"/>
                </a:ext>
              </a:extLst>
            </p:cNvPr>
            <p:cNvSpPr>
              <a:spLocks/>
            </p:cNvSpPr>
            <p:nvPr/>
          </p:nvSpPr>
          <p:spPr bwMode="auto">
            <a:xfrm>
              <a:off x="7935912" y="4730317"/>
              <a:ext cx="22225" cy="12706"/>
            </a:xfrm>
            <a:custGeom>
              <a:avLst/>
              <a:gdLst>
                <a:gd name="T0" fmla="*/ 0 w 14"/>
                <a:gd name="T1" fmla="*/ 0 h 8"/>
                <a:gd name="T2" fmla="*/ 8 w 14"/>
                <a:gd name="T3" fmla="*/ 2 h 8"/>
                <a:gd name="T4" fmla="*/ 12 w 14"/>
                <a:gd name="T5" fmla="*/ 2 h 8"/>
                <a:gd name="T6" fmla="*/ 14 w 14"/>
                <a:gd name="T7" fmla="*/ 8 h 8"/>
                <a:gd name="T8" fmla="*/ 4 w 14"/>
                <a:gd name="T9" fmla="*/ 8 h 8"/>
                <a:gd name="T10" fmla="*/ 0 w 14"/>
                <a:gd name="T11" fmla="*/ 0 h 8"/>
              </a:gdLst>
              <a:ahLst/>
              <a:cxnLst>
                <a:cxn ang="0">
                  <a:pos x="T0" y="T1"/>
                </a:cxn>
                <a:cxn ang="0">
                  <a:pos x="T2" y="T3"/>
                </a:cxn>
                <a:cxn ang="0">
                  <a:pos x="T4" y="T5"/>
                </a:cxn>
                <a:cxn ang="0">
                  <a:pos x="T6" y="T7"/>
                </a:cxn>
                <a:cxn ang="0">
                  <a:pos x="T8" y="T9"/>
                </a:cxn>
                <a:cxn ang="0">
                  <a:pos x="T10" y="T11"/>
                </a:cxn>
              </a:cxnLst>
              <a:rect l="0" t="0" r="r" b="b"/>
              <a:pathLst>
                <a:path w="14" h="8">
                  <a:moveTo>
                    <a:pt x="0" y="0"/>
                  </a:moveTo>
                  <a:lnTo>
                    <a:pt x="8" y="2"/>
                  </a:lnTo>
                  <a:lnTo>
                    <a:pt x="12" y="2"/>
                  </a:lnTo>
                  <a:lnTo>
                    <a:pt x="14" y="8"/>
                  </a:lnTo>
                  <a:lnTo>
                    <a:pt x="4" y="8"/>
                  </a:lnTo>
                  <a:lnTo>
                    <a:pt x="0" y="0"/>
                  </a:lnTo>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9" name="Freeform 35">
              <a:extLst>
                <a:ext uri="{FF2B5EF4-FFF2-40B4-BE49-F238E27FC236}">
                  <a16:creationId xmlns:a16="http://schemas.microsoft.com/office/drawing/2014/main" id="{F9BBA758-2106-4A29-8EF9-4118AA105766}"/>
                </a:ext>
              </a:extLst>
            </p:cNvPr>
            <p:cNvSpPr>
              <a:spLocks/>
            </p:cNvSpPr>
            <p:nvPr/>
          </p:nvSpPr>
          <p:spPr bwMode="auto">
            <a:xfrm>
              <a:off x="6997700" y="4708082"/>
              <a:ext cx="39688" cy="22235"/>
            </a:xfrm>
            <a:custGeom>
              <a:avLst/>
              <a:gdLst>
                <a:gd name="T0" fmla="*/ 16 w 25"/>
                <a:gd name="T1" fmla="*/ 0 h 14"/>
                <a:gd name="T2" fmla="*/ 21 w 25"/>
                <a:gd name="T3" fmla="*/ 4 h 14"/>
                <a:gd name="T4" fmla="*/ 25 w 25"/>
                <a:gd name="T5" fmla="*/ 10 h 14"/>
                <a:gd name="T6" fmla="*/ 25 w 25"/>
                <a:gd name="T7" fmla="*/ 14 h 14"/>
                <a:gd name="T8" fmla="*/ 20 w 25"/>
                <a:gd name="T9" fmla="*/ 14 h 14"/>
                <a:gd name="T10" fmla="*/ 0 w 25"/>
                <a:gd name="T11" fmla="*/ 2 h 14"/>
                <a:gd name="T12" fmla="*/ 16 w 25"/>
                <a:gd name="T13" fmla="*/ 0 h 14"/>
              </a:gdLst>
              <a:ahLst/>
              <a:cxnLst>
                <a:cxn ang="0">
                  <a:pos x="T0" y="T1"/>
                </a:cxn>
                <a:cxn ang="0">
                  <a:pos x="T2" y="T3"/>
                </a:cxn>
                <a:cxn ang="0">
                  <a:pos x="T4" y="T5"/>
                </a:cxn>
                <a:cxn ang="0">
                  <a:pos x="T6" y="T7"/>
                </a:cxn>
                <a:cxn ang="0">
                  <a:pos x="T8" y="T9"/>
                </a:cxn>
                <a:cxn ang="0">
                  <a:pos x="T10" y="T11"/>
                </a:cxn>
                <a:cxn ang="0">
                  <a:pos x="T12" y="T13"/>
                </a:cxn>
              </a:cxnLst>
              <a:rect l="0" t="0" r="r" b="b"/>
              <a:pathLst>
                <a:path w="25" h="14">
                  <a:moveTo>
                    <a:pt x="16" y="0"/>
                  </a:moveTo>
                  <a:lnTo>
                    <a:pt x="21" y="4"/>
                  </a:lnTo>
                  <a:lnTo>
                    <a:pt x="25" y="10"/>
                  </a:lnTo>
                  <a:lnTo>
                    <a:pt x="25" y="14"/>
                  </a:lnTo>
                  <a:lnTo>
                    <a:pt x="20" y="14"/>
                  </a:lnTo>
                  <a:lnTo>
                    <a:pt x="0" y="2"/>
                  </a:lnTo>
                  <a:lnTo>
                    <a:pt x="16" y="0"/>
                  </a:lnTo>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0" name="Freeform 37">
              <a:extLst>
                <a:ext uri="{FF2B5EF4-FFF2-40B4-BE49-F238E27FC236}">
                  <a16:creationId xmlns:a16="http://schemas.microsoft.com/office/drawing/2014/main" id="{16572115-98E6-4E70-BE7F-F23209ABAB32}"/>
                </a:ext>
              </a:extLst>
            </p:cNvPr>
            <p:cNvSpPr>
              <a:spLocks/>
            </p:cNvSpPr>
            <p:nvPr/>
          </p:nvSpPr>
          <p:spPr bwMode="auto">
            <a:xfrm>
              <a:off x="7896225" y="4708082"/>
              <a:ext cx="28575" cy="12706"/>
            </a:xfrm>
            <a:custGeom>
              <a:avLst/>
              <a:gdLst>
                <a:gd name="T0" fmla="*/ 2 w 18"/>
                <a:gd name="T1" fmla="*/ 0 h 8"/>
                <a:gd name="T2" fmla="*/ 12 w 18"/>
                <a:gd name="T3" fmla="*/ 0 h 8"/>
                <a:gd name="T4" fmla="*/ 16 w 18"/>
                <a:gd name="T5" fmla="*/ 4 h 8"/>
                <a:gd name="T6" fmla="*/ 18 w 18"/>
                <a:gd name="T7" fmla="*/ 8 h 8"/>
                <a:gd name="T8" fmla="*/ 12 w 18"/>
                <a:gd name="T9" fmla="*/ 8 h 8"/>
                <a:gd name="T10" fmla="*/ 4 w 18"/>
                <a:gd name="T11" fmla="*/ 6 h 8"/>
                <a:gd name="T12" fmla="*/ 0 w 18"/>
                <a:gd name="T13" fmla="*/ 4 h 8"/>
                <a:gd name="T14" fmla="*/ 2 w 18"/>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 h="8">
                  <a:moveTo>
                    <a:pt x="2" y="0"/>
                  </a:moveTo>
                  <a:lnTo>
                    <a:pt x="12" y="0"/>
                  </a:lnTo>
                  <a:lnTo>
                    <a:pt x="16" y="4"/>
                  </a:lnTo>
                  <a:lnTo>
                    <a:pt x="18" y="8"/>
                  </a:lnTo>
                  <a:lnTo>
                    <a:pt x="12" y="8"/>
                  </a:lnTo>
                  <a:lnTo>
                    <a:pt x="4" y="6"/>
                  </a:lnTo>
                  <a:lnTo>
                    <a:pt x="0" y="4"/>
                  </a:lnTo>
                  <a:lnTo>
                    <a:pt x="2" y="0"/>
                  </a:lnTo>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1" name="Freeform 39">
              <a:extLst>
                <a:ext uri="{FF2B5EF4-FFF2-40B4-BE49-F238E27FC236}">
                  <a16:creationId xmlns:a16="http://schemas.microsoft.com/office/drawing/2014/main" id="{5BD9F178-A790-4BAA-BA28-21031EF2EBAE}"/>
                </a:ext>
              </a:extLst>
            </p:cNvPr>
            <p:cNvSpPr>
              <a:spLocks/>
            </p:cNvSpPr>
            <p:nvPr/>
          </p:nvSpPr>
          <p:spPr bwMode="auto">
            <a:xfrm>
              <a:off x="7918450" y="4687436"/>
              <a:ext cx="23813" cy="30177"/>
            </a:xfrm>
            <a:custGeom>
              <a:avLst/>
              <a:gdLst>
                <a:gd name="T0" fmla="*/ 0 w 15"/>
                <a:gd name="T1" fmla="*/ 0 h 19"/>
                <a:gd name="T2" fmla="*/ 6 w 15"/>
                <a:gd name="T3" fmla="*/ 0 h 19"/>
                <a:gd name="T4" fmla="*/ 11 w 15"/>
                <a:gd name="T5" fmla="*/ 12 h 19"/>
                <a:gd name="T6" fmla="*/ 15 w 15"/>
                <a:gd name="T7" fmla="*/ 17 h 19"/>
                <a:gd name="T8" fmla="*/ 15 w 15"/>
                <a:gd name="T9" fmla="*/ 19 h 19"/>
                <a:gd name="T10" fmla="*/ 4 w 15"/>
                <a:gd name="T11" fmla="*/ 8 h 19"/>
                <a:gd name="T12" fmla="*/ 0 w 15"/>
                <a:gd name="T13" fmla="*/ 0 h 19"/>
              </a:gdLst>
              <a:ahLst/>
              <a:cxnLst>
                <a:cxn ang="0">
                  <a:pos x="T0" y="T1"/>
                </a:cxn>
                <a:cxn ang="0">
                  <a:pos x="T2" y="T3"/>
                </a:cxn>
                <a:cxn ang="0">
                  <a:pos x="T4" y="T5"/>
                </a:cxn>
                <a:cxn ang="0">
                  <a:pos x="T6" y="T7"/>
                </a:cxn>
                <a:cxn ang="0">
                  <a:pos x="T8" y="T9"/>
                </a:cxn>
                <a:cxn ang="0">
                  <a:pos x="T10" y="T11"/>
                </a:cxn>
                <a:cxn ang="0">
                  <a:pos x="T12" y="T13"/>
                </a:cxn>
              </a:cxnLst>
              <a:rect l="0" t="0" r="r" b="b"/>
              <a:pathLst>
                <a:path w="15" h="19">
                  <a:moveTo>
                    <a:pt x="0" y="0"/>
                  </a:moveTo>
                  <a:lnTo>
                    <a:pt x="6" y="0"/>
                  </a:lnTo>
                  <a:lnTo>
                    <a:pt x="11" y="12"/>
                  </a:lnTo>
                  <a:lnTo>
                    <a:pt x="15" y="17"/>
                  </a:lnTo>
                  <a:lnTo>
                    <a:pt x="15" y="19"/>
                  </a:lnTo>
                  <a:lnTo>
                    <a:pt x="4" y="8"/>
                  </a:lnTo>
                  <a:lnTo>
                    <a:pt x="0" y="0"/>
                  </a:lnTo>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2" name="Freeform 41">
              <a:extLst>
                <a:ext uri="{FF2B5EF4-FFF2-40B4-BE49-F238E27FC236}">
                  <a16:creationId xmlns:a16="http://schemas.microsoft.com/office/drawing/2014/main" id="{2BFBE1FB-D277-4380-9039-8306B20EC4AA}"/>
                </a:ext>
              </a:extLst>
            </p:cNvPr>
            <p:cNvSpPr>
              <a:spLocks/>
            </p:cNvSpPr>
            <p:nvPr/>
          </p:nvSpPr>
          <p:spPr bwMode="auto">
            <a:xfrm>
              <a:off x="7099300" y="4687436"/>
              <a:ext cx="84138" cy="46059"/>
            </a:xfrm>
            <a:custGeom>
              <a:avLst/>
              <a:gdLst>
                <a:gd name="T0" fmla="*/ 48 w 53"/>
                <a:gd name="T1" fmla="*/ 0 h 29"/>
                <a:gd name="T2" fmla="*/ 53 w 53"/>
                <a:gd name="T3" fmla="*/ 2 h 29"/>
                <a:gd name="T4" fmla="*/ 48 w 53"/>
                <a:gd name="T5" fmla="*/ 4 h 29"/>
                <a:gd name="T6" fmla="*/ 34 w 53"/>
                <a:gd name="T7" fmla="*/ 12 h 29"/>
                <a:gd name="T8" fmla="*/ 23 w 53"/>
                <a:gd name="T9" fmla="*/ 13 h 29"/>
                <a:gd name="T10" fmla="*/ 23 w 53"/>
                <a:gd name="T11" fmla="*/ 10 h 29"/>
                <a:gd name="T12" fmla="*/ 21 w 53"/>
                <a:gd name="T13" fmla="*/ 10 h 29"/>
                <a:gd name="T14" fmla="*/ 23 w 53"/>
                <a:gd name="T15" fmla="*/ 10 h 29"/>
                <a:gd name="T16" fmla="*/ 23 w 53"/>
                <a:gd name="T17" fmla="*/ 13 h 29"/>
                <a:gd name="T18" fmla="*/ 13 w 53"/>
                <a:gd name="T19" fmla="*/ 25 h 29"/>
                <a:gd name="T20" fmla="*/ 0 w 53"/>
                <a:gd name="T21" fmla="*/ 29 h 29"/>
                <a:gd name="T22" fmla="*/ 0 w 53"/>
                <a:gd name="T23" fmla="*/ 27 h 29"/>
                <a:gd name="T24" fmla="*/ 0 w 53"/>
                <a:gd name="T25" fmla="*/ 21 h 29"/>
                <a:gd name="T26" fmla="*/ 5 w 53"/>
                <a:gd name="T27" fmla="*/ 13 h 29"/>
                <a:gd name="T28" fmla="*/ 21 w 53"/>
                <a:gd name="T29" fmla="*/ 8 h 29"/>
                <a:gd name="T30" fmla="*/ 23 w 53"/>
                <a:gd name="T31" fmla="*/ 4 h 29"/>
                <a:gd name="T32" fmla="*/ 34 w 53"/>
                <a:gd name="T33" fmla="*/ 2 h 29"/>
                <a:gd name="T34" fmla="*/ 44 w 53"/>
                <a:gd name="T35" fmla="*/ 2 h 29"/>
                <a:gd name="T36" fmla="*/ 48 w 53"/>
                <a:gd name="T37"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3" h="29">
                  <a:moveTo>
                    <a:pt x="48" y="0"/>
                  </a:moveTo>
                  <a:lnTo>
                    <a:pt x="53" y="2"/>
                  </a:lnTo>
                  <a:lnTo>
                    <a:pt x="48" y="4"/>
                  </a:lnTo>
                  <a:lnTo>
                    <a:pt x="34" y="12"/>
                  </a:lnTo>
                  <a:lnTo>
                    <a:pt x="23" y="13"/>
                  </a:lnTo>
                  <a:lnTo>
                    <a:pt x="23" y="10"/>
                  </a:lnTo>
                  <a:lnTo>
                    <a:pt x="21" y="10"/>
                  </a:lnTo>
                  <a:lnTo>
                    <a:pt x="23" y="10"/>
                  </a:lnTo>
                  <a:lnTo>
                    <a:pt x="23" y="13"/>
                  </a:lnTo>
                  <a:lnTo>
                    <a:pt x="13" y="25"/>
                  </a:lnTo>
                  <a:lnTo>
                    <a:pt x="0" y="29"/>
                  </a:lnTo>
                  <a:lnTo>
                    <a:pt x="0" y="27"/>
                  </a:lnTo>
                  <a:lnTo>
                    <a:pt x="0" y="21"/>
                  </a:lnTo>
                  <a:lnTo>
                    <a:pt x="5" y="13"/>
                  </a:lnTo>
                  <a:lnTo>
                    <a:pt x="21" y="8"/>
                  </a:lnTo>
                  <a:lnTo>
                    <a:pt x="23" y="4"/>
                  </a:lnTo>
                  <a:lnTo>
                    <a:pt x="34" y="2"/>
                  </a:lnTo>
                  <a:lnTo>
                    <a:pt x="44" y="2"/>
                  </a:lnTo>
                  <a:lnTo>
                    <a:pt x="48" y="0"/>
                  </a:lnTo>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3" name="Freeform 43">
              <a:extLst>
                <a:ext uri="{FF2B5EF4-FFF2-40B4-BE49-F238E27FC236}">
                  <a16:creationId xmlns:a16="http://schemas.microsoft.com/office/drawing/2014/main" id="{011F907C-A9D5-4313-AF9E-E89959759D70}"/>
                </a:ext>
              </a:extLst>
            </p:cNvPr>
            <p:cNvSpPr>
              <a:spLocks/>
            </p:cNvSpPr>
            <p:nvPr/>
          </p:nvSpPr>
          <p:spPr bwMode="auto">
            <a:xfrm>
              <a:off x="6950075" y="4681083"/>
              <a:ext cx="50800" cy="22235"/>
            </a:xfrm>
            <a:custGeom>
              <a:avLst/>
              <a:gdLst>
                <a:gd name="T0" fmla="*/ 17 w 32"/>
                <a:gd name="T1" fmla="*/ 0 h 14"/>
                <a:gd name="T2" fmla="*/ 21 w 32"/>
                <a:gd name="T3" fmla="*/ 4 h 14"/>
                <a:gd name="T4" fmla="*/ 28 w 32"/>
                <a:gd name="T5" fmla="*/ 4 h 14"/>
                <a:gd name="T6" fmla="*/ 32 w 32"/>
                <a:gd name="T7" fmla="*/ 8 h 14"/>
                <a:gd name="T8" fmla="*/ 17 w 32"/>
                <a:gd name="T9" fmla="*/ 12 h 14"/>
                <a:gd name="T10" fmla="*/ 7 w 32"/>
                <a:gd name="T11" fmla="*/ 14 h 14"/>
                <a:gd name="T12" fmla="*/ 0 w 32"/>
                <a:gd name="T13" fmla="*/ 14 h 14"/>
                <a:gd name="T14" fmla="*/ 5 w 32"/>
                <a:gd name="T15" fmla="*/ 6 h 14"/>
                <a:gd name="T16" fmla="*/ 13 w 32"/>
                <a:gd name="T17" fmla="*/ 6 h 14"/>
                <a:gd name="T18" fmla="*/ 17 w 32"/>
                <a:gd name="T19"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14">
                  <a:moveTo>
                    <a:pt x="17" y="0"/>
                  </a:moveTo>
                  <a:lnTo>
                    <a:pt x="21" y="4"/>
                  </a:lnTo>
                  <a:lnTo>
                    <a:pt x="28" y="4"/>
                  </a:lnTo>
                  <a:lnTo>
                    <a:pt x="32" y="8"/>
                  </a:lnTo>
                  <a:lnTo>
                    <a:pt x="17" y="12"/>
                  </a:lnTo>
                  <a:lnTo>
                    <a:pt x="7" y="14"/>
                  </a:lnTo>
                  <a:lnTo>
                    <a:pt x="0" y="14"/>
                  </a:lnTo>
                  <a:lnTo>
                    <a:pt x="5" y="6"/>
                  </a:lnTo>
                  <a:lnTo>
                    <a:pt x="13" y="6"/>
                  </a:lnTo>
                  <a:lnTo>
                    <a:pt x="17" y="0"/>
                  </a:lnTo>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4" name="Freeform 45">
              <a:extLst>
                <a:ext uri="{FF2B5EF4-FFF2-40B4-BE49-F238E27FC236}">
                  <a16:creationId xmlns:a16="http://schemas.microsoft.com/office/drawing/2014/main" id="{32962D00-D3E6-4F09-92F7-807851371136}"/>
                </a:ext>
              </a:extLst>
            </p:cNvPr>
            <p:cNvSpPr>
              <a:spLocks/>
            </p:cNvSpPr>
            <p:nvPr/>
          </p:nvSpPr>
          <p:spPr bwMode="auto">
            <a:xfrm>
              <a:off x="7023100" y="4681083"/>
              <a:ext cx="63500" cy="19059"/>
            </a:xfrm>
            <a:custGeom>
              <a:avLst/>
              <a:gdLst>
                <a:gd name="T0" fmla="*/ 40 w 40"/>
                <a:gd name="T1" fmla="*/ 0 h 12"/>
                <a:gd name="T2" fmla="*/ 38 w 40"/>
                <a:gd name="T3" fmla="*/ 8 h 12"/>
                <a:gd name="T4" fmla="*/ 17 w 40"/>
                <a:gd name="T5" fmla="*/ 12 h 12"/>
                <a:gd name="T6" fmla="*/ 0 w 40"/>
                <a:gd name="T7" fmla="*/ 10 h 12"/>
                <a:gd name="T8" fmla="*/ 0 w 40"/>
                <a:gd name="T9" fmla="*/ 6 h 12"/>
                <a:gd name="T10" fmla="*/ 9 w 40"/>
                <a:gd name="T11" fmla="*/ 2 h 12"/>
                <a:gd name="T12" fmla="*/ 19 w 40"/>
                <a:gd name="T13" fmla="*/ 8 h 12"/>
                <a:gd name="T14" fmla="*/ 27 w 40"/>
                <a:gd name="T15" fmla="*/ 6 h 12"/>
                <a:gd name="T16" fmla="*/ 40 w 40"/>
                <a:gd name="T17"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 h="12">
                  <a:moveTo>
                    <a:pt x="40" y="0"/>
                  </a:moveTo>
                  <a:lnTo>
                    <a:pt x="38" y="8"/>
                  </a:lnTo>
                  <a:lnTo>
                    <a:pt x="17" y="12"/>
                  </a:lnTo>
                  <a:lnTo>
                    <a:pt x="0" y="10"/>
                  </a:lnTo>
                  <a:lnTo>
                    <a:pt x="0" y="6"/>
                  </a:lnTo>
                  <a:lnTo>
                    <a:pt x="9" y="2"/>
                  </a:lnTo>
                  <a:lnTo>
                    <a:pt x="19" y="8"/>
                  </a:lnTo>
                  <a:lnTo>
                    <a:pt x="27" y="6"/>
                  </a:lnTo>
                  <a:lnTo>
                    <a:pt x="40" y="0"/>
                  </a:lnTo>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5" name="Freeform 47">
              <a:extLst>
                <a:ext uri="{FF2B5EF4-FFF2-40B4-BE49-F238E27FC236}">
                  <a16:creationId xmlns:a16="http://schemas.microsoft.com/office/drawing/2014/main" id="{6BD87D53-7DF6-4D4A-A546-62A0C63C01EE}"/>
                </a:ext>
              </a:extLst>
            </p:cNvPr>
            <p:cNvSpPr>
              <a:spLocks/>
            </p:cNvSpPr>
            <p:nvPr/>
          </p:nvSpPr>
          <p:spPr bwMode="auto">
            <a:xfrm>
              <a:off x="7866062" y="4666789"/>
              <a:ext cx="39688" cy="27000"/>
            </a:xfrm>
            <a:custGeom>
              <a:avLst/>
              <a:gdLst>
                <a:gd name="T0" fmla="*/ 4 w 25"/>
                <a:gd name="T1" fmla="*/ 0 h 17"/>
                <a:gd name="T2" fmla="*/ 10 w 25"/>
                <a:gd name="T3" fmla="*/ 1 h 17"/>
                <a:gd name="T4" fmla="*/ 19 w 25"/>
                <a:gd name="T5" fmla="*/ 7 h 17"/>
                <a:gd name="T6" fmla="*/ 23 w 25"/>
                <a:gd name="T7" fmla="*/ 13 h 17"/>
                <a:gd name="T8" fmla="*/ 25 w 25"/>
                <a:gd name="T9" fmla="*/ 17 h 17"/>
                <a:gd name="T10" fmla="*/ 14 w 25"/>
                <a:gd name="T11" fmla="*/ 9 h 17"/>
                <a:gd name="T12" fmla="*/ 8 w 25"/>
                <a:gd name="T13" fmla="*/ 3 h 17"/>
                <a:gd name="T14" fmla="*/ 0 w 25"/>
                <a:gd name="T15" fmla="*/ 0 h 17"/>
                <a:gd name="T16" fmla="*/ 4 w 25"/>
                <a:gd name="T17"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17">
                  <a:moveTo>
                    <a:pt x="4" y="0"/>
                  </a:moveTo>
                  <a:lnTo>
                    <a:pt x="10" y="1"/>
                  </a:lnTo>
                  <a:lnTo>
                    <a:pt x="19" y="7"/>
                  </a:lnTo>
                  <a:lnTo>
                    <a:pt x="23" y="13"/>
                  </a:lnTo>
                  <a:lnTo>
                    <a:pt x="25" y="17"/>
                  </a:lnTo>
                  <a:lnTo>
                    <a:pt x="14" y="9"/>
                  </a:lnTo>
                  <a:lnTo>
                    <a:pt x="8" y="3"/>
                  </a:lnTo>
                  <a:lnTo>
                    <a:pt x="0" y="0"/>
                  </a:lnTo>
                  <a:lnTo>
                    <a:pt x="4" y="0"/>
                  </a:lnTo>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6" name="Freeform 49">
              <a:extLst>
                <a:ext uri="{FF2B5EF4-FFF2-40B4-BE49-F238E27FC236}">
                  <a16:creationId xmlns:a16="http://schemas.microsoft.com/office/drawing/2014/main" id="{8CD0383E-0898-45B8-9AA3-4B966D5090CB}"/>
                </a:ext>
              </a:extLst>
            </p:cNvPr>
            <p:cNvSpPr>
              <a:spLocks/>
            </p:cNvSpPr>
            <p:nvPr/>
          </p:nvSpPr>
          <p:spPr bwMode="auto">
            <a:xfrm>
              <a:off x="7829550" y="4650906"/>
              <a:ext cx="25400" cy="15882"/>
            </a:xfrm>
            <a:custGeom>
              <a:avLst/>
              <a:gdLst>
                <a:gd name="T0" fmla="*/ 2 w 16"/>
                <a:gd name="T1" fmla="*/ 0 h 10"/>
                <a:gd name="T2" fmla="*/ 10 w 16"/>
                <a:gd name="T3" fmla="*/ 4 h 10"/>
                <a:gd name="T4" fmla="*/ 16 w 16"/>
                <a:gd name="T5" fmla="*/ 10 h 10"/>
                <a:gd name="T6" fmla="*/ 12 w 16"/>
                <a:gd name="T7" fmla="*/ 10 h 10"/>
                <a:gd name="T8" fmla="*/ 6 w 16"/>
                <a:gd name="T9" fmla="*/ 6 h 10"/>
                <a:gd name="T10" fmla="*/ 0 w 16"/>
                <a:gd name="T11" fmla="*/ 0 h 10"/>
                <a:gd name="T12" fmla="*/ 2 w 16"/>
                <a:gd name="T13" fmla="*/ 0 h 10"/>
              </a:gdLst>
              <a:ahLst/>
              <a:cxnLst>
                <a:cxn ang="0">
                  <a:pos x="T0" y="T1"/>
                </a:cxn>
                <a:cxn ang="0">
                  <a:pos x="T2" y="T3"/>
                </a:cxn>
                <a:cxn ang="0">
                  <a:pos x="T4" y="T5"/>
                </a:cxn>
                <a:cxn ang="0">
                  <a:pos x="T6" y="T7"/>
                </a:cxn>
                <a:cxn ang="0">
                  <a:pos x="T8" y="T9"/>
                </a:cxn>
                <a:cxn ang="0">
                  <a:pos x="T10" y="T11"/>
                </a:cxn>
                <a:cxn ang="0">
                  <a:pos x="T12" y="T13"/>
                </a:cxn>
              </a:cxnLst>
              <a:rect l="0" t="0" r="r" b="b"/>
              <a:pathLst>
                <a:path w="16" h="10">
                  <a:moveTo>
                    <a:pt x="2" y="0"/>
                  </a:moveTo>
                  <a:lnTo>
                    <a:pt x="10" y="4"/>
                  </a:lnTo>
                  <a:lnTo>
                    <a:pt x="16" y="10"/>
                  </a:lnTo>
                  <a:lnTo>
                    <a:pt x="12" y="10"/>
                  </a:lnTo>
                  <a:lnTo>
                    <a:pt x="6" y="6"/>
                  </a:lnTo>
                  <a:lnTo>
                    <a:pt x="0" y="0"/>
                  </a:lnTo>
                  <a:lnTo>
                    <a:pt x="2" y="0"/>
                  </a:lnTo>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7" name="Freeform 51">
              <a:extLst>
                <a:ext uri="{FF2B5EF4-FFF2-40B4-BE49-F238E27FC236}">
                  <a16:creationId xmlns:a16="http://schemas.microsoft.com/office/drawing/2014/main" id="{707F5954-C2A4-4B72-AF7F-BB7E7CAB8ADC}"/>
                </a:ext>
              </a:extLst>
            </p:cNvPr>
            <p:cNvSpPr>
              <a:spLocks/>
            </p:cNvSpPr>
            <p:nvPr/>
          </p:nvSpPr>
          <p:spPr bwMode="auto">
            <a:xfrm>
              <a:off x="6699250" y="4635024"/>
              <a:ext cx="228600" cy="61941"/>
            </a:xfrm>
            <a:custGeom>
              <a:avLst/>
              <a:gdLst>
                <a:gd name="T0" fmla="*/ 8 w 144"/>
                <a:gd name="T1" fmla="*/ 0 h 39"/>
                <a:gd name="T2" fmla="*/ 25 w 144"/>
                <a:gd name="T3" fmla="*/ 0 h 39"/>
                <a:gd name="T4" fmla="*/ 37 w 144"/>
                <a:gd name="T5" fmla="*/ 4 h 39"/>
                <a:gd name="T6" fmla="*/ 43 w 144"/>
                <a:gd name="T7" fmla="*/ 6 h 39"/>
                <a:gd name="T8" fmla="*/ 44 w 144"/>
                <a:gd name="T9" fmla="*/ 10 h 39"/>
                <a:gd name="T10" fmla="*/ 71 w 144"/>
                <a:gd name="T11" fmla="*/ 12 h 39"/>
                <a:gd name="T12" fmla="*/ 73 w 144"/>
                <a:gd name="T13" fmla="*/ 6 h 39"/>
                <a:gd name="T14" fmla="*/ 100 w 144"/>
                <a:gd name="T15" fmla="*/ 12 h 39"/>
                <a:gd name="T16" fmla="*/ 106 w 144"/>
                <a:gd name="T17" fmla="*/ 21 h 39"/>
                <a:gd name="T18" fmla="*/ 125 w 144"/>
                <a:gd name="T19" fmla="*/ 23 h 39"/>
                <a:gd name="T20" fmla="*/ 144 w 144"/>
                <a:gd name="T21" fmla="*/ 33 h 39"/>
                <a:gd name="T22" fmla="*/ 127 w 144"/>
                <a:gd name="T23" fmla="*/ 39 h 39"/>
                <a:gd name="T24" fmla="*/ 112 w 144"/>
                <a:gd name="T25" fmla="*/ 33 h 39"/>
                <a:gd name="T26" fmla="*/ 100 w 144"/>
                <a:gd name="T27" fmla="*/ 33 h 39"/>
                <a:gd name="T28" fmla="*/ 85 w 144"/>
                <a:gd name="T29" fmla="*/ 33 h 39"/>
                <a:gd name="T30" fmla="*/ 71 w 144"/>
                <a:gd name="T31" fmla="*/ 29 h 39"/>
                <a:gd name="T32" fmla="*/ 56 w 144"/>
                <a:gd name="T33" fmla="*/ 23 h 39"/>
                <a:gd name="T34" fmla="*/ 44 w 144"/>
                <a:gd name="T35" fmla="*/ 21 h 39"/>
                <a:gd name="T36" fmla="*/ 41 w 144"/>
                <a:gd name="T37" fmla="*/ 23 h 39"/>
                <a:gd name="T38" fmla="*/ 16 w 144"/>
                <a:gd name="T39" fmla="*/ 20 h 39"/>
                <a:gd name="T40" fmla="*/ 12 w 144"/>
                <a:gd name="T41" fmla="*/ 12 h 39"/>
                <a:gd name="T42" fmla="*/ 0 w 144"/>
                <a:gd name="T43" fmla="*/ 12 h 39"/>
                <a:gd name="T44" fmla="*/ 8 w 144"/>
                <a:gd name="T45" fmla="*/ 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44" h="39">
                  <a:moveTo>
                    <a:pt x="8" y="0"/>
                  </a:moveTo>
                  <a:lnTo>
                    <a:pt x="25" y="0"/>
                  </a:lnTo>
                  <a:lnTo>
                    <a:pt x="37" y="4"/>
                  </a:lnTo>
                  <a:lnTo>
                    <a:pt x="43" y="6"/>
                  </a:lnTo>
                  <a:lnTo>
                    <a:pt x="44" y="10"/>
                  </a:lnTo>
                  <a:lnTo>
                    <a:pt x="71" y="12"/>
                  </a:lnTo>
                  <a:lnTo>
                    <a:pt x="73" y="6"/>
                  </a:lnTo>
                  <a:lnTo>
                    <a:pt x="100" y="12"/>
                  </a:lnTo>
                  <a:lnTo>
                    <a:pt x="106" y="21"/>
                  </a:lnTo>
                  <a:lnTo>
                    <a:pt x="125" y="23"/>
                  </a:lnTo>
                  <a:lnTo>
                    <a:pt x="144" y="33"/>
                  </a:lnTo>
                  <a:lnTo>
                    <a:pt x="127" y="39"/>
                  </a:lnTo>
                  <a:lnTo>
                    <a:pt x="112" y="33"/>
                  </a:lnTo>
                  <a:lnTo>
                    <a:pt x="100" y="33"/>
                  </a:lnTo>
                  <a:lnTo>
                    <a:pt x="85" y="33"/>
                  </a:lnTo>
                  <a:lnTo>
                    <a:pt x="71" y="29"/>
                  </a:lnTo>
                  <a:lnTo>
                    <a:pt x="56" y="23"/>
                  </a:lnTo>
                  <a:lnTo>
                    <a:pt x="44" y="21"/>
                  </a:lnTo>
                  <a:lnTo>
                    <a:pt x="41" y="23"/>
                  </a:lnTo>
                  <a:lnTo>
                    <a:pt x="16" y="20"/>
                  </a:lnTo>
                  <a:lnTo>
                    <a:pt x="12" y="12"/>
                  </a:lnTo>
                  <a:lnTo>
                    <a:pt x="0" y="12"/>
                  </a:lnTo>
                  <a:lnTo>
                    <a:pt x="8" y="0"/>
                  </a:lnTo>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8" name="Freeform 53">
              <a:extLst>
                <a:ext uri="{FF2B5EF4-FFF2-40B4-BE49-F238E27FC236}">
                  <a16:creationId xmlns:a16="http://schemas.microsoft.com/office/drawing/2014/main" id="{10C14BA0-0465-4C3C-9AD8-AB5C37985A91}"/>
                </a:ext>
              </a:extLst>
            </p:cNvPr>
            <p:cNvSpPr>
              <a:spLocks/>
            </p:cNvSpPr>
            <p:nvPr/>
          </p:nvSpPr>
          <p:spPr bwMode="auto">
            <a:xfrm>
              <a:off x="7332662" y="4623907"/>
              <a:ext cx="15875" cy="30177"/>
            </a:xfrm>
            <a:custGeom>
              <a:avLst/>
              <a:gdLst>
                <a:gd name="T0" fmla="*/ 6 w 10"/>
                <a:gd name="T1" fmla="*/ 0 h 19"/>
                <a:gd name="T2" fmla="*/ 10 w 10"/>
                <a:gd name="T3" fmla="*/ 4 h 19"/>
                <a:gd name="T4" fmla="*/ 10 w 10"/>
                <a:gd name="T5" fmla="*/ 7 h 19"/>
                <a:gd name="T6" fmla="*/ 10 w 10"/>
                <a:gd name="T7" fmla="*/ 9 h 19"/>
                <a:gd name="T8" fmla="*/ 2 w 10"/>
                <a:gd name="T9" fmla="*/ 19 h 19"/>
                <a:gd name="T10" fmla="*/ 0 w 10"/>
                <a:gd name="T11" fmla="*/ 9 h 19"/>
                <a:gd name="T12" fmla="*/ 2 w 10"/>
                <a:gd name="T13" fmla="*/ 5 h 19"/>
                <a:gd name="T14" fmla="*/ 6 w 10"/>
                <a:gd name="T15" fmla="*/ 0 h 1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19">
                  <a:moveTo>
                    <a:pt x="6" y="0"/>
                  </a:moveTo>
                  <a:lnTo>
                    <a:pt x="10" y="4"/>
                  </a:lnTo>
                  <a:lnTo>
                    <a:pt x="10" y="7"/>
                  </a:lnTo>
                  <a:lnTo>
                    <a:pt x="10" y="9"/>
                  </a:lnTo>
                  <a:lnTo>
                    <a:pt x="2" y="19"/>
                  </a:lnTo>
                  <a:lnTo>
                    <a:pt x="0" y="9"/>
                  </a:lnTo>
                  <a:lnTo>
                    <a:pt x="2" y="5"/>
                  </a:lnTo>
                  <a:lnTo>
                    <a:pt x="6" y="0"/>
                  </a:lnTo>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9" name="Freeform 55">
              <a:extLst>
                <a:ext uri="{FF2B5EF4-FFF2-40B4-BE49-F238E27FC236}">
                  <a16:creationId xmlns:a16="http://schemas.microsoft.com/office/drawing/2014/main" id="{E615170D-A957-4CBA-84AF-6ABF00539783}"/>
                </a:ext>
              </a:extLst>
            </p:cNvPr>
            <p:cNvSpPr>
              <a:spLocks/>
            </p:cNvSpPr>
            <p:nvPr/>
          </p:nvSpPr>
          <p:spPr bwMode="auto">
            <a:xfrm>
              <a:off x="7786687" y="4614378"/>
              <a:ext cx="31750" cy="39706"/>
            </a:xfrm>
            <a:custGeom>
              <a:avLst/>
              <a:gdLst>
                <a:gd name="T0" fmla="*/ 2 w 20"/>
                <a:gd name="T1" fmla="*/ 0 h 25"/>
                <a:gd name="T2" fmla="*/ 4 w 20"/>
                <a:gd name="T3" fmla="*/ 4 h 25"/>
                <a:gd name="T4" fmla="*/ 6 w 20"/>
                <a:gd name="T5" fmla="*/ 8 h 25"/>
                <a:gd name="T6" fmla="*/ 14 w 20"/>
                <a:gd name="T7" fmla="*/ 15 h 25"/>
                <a:gd name="T8" fmla="*/ 20 w 20"/>
                <a:gd name="T9" fmla="*/ 21 h 25"/>
                <a:gd name="T10" fmla="*/ 20 w 20"/>
                <a:gd name="T11" fmla="*/ 23 h 25"/>
                <a:gd name="T12" fmla="*/ 16 w 20"/>
                <a:gd name="T13" fmla="*/ 25 h 25"/>
                <a:gd name="T14" fmla="*/ 8 w 20"/>
                <a:gd name="T15" fmla="*/ 21 h 25"/>
                <a:gd name="T16" fmla="*/ 2 w 20"/>
                <a:gd name="T17" fmla="*/ 13 h 25"/>
                <a:gd name="T18" fmla="*/ 0 w 20"/>
                <a:gd name="T19" fmla="*/ 0 h 25"/>
                <a:gd name="T20" fmla="*/ 2 w 20"/>
                <a:gd name="T21" fmla="*/ 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25">
                  <a:moveTo>
                    <a:pt x="2" y="0"/>
                  </a:moveTo>
                  <a:lnTo>
                    <a:pt x="4" y="4"/>
                  </a:lnTo>
                  <a:lnTo>
                    <a:pt x="6" y="8"/>
                  </a:lnTo>
                  <a:lnTo>
                    <a:pt x="14" y="15"/>
                  </a:lnTo>
                  <a:lnTo>
                    <a:pt x="20" y="21"/>
                  </a:lnTo>
                  <a:lnTo>
                    <a:pt x="20" y="23"/>
                  </a:lnTo>
                  <a:lnTo>
                    <a:pt x="16" y="25"/>
                  </a:lnTo>
                  <a:lnTo>
                    <a:pt x="8" y="21"/>
                  </a:lnTo>
                  <a:lnTo>
                    <a:pt x="2" y="13"/>
                  </a:lnTo>
                  <a:lnTo>
                    <a:pt x="0" y="0"/>
                  </a:lnTo>
                  <a:lnTo>
                    <a:pt x="2" y="0"/>
                  </a:lnTo>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0" name="Freeform 57">
              <a:extLst>
                <a:ext uri="{FF2B5EF4-FFF2-40B4-BE49-F238E27FC236}">
                  <a16:creationId xmlns:a16="http://schemas.microsoft.com/office/drawing/2014/main" id="{EAA504D4-75B3-4E13-B7F3-A8D2BAAA6C9E}"/>
                </a:ext>
              </a:extLst>
            </p:cNvPr>
            <p:cNvSpPr>
              <a:spLocks/>
            </p:cNvSpPr>
            <p:nvPr/>
          </p:nvSpPr>
          <p:spPr bwMode="auto">
            <a:xfrm>
              <a:off x="7650162" y="4593731"/>
              <a:ext cx="88900" cy="47647"/>
            </a:xfrm>
            <a:custGeom>
              <a:avLst/>
              <a:gdLst>
                <a:gd name="T0" fmla="*/ 52 w 56"/>
                <a:gd name="T1" fmla="*/ 0 h 30"/>
                <a:gd name="T2" fmla="*/ 56 w 56"/>
                <a:gd name="T3" fmla="*/ 1 h 30"/>
                <a:gd name="T4" fmla="*/ 54 w 56"/>
                <a:gd name="T5" fmla="*/ 9 h 30"/>
                <a:gd name="T6" fmla="*/ 52 w 56"/>
                <a:gd name="T7" fmla="*/ 19 h 30"/>
                <a:gd name="T8" fmla="*/ 42 w 56"/>
                <a:gd name="T9" fmla="*/ 21 h 30"/>
                <a:gd name="T10" fmla="*/ 42 w 56"/>
                <a:gd name="T11" fmla="*/ 24 h 30"/>
                <a:gd name="T12" fmla="*/ 33 w 56"/>
                <a:gd name="T13" fmla="*/ 26 h 30"/>
                <a:gd name="T14" fmla="*/ 25 w 56"/>
                <a:gd name="T15" fmla="*/ 30 h 30"/>
                <a:gd name="T16" fmla="*/ 19 w 56"/>
                <a:gd name="T17" fmla="*/ 30 h 30"/>
                <a:gd name="T18" fmla="*/ 8 w 56"/>
                <a:gd name="T19" fmla="*/ 26 h 30"/>
                <a:gd name="T20" fmla="*/ 0 w 56"/>
                <a:gd name="T21" fmla="*/ 23 h 30"/>
                <a:gd name="T22" fmla="*/ 2 w 56"/>
                <a:gd name="T23" fmla="*/ 19 h 30"/>
                <a:gd name="T24" fmla="*/ 13 w 56"/>
                <a:gd name="T25" fmla="*/ 21 h 30"/>
                <a:gd name="T26" fmla="*/ 21 w 56"/>
                <a:gd name="T27" fmla="*/ 19 h 30"/>
                <a:gd name="T28" fmla="*/ 23 w 56"/>
                <a:gd name="T29" fmla="*/ 11 h 30"/>
                <a:gd name="T30" fmla="*/ 23 w 56"/>
                <a:gd name="T31" fmla="*/ 11 h 30"/>
                <a:gd name="T32" fmla="*/ 25 w 56"/>
                <a:gd name="T33" fmla="*/ 21 h 30"/>
                <a:gd name="T34" fmla="*/ 35 w 56"/>
                <a:gd name="T35" fmla="*/ 19 h 30"/>
                <a:gd name="T36" fmla="*/ 38 w 56"/>
                <a:gd name="T37" fmla="*/ 13 h 30"/>
                <a:gd name="T38" fmla="*/ 46 w 56"/>
                <a:gd name="T39" fmla="*/ 7 h 30"/>
                <a:gd name="T40" fmla="*/ 44 w 56"/>
                <a:gd name="T41" fmla="*/ 0 h 30"/>
                <a:gd name="T42" fmla="*/ 52 w 56"/>
                <a:gd name="T43"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6" h="30">
                  <a:moveTo>
                    <a:pt x="52" y="0"/>
                  </a:moveTo>
                  <a:lnTo>
                    <a:pt x="56" y="1"/>
                  </a:lnTo>
                  <a:lnTo>
                    <a:pt x="54" y="9"/>
                  </a:lnTo>
                  <a:lnTo>
                    <a:pt x="52" y="19"/>
                  </a:lnTo>
                  <a:lnTo>
                    <a:pt x="42" y="21"/>
                  </a:lnTo>
                  <a:lnTo>
                    <a:pt x="42" y="24"/>
                  </a:lnTo>
                  <a:lnTo>
                    <a:pt x="33" y="26"/>
                  </a:lnTo>
                  <a:lnTo>
                    <a:pt x="25" y="30"/>
                  </a:lnTo>
                  <a:lnTo>
                    <a:pt x="19" y="30"/>
                  </a:lnTo>
                  <a:lnTo>
                    <a:pt x="8" y="26"/>
                  </a:lnTo>
                  <a:lnTo>
                    <a:pt x="0" y="23"/>
                  </a:lnTo>
                  <a:lnTo>
                    <a:pt x="2" y="19"/>
                  </a:lnTo>
                  <a:lnTo>
                    <a:pt x="13" y="21"/>
                  </a:lnTo>
                  <a:lnTo>
                    <a:pt x="21" y="19"/>
                  </a:lnTo>
                  <a:lnTo>
                    <a:pt x="23" y="11"/>
                  </a:lnTo>
                  <a:lnTo>
                    <a:pt x="23" y="11"/>
                  </a:lnTo>
                  <a:lnTo>
                    <a:pt x="25" y="21"/>
                  </a:lnTo>
                  <a:lnTo>
                    <a:pt x="35" y="19"/>
                  </a:lnTo>
                  <a:lnTo>
                    <a:pt x="38" y="13"/>
                  </a:lnTo>
                  <a:lnTo>
                    <a:pt x="46" y="7"/>
                  </a:lnTo>
                  <a:lnTo>
                    <a:pt x="44" y="0"/>
                  </a:lnTo>
                  <a:lnTo>
                    <a:pt x="52" y="0"/>
                  </a:lnTo>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1" name="Freeform 59">
              <a:extLst>
                <a:ext uri="{FF2B5EF4-FFF2-40B4-BE49-F238E27FC236}">
                  <a16:creationId xmlns:a16="http://schemas.microsoft.com/office/drawing/2014/main" id="{5B38A8E1-2C70-4916-805B-1A9D447B789D}"/>
                </a:ext>
              </a:extLst>
            </p:cNvPr>
            <p:cNvSpPr>
              <a:spLocks/>
            </p:cNvSpPr>
            <p:nvPr/>
          </p:nvSpPr>
          <p:spPr bwMode="auto">
            <a:xfrm>
              <a:off x="7153275" y="4571495"/>
              <a:ext cx="30163" cy="15882"/>
            </a:xfrm>
            <a:custGeom>
              <a:avLst/>
              <a:gdLst>
                <a:gd name="T0" fmla="*/ 16 w 19"/>
                <a:gd name="T1" fmla="*/ 0 h 10"/>
                <a:gd name="T2" fmla="*/ 19 w 19"/>
                <a:gd name="T3" fmla="*/ 4 h 10"/>
                <a:gd name="T4" fmla="*/ 14 w 19"/>
                <a:gd name="T5" fmla="*/ 10 h 10"/>
                <a:gd name="T6" fmla="*/ 4 w 19"/>
                <a:gd name="T7" fmla="*/ 8 h 10"/>
                <a:gd name="T8" fmla="*/ 0 w 19"/>
                <a:gd name="T9" fmla="*/ 0 h 10"/>
                <a:gd name="T10" fmla="*/ 16 w 19"/>
                <a:gd name="T11" fmla="*/ 0 h 10"/>
              </a:gdLst>
              <a:ahLst/>
              <a:cxnLst>
                <a:cxn ang="0">
                  <a:pos x="T0" y="T1"/>
                </a:cxn>
                <a:cxn ang="0">
                  <a:pos x="T2" y="T3"/>
                </a:cxn>
                <a:cxn ang="0">
                  <a:pos x="T4" y="T5"/>
                </a:cxn>
                <a:cxn ang="0">
                  <a:pos x="T6" y="T7"/>
                </a:cxn>
                <a:cxn ang="0">
                  <a:pos x="T8" y="T9"/>
                </a:cxn>
                <a:cxn ang="0">
                  <a:pos x="T10" y="T11"/>
                </a:cxn>
              </a:cxnLst>
              <a:rect l="0" t="0" r="r" b="b"/>
              <a:pathLst>
                <a:path w="19" h="10">
                  <a:moveTo>
                    <a:pt x="16" y="0"/>
                  </a:moveTo>
                  <a:lnTo>
                    <a:pt x="19" y="4"/>
                  </a:lnTo>
                  <a:lnTo>
                    <a:pt x="14" y="10"/>
                  </a:lnTo>
                  <a:lnTo>
                    <a:pt x="4" y="8"/>
                  </a:lnTo>
                  <a:lnTo>
                    <a:pt x="0" y="0"/>
                  </a:lnTo>
                  <a:lnTo>
                    <a:pt x="16" y="0"/>
                  </a:lnTo>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2" name="Freeform 61">
              <a:extLst>
                <a:ext uri="{FF2B5EF4-FFF2-40B4-BE49-F238E27FC236}">
                  <a16:creationId xmlns:a16="http://schemas.microsoft.com/office/drawing/2014/main" id="{37BE8EA5-57C5-453C-B581-B2F733266920}"/>
                </a:ext>
              </a:extLst>
            </p:cNvPr>
            <p:cNvSpPr>
              <a:spLocks/>
            </p:cNvSpPr>
            <p:nvPr/>
          </p:nvSpPr>
          <p:spPr bwMode="auto">
            <a:xfrm>
              <a:off x="7196137" y="4565143"/>
              <a:ext cx="66675" cy="25411"/>
            </a:xfrm>
            <a:custGeom>
              <a:avLst/>
              <a:gdLst>
                <a:gd name="T0" fmla="*/ 19 w 42"/>
                <a:gd name="T1" fmla="*/ 0 h 16"/>
                <a:gd name="T2" fmla="*/ 37 w 42"/>
                <a:gd name="T3" fmla="*/ 2 h 16"/>
                <a:gd name="T4" fmla="*/ 42 w 42"/>
                <a:gd name="T5" fmla="*/ 16 h 16"/>
                <a:gd name="T6" fmla="*/ 31 w 42"/>
                <a:gd name="T7" fmla="*/ 8 h 16"/>
                <a:gd name="T8" fmla="*/ 17 w 42"/>
                <a:gd name="T9" fmla="*/ 8 h 16"/>
                <a:gd name="T10" fmla="*/ 10 w 42"/>
                <a:gd name="T11" fmla="*/ 8 h 16"/>
                <a:gd name="T12" fmla="*/ 0 w 42"/>
                <a:gd name="T13" fmla="*/ 8 h 16"/>
                <a:gd name="T14" fmla="*/ 4 w 42"/>
                <a:gd name="T15" fmla="*/ 0 h 16"/>
                <a:gd name="T16" fmla="*/ 19 w 42"/>
                <a:gd name="T17"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 h="16">
                  <a:moveTo>
                    <a:pt x="19" y="0"/>
                  </a:moveTo>
                  <a:lnTo>
                    <a:pt x="37" y="2"/>
                  </a:lnTo>
                  <a:lnTo>
                    <a:pt x="42" y="16"/>
                  </a:lnTo>
                  <a:lnTo>
                    <a:pt x="31" y="8"/>
                  </a:lnTo>
                  <a:lnTo>
                    <a:pt x="17" y="8"/>
                  </a:lnTo>
                  <a:lnTo>
                    <a:pt x="10" y="8"/>
                  </a:lnTo>
                  <a:lnTo>
                    <a:pt x="0" y="8"/>
                  </a:lnTo>
                  <a:lnTo>
                    <a:pt x="4" y="0"/>
                  </a:lnTo>
                  <a:lnTo>
                    <a:pt x="19" y="0"/>
                  </a:lnTo>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3" name="Freeform 63">
              <a:extLst>
                <a:ext uri="{FF2B5EF4-FFF2-40B4-BE49-F238E27FC236}">
                  <a16:creationId xmlns:a16="http://schemas.microsoft.com/office/drawing/2014/main" id="{5677B113-22BF-4FB5-BFCF-D222101DEB38}"/>
                </a:ext>
              </a:extLst>
            </p:cNvPr>
            <p:cNvSpPr>
              <a:spLocks/>
            </p:cNvSpPr>
            <p:nvPr/>
          </p:nvSpPr>
          <p:spPr bwMode="auto">
            <a:xfrm>
              <a:off x="7702550" y="4555613"/>
              <a:ext cx="50800" cy="49235"/>
            </a:xfrm>
            <a:custGeom>
              <a:avLst/>
              <a:gdLst>
                <a:gd name="T0" fmla="*/ 3 w 32"/>
                <a:gd name="T1" fmla="*/ 0 h 31"/>
                <a:gd name="T2" fmla="*/ 9 w 32"/>
                <a:gd name="T3" fmla="*/ 6 h 31"/>
                <a:gd name="T4" fmla="*/ 15 w 32"/>
                <a:gd name="T5" fmla="*/ 8 h 31"/>
                <a:gd name="T6" fmla="*/ 21 w 32"/>
                <a:gd name="T7" fmla="*/ 12 h 31"/>
                <a:gd name="T8" fmla="*/ 26 w 32"/>
                <a:gd name="T9" fmla="*/ 18 h 31"/>
                <a:gd name="T10" fmla="*/ 30 w 32"/>
                <a:gd name="T11" fmla="*/ 22 h 31"/>
                <a:gd name="T12" fmla="*/ 32 w 32"/>
                <a:gd name="T13" fmla="*/ 29 h 31"/>
                <a:gd name="T14" fmla="*/ 30 w 32"/>
                <a:gd name="T15" fmla="*/ 31 h 31"/>
                <a:gd name="T16" fmla="*/ 26 w 32"/>
                <a:gd name="T17" fmla="*/ 24 h 31"/>
                <a:gd name="T18" fmla="*/ 23 w 32"/>
                <a:gd name="T19" fmla="*/ 20 h 31"/>
                <a:gd name="T20" fmla="*/ 17 w 32"/>
                <a:gd name="T21" fmla="*/ 14 h 31"/>
                <a:gd name="T22" fmla="*/ 9 w 32"/>
                <a:gd name="T23" fmla="*/ 8 h 31"/>
                <a:gd name="T24" fmla="*/ 0 w 32"/>
                <a:gd name="T25" fmla="*/ 4 h 31"/>
                <a:gd name="T26" fmla="*/ 3 w 32"/>
                <a:gd name="T27"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2" h="31">
                  <a:moveTo>
                    <a:pt x="3" y="0"/>
                  </a:moveTo>
                  <a:lnTo>
                    <a:pt x="9" y="6"/>
                  </a:lnTo>
                  <a:lnTo>
                    <a:pt x="15" y="8"/>
                  </a:lnTo>
                  <a:lnTo>
                    <a:pt x="21" y="12"/>
                  </a:lnTo>
                  <a:lnTo>
                    <a:pt x="26" y="18"/>
                  </a:lnTo>
                  <a:lnTo>
                    <a:pt x="30" y="22"/>
                  </a:lnTo>
                  <a:lnTo>
                    <a:pt x="32" y="29"/>
                  </a:lnTo>
                  <a:lnTo>
                    <a:pt x="30" y="31"/>
                  </a:lnTo>
                  <a:lnTo>
                    <a:pt x="26" y="24"/>
                  </a:lnTo>
                  <a:lnTo>
                    <a:pt x="23" y="20"/>
                  </a:lnTo>
                  <a:lnTo>
                    <a:pt x="17" y="14"/>
                  </a:lnTo>
                  <a:lnTo>
                    <a:pt x="9" y="8"/>
                  </a:lnTo>
                  <a:lnTo>
                    <a:pt x="0" y="4"/>
                  </a:lnTo>
                  <a:lnTo>
                    <a:pt x="3" y="0"/>
                  </a:lnTo>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4" name="Freeform 65">
              <a:extLst>
                <a:ext uri="{FF2B5EF4-FFF2-40B4-BE49-F238E27FC236}">
                  <a16:creationId xmlns:a16="http://schemas.microsoft.com/office/drawing/2014/main" id="{B3EDBF1B-6E46-4C1A-AC46-2BF448393672}"/>
                </a:ext>
              </a:extLst>
            </p:cNvPr>
            <p:cNvSpPr>
              <a:spLocks/>
            </p:cNvSpPr>
            <p:nvPr/>
          </p:nvSpPr>
          <p:spPr bwMode="auto">
            <a:xfrm>
              <a:off x="7254875" y="4511143"/>
              <a:ext cx="450850" cy="228703"/>
            </a:xfrm>
            <a:custGeom>
              <a:avLst/>
              <a:gdLst>
                <a:gd name="T0" fmla="*/ 48 w 284"/>
                <a:gd name="T1" fmla="*/ 5 h 144"/>
                <a:gd name="T2" fmla="*/ 53 w 284"/>
                <a:gd name="T3" fmla="*/ 34 h 144"/>
                <a:gd name="T4" fmla="*/ 80 w 284"/>
                <a:gd name="T5" fmla="*/ 27 h 144"/>
                <a:gd name="T6" fmla="*/ 109 w 284"/>
                <a:gd name="T7" fmla="*/ 19 h 144"/>
                <a:gd name="T8" fmla="*/ 130 w 284"/>
                <a:gd name="T9" fmla="*/ 28 h 144"/>
                <a:gd name="T10" fmla="*/ 170 w 284"/>
                <a:gd name="T11" fmla="*/ 40 h 144"/>
                <a:gd name="T12" fmla="*/ 205 w 284"/>
                <a:gd name="T13" fmla="*/ 55 h 144"/>
                <a:gd name="T14" fmla="*/ 214 w 284"/>
                <a:gd name="T15" fmla="*/ 71 h 144"/>
                <a:gd name="T16" fmla="*/ 243 w 284"/>
                <a:gd name="T17" fmla="*/ 88 h 144"/>
                <a:gd name="T18" fmla="*/ 234 w 284"/>
                <a:gd name="T19" fmla="*/ 98 h 144"/>
                <a:gd name="T20" fmla="*/ 255 w 284"/>
                <a:gd name="T21" fmla="*/ 123 h 144"/>
                <a:gd name="T22" fmla="*/ 262 w 284"/>
                <a:gd name="T23" fmla="*/ 126 h 144"/>
                <a:gd name="T24" fmla="*/ 268 w 284"/>
                <a:gd name="T25" fmla="*/ 132 h 144"/>
                <a:gd name="T26" fmla="*/ 282 w 284"/>
                <a:gd name="T27" fmla="*/ 142 h 144"/>
                <a:gd name="T28" fmla="*/ 268 w 284"/>
                <a:gd name="T29" fmla="*/ 140 h 144"/>
                <a:gd name="T30" fmla="*/ 243 w 284"/>
                <a:gd name="T31" fmla="*/ 136 h 144"/>
                <a:gd name="T32" fmla="*/ 224 w 284"/>
                <a:gd name="T33" fmla="*/ 119 h 144"/>
                <a:gd name="T34" fmla="*/ 197 w 284"/>
                <a:gd name="T35" fmla="*/ 99 h 144"/>
                <a:gd name="T36" fmla="*/ 176 w 284"/>
                <a:gd name="T37" fmla="*/ 109 h 144"/>
                <a:gd name="T38" fmla="*/ 168 w 284"/>
                <a:gd name="T39" fmla="*/ 124 h 144"/>
                <a:gd name="T40" fmla="*/ 145 w 284"/>
                <a:gd name="T41" fmla="*/ 123 h 144"/>
                <a:gd name="T42" fmla="*/ 120 w 284"/>
                <a:gd name="T43" fmla="*/ 107 h 144"/>
                <a:gd name="T44" fmla="*/ 99 w 284"/>
                <a:gd name="T45" fmla="*/ 113 h 144"/>
                <a:gd name="T46" fmla="*/ 113 w 284"/>
                <a:gd name="T47" fmla="*/ 98 h 144"/>
                <a:gd name="T48" fmla="*/ 103 w 284"/>
                <a:gd name="T49" fmla="*/ 69 h 144"/>
                <a:gd name="T50" fmla="*/ 65 w 284"/>
                <a:gd name="T51" fmla="*/ 57 h 144"/>
                <a:gd name="T52" fmla="*/ 40 w 284"/>
                <a:gd name="T53" fmla="*/ 50 h 144"/>
                <a:gd name="T54" fmla="*/ 32 w 284"/>
                <a:gd name="T55" fmla="*/ 48 h 144"/>
                <a:gd name="T56" fmla="*/ 32 w 284"/>
                <a:gd name="T57" fmla="*/ 40 h 144"/>
                <a:gd name="T58" fmla="*/ 34 w 284"/>
                <a:gd name="T59" fmla="*/ 28 h 144"/>
                <a:gd name="T60" fmla="*/ 44 w 284"/>
                <a:gd name="T61" fmla="*/ 25 h 144"/>
                <a:gd name="T62" fmla="*/ 19 w 284"/>
                <a:gd name="T63" fmla="*/ 17 h 144"/>
                <a:gd name="T64" fmla="*/ 0 w 284"/>
                <a:gd name="T65" fmla="*/ 7 h 144"/>
                <a:gd name="T66" fmla="*/ 24 w 284"/>
                <a:gd name="T67"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84" h="144">
                  <a:moveTo>
                    <a:pt x="24" y="0"/>
                  </a:moveTo>
                  <a:lnTo>
                    <a:pt x="48" y="5"/>
                  </a:lnTo>
                  <a:lnTo>
                    <a:pt x="49" y="11"/>
                  </a:lnTo>
                  <a:lnTo>
                    <a:pt x="53" y="34"/>
                  </a:lnTo>
                  <a:lnTo>
                    <a:pt x="69" y="42"/>
                  </a:lnTo>
                  <a:lnTo>
                    <a:pt x="80" y="27"/>
                  </a:lnTo>
                  <a:lnTo>
                    <a:pt x="97" y="19"/>
                  </a:lnTo>
                  <a:lnTo>
                    <a:pt x="109" y="19"/>
                  </a:lnTo>
                  <a:lnTo>
                    <a:pt x="120" y="23"/>
                  </a:lnTo>
                  <a:lnTo>
                    <a:pt x="130" y="28"/>
                  </a:lnTo>
                  <a:lnTo>
                    <a:pt x="145" y="30"/>
                  </a:lnTo>
                  <a:lnTo>
                    <a:pt x="170" y="40"/>
                  </a:lnTo>
                  <a:lnTo>
                    <a:pt x="195" y="50"/>
                  </a:lnTo>
                  <a:lnTo>
                    <a:pt x="205" y="55"/>
                  </a:lnTo>
                  <a:lnTo>
                    <a:pt x="213" y="61"/>
                  </a:lnTo>
                  <a:lnTo>
                    <a:pt x="214" y="71"/>
                  </a:lnTo>
                  <a:lnTo>
                    <a:pt x="239" y="78"/>
                  </a:lnTo>
                  <a:lnTo>
                    <a:pt x="243" y="88"/>
                  </a:lnTo>
                  <a:lnTo>
                    <a:pt x="230" y="88"/>
                  </a:lnTo>
                  <a:lnTo>
                    <a:pt x="234" y="98"/>
                  </a:lnTo>
                  <a:lnTo>
                    <a:pt x="245" y="107"/>
                  </a:lnTo>
                  <a:lnTo>
                    <a:pt x="255" y="123"/>
                  </a:lnTo>
                  <a:lnTo>
                    <a:pt x="262" y="121"/>
                  </a:lnTo>
                  <a:lnTo>
                    <a:pt x="262" y="126"/>
                  </a:lnTo>
                  <a:lnTo>
                    <a:pt x="272" y="128"/>
                  </a:lnTo>
                  <a:lnTo>
                    <a:pt x="268" y="132"/>
                  </a:lnTo>
                  <a:lnTo>
                    <a:pt x="284" y="140"/>
                  </a:lnTo>
                  <a:lnTo>
                    <a:pt x="282" y="142"/>
                  </a:lnTo>
                  <a:lnTo>
                    <a:pt x="272" y="144"/>
                  </a:lnTo>
                  <a:lnTo>
                    <a:pt x="268" y="140"/>
                  </a:lnTo>
                  <a:lnTo>
                    <a:pt x="257" y="138"/>
                  </a:lnTo>
                  <a:lnTo>
                    <a:pt x="243" y="136"/>
                  </a:lnTo>
                  <a:lnTo>
                    <a:pt x="230" y="126"/>
                  </a:lnTo>
                  <a:lnTo>
                    <a:pt x="224" y="119"/>
                  </a:lnTo>
                  <a:lnTo>
                    <a:pt x="214" y="107"/>
                  </a:lnTo>
                  <a:lnTo>
                    <a:pt x="197" y="99"/>
                  </a:lnTo>
                  <a:lnTo>
                    <a:pt x="186" y="105"/>
                  </a:lnTo>
                  <a:lnTo>
                    <a:pt x="176" y="109"/>
                  </a:lnTo>
                  <a:lnTo>
                    <a:pt x="178" y="121"/>
                  </a:lnTo>
                  <a:lnTo>
                    <a:pt x="168" y="124"/>
                  </a:lnTo>
                  <a:lnTo>
                    <a:pt x="161" y="123"/>
                  </a:lnTo>
                  <a:lnTo>
                    <a:pt x="145" y="123"/>
                  </a:lnTo>
                  <a:lnTo>
                    <a:pt x="134" y="111"/>
                  </a:lnTo>
                  <a:lnTo>
                    <a:pt x="120" y="107"/>
                  </a:lnTo>
                  <a:lnTo>
                    <a:pt x="117" y="111"/>
                  </a:lnTo>
                  <a:lnTo>
                    <a:pt x="99" y="113"/>
                  </a:lnTo>
                  <a:lnTo>
                    <a:pt x="105" y="99"/>
                  </a:lnTo>
                  <a:lnTo>
                    <a:pt x="113" y="98"/>
                  </a:lnTo>
                  <a:lnTo>
                    <a:pt x="111" y="80"/>
                  </a:lnTo>
                  <a:lnTo>
                    <a:pt x="103" y="69"/>
                  </a:lnTo>
                  <a:lnTo>
                    <a:pt x="74" y="57"/>
                  </a:lnTo>
                  <a:lnTo>
                    <a:pt x="65" y="57"/>
                  </a:lnTo>
                  <a:lnTo>
                    <a:pt x="44" y="44"/>
                  </a:lnTo>
                  <a:lnTo>
                    <a:pt x="40" y="50"/>
                  </a:lnTo>
                  <a:lnTo>
                    <a:pt x="34" y="52"/>
                  </a:lnTo>
                  <a:lnTo>
                    <a:pt x="32" y="48"/>
                  </a:lnTo>
                  <a:lnTo>
                    <a:pt x="32" y="44"/>
                  </a:lnTo>
                  <a:lnTo>
                    <a:pt x="32" y="40"/>
                  </a:lnTo>
                  <a:lnTo>
                    <a:pt x="21" y="34"/>
                  </a:lnTo>
                  <a:lnTo>
                    <a:pt x="34" y="28"/>
                  </a:lnTo>
                  <a:lnTo>
                    <a:pt x="44" y="28"/>
                  </a:lnTo>
                  <a:lnTo>
                    <a:pt x="44" y="25"/>
                  </a:lnTo>
                  <a:lnTo>
                    <a:pt x="23" y="25"/>
                  </a:lnTo>
                  <a:lnTo>
                    <a:pt x="19" y="17"/>
                  </a:lnTo>
                  <a:lnTo>
                    <a:pt x="5" y="13"/>
                  </a:lnTo>
                  <a:lnTo>
                    <a:pt x="0" y="7"/>
                  </a:lnTo>
                  <a:lnTo>
                    <a:pt x="19" y="4"/>
                  </a:lnTo>
                  <a:lnTo>
                    <a:pt x="24" y="0"/>
                  </a:lnTo>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5" name="Freeform 67">
              <a:extLst>
                <a:ext uri="{FF2B5EF4-FFF2-40B4-BE49-F238E27FC236}">
                  <a16:creationId xmlns:a16="http://schemas.microsoft.com/office/drawing/2014/main" id="{2C39FEC3-144F-480F-A926-6738B8852030}"/>
                </a:ext>
              </a:extLst>
            </p:cNvPr>
            <p:cNvSpPr>
              <a:spLocks/>
            </p:cNvSpPr>
            <p:nvPr/>
          </p:nvSpPr>
          <p:spPr bwMode="auto">
            <a:xfrm>
              <a:off x="6994525" y="4468262"/>
              <a:ext cx="144463" cy="161998"/>
            </a:xfrm>
            <a:custGeom>
              <a:avLst/>
              <a:gdLst>
                <a:gd name="T0" fmla="*/ 89 w 91"/>
                <a:gd name="T1" fmla="*/ 0 h 102"/>
                <a:gd name="T2" fmla="*/ 91 w 91"/>
                <a:gd name="T3" fmla="*/ 2 h 102"/>
                <a:gd name="T4" fmla="*/ 79 w 91"/>
                <a:gd name="T5" fmla="*/ 15 h 102"/>
                <a:gd name="T6" fmla="*/ 68 w 91"/>
                <a:gd name="T7" fmla="*/ 19 h 102"/>
                <a:gd name="T8" fmla="*/ 56 w 91"/>
                <a:gd name="T9" fmla="*/ 15 h 102"/>
                <a:gd name="T10" fmla="*/ 31 w 91"/>
                <a:gd name="T11" fmla="*/ 15 h 102"/>
                <a:gd name="T12" fmla="*/ 20 w 91"/>
                <a:gd name="T13" fmla="*/ 19 h 102"/>
                <a:gd name="T14" fmla="*/ 18 w 91"/>
                <a:gd name="T15" fmla="*/ 29 h 102"/>
                <a:gd name="T16" fmla="*/ 29 w 91"/>
                <a:gd name="T17" fmla="*/ 40 h 102"/>
                <a:gd name="T18" fmla="*/ 39 w 91"/>
                <a:gd name="T19" fmla="*/ 36 h 102"/>
                <a:gd name="T20" fmla="*/ 64 w 91"/>
                <a:gd name="T21" fmla="*/ 31 h 102"/>
                <a:gd name="T22" fmla="*/ 62 w 91"/>
                <a:gd name="T23" fmla="*/ 38 h 102"/>
                <a:gd name="T24" fmla="*/ 56 w 91"/>
                <a:gd name="T25" fmla="*/ 34 h 102"/>
                <a:gd name="T26" fmla="*/ 50 w 91"/>
                <a:gd name="T27" fmla="*/ 42 h 102"/>
                <a:gd name="T28" fmla="*/ 39 w 91"/>
                <a:gd name="T29" fmla="*/ 48 h 102"/>
                <a:gd name="T30" fmla="*/ 52 w 91"/>
                <a:gd name="T31" fmla="*/ 65 h 102"/>
                <a:gd name="T32" fmla="*/ 48 w 91"/>
                <a:gd name="T33" fmla="*/ 71 h 102"/>
                <a:gd name="T34" fmla="*/ 62 w 91"/>
                <a:gd name="T35" fmla="*/ 86 h 102"/>
                <a:gd name="T36" fmla="*/ 62 w 91"/>
                <a:gd name="T37" fmla="*/ 90 h 102"/>
                <a:gd name="T38" fmla="*/ 62 w 91"/>
                <a:gd name="T39" fmla="*/ 96 h 102"/>
                <a:gd name="T40" fmla="*/ 54 w 91"/>
                <a:gd name="T41" fmla="*/ 100 h 102"/>
                <a:gd name="T42" fmla="*/ 48 w 91"/>
                <a:gd name="T43" fmla="*/ 96 h 102"/>
                <a:gd name="T44" fmla="*/ 56 w 91"/>
                <a:gd name="T45" fmla="*/ 84 h 102"/>
                <a:gd name="T46" fmla="*/ 43 w 91"/>
                <a:gd name="T47" fmla="*/ 88 h 102"/>
                <a:gd name="T48" fmla="*/ 39 w 91"/>
                <a:gd name="T49" fmla="*/ 86 h 102"/>
                <a:gd name="T50" fmla="*/ 41 w 91"/>
                <a:gd name="T51" fmla="*/ 79 h 102"/>
                <a:gd name="T52" fmla="*/ 29 w 91"/>
                <a:gd name="T53" fmla="*/ 73 h 102"/>
                <a:gd name="T54" fmla="*/ 29 w 91"/>
                <a:gd name="T55" fmla="*/ 57 h 102"/>
                <a:gd name="T56" fmla="*/ 22 w 91"/>
                <a:gd name="T57" fmla="*/ 63 h 102"/>
                <a:gd name="T58" fmla="*/ 23 w 91"/>
                <a:gd name="T59" fmla="*/ 79 h 102"/>
                <a:gd name="T60" fmla="*/ 23 w 91"/>
                <a:gd name="T61" fmla="*/ 100 h 102"/>
                <a:gd name="T62" fmla="*/ 16 w 91"/>
                <a:gd name="T63" fmla="*/ 102 h 102"/>
                <a:gd name="T64" fmla="*/ 8 w 91"/>
                <a:gd name="T65" fmla="*/ 96 h 102"/>
                <a:gd name="T66" fmla="*/ 12 w 91"/>
                <a:gd name="T67" fmla="*/ 84 h 102"/>
                <a:gd name="T68" fmla="*/ 10 w 91"/>
                <a:gd name="T69" fmla="*/ 71 h 102"/>
                <a:gd name="T70" fmla="*/ 4 w 91"/>
                <a:gd name="T71" fmla="*/ 71 h 102"/>
                <a:gd name="T72" fmla="*/ 0 w 91"/>
                <a:gd name="T73" fmla="*/ 61 h 102"/>
                <a:gd name="T74" fmla="*/ 6 w 91"/>
                <a:gd name="T75" fmla="*/ 50 h 102"/>
                <a:gd name="T76" fmla="*/ 8 w 91"/>
                <a:gd name="T77" fmla="*/ 40 h 102"/>
                <a:gd name="T78" fmla="*/ 16 w 91"/>
                <a:gd name="T79" fmla="*/ 19 h 102"/>
                <a:gd name="T80" fmla="*/ 18 w 91"/>
                <a:gd name="T81" fmla="*/ 13 h 102"/>
                <a:gd name="T82" fmla="*/ 29 w 91"/>
                <a:gd name="T83" fmla="*/ 4 h 102"/>
                <a:gd name="T84" fmla="*/ 41 w 91"/>
                <a:gd name="T85" fmla="*/ 7 h 102"/>
                <a:gd name="T86" fmla="*/ 58 w 91"/>
                <a:gd name="T87" fmla="*/ 9 h 102"/>
                <a:gd name="T88" fmla="*/ 73 w 91"/>
                <a:gd name="T89" fmla="*/ 9 h 102"/>
                <a:gd name="T90" fmla="*/ 89 w 91"/>
                <a:gd name="T91" fmla="*/ 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91" h="102">
                  <a:moveTo>
                    <a:pt x="89" y="0"/>
                  </a:moveTo>
                  <a:lnTo>
                    <a:pt x="91" y="2"/>
                  </a:lnTo>
                  <a:lnTo>
                    <a:pt x="79" y="15"/>
                  </a:lnTo>
                  <a:lnTo>
                    <a:pt x="68" y="19"/>
                  </a:lnTo>
                  <a:lnTo>
                    <a:pt x="56" y="15"/>
                  </a:lnTo>
                  <a:lnTo>
                    <a:pt x="31" y="15"/>
                  </a:lnTo>
                  <a:lnTo>
                    <a:pt x="20" y="19"/>
                  </a:lnTo>
                  <a:lnTo>
                    <a:pt x="18" y="29"/>
                  </a:lnTo>
                  <a:lnTo>
                    <a:pt x="29" y="40"/>
                  </a:lnTo>
                  <a:lnTo>
                    <a:pt x="39" y="36"/>
                  </a:lnTo>
                  <a:lnTo>
                    <a:pt x="64" y="31"/>
                  </a:lnTo>
                  <a:lnTo>
                    <a:pt x="62" y="38"/>
                  </a:lnTo>
                  <a:lnTo>
                    <a:pt x="56" y="34"/>
                  </a:lnTo>
                  <a:lnTo>
                    <a:pt x="50" y="42"/>
                  </a:lnTo>
                  <a:lnTo>
                    <a:pt x="39" y="48"/>
                  </a:lnTo>
                  <a:lnTo>
                    <a:pt x="52" y="65"/>
                  </a:lnTo>
                  <a:lnTo>
                    <a:pt x="48" y="71"/>
                  </a:lnTo>
                  <a:lnTo>
                    <a:pt x="62" y="86"/>
                  </a:lnTo>
                  <a:lnTo>
                    <a:pt x="62" y="90"/>
                  </a:lnTo>
                  <a:lnTo>
                    <a:pt x="62" y="96"/>
                  </a:lnTo>
                  <a:lnTo>
                    <a:pt x="54" y="100"/>
                  </a:lnTo>
                  <a:lnTo>
                    <a:pt x="48" y="96"/>
                  </a:lnTo>
                  <a:lnTo>
                    <a:pt x="56" y="84"/>
                  </a:lnTo>
                  <a:lnTo>
                    <a:pt x="43" y="88"/>
                  </a:lnTo>
                  <a:lnTo>
                    <a:pt x="39" y="86"/>
                  </a:lnTo>
                  <a:lnTo>
                    <a:pt x="41" y="79"/>
                  </a:lnTo>
                  <a:lnTo>
                    <a:pt x="29" y="73"/>
                  </a:lnTo>
                  <a:lnTo>
                    <a:pt x="29" y="57"/>
                  </a:lnTo>
                  <a:lnTo>
                    <a:pt x="22" y="63"/>
                  </a:lnTo>
                  <a:lnTo>
                    <a:pt x="23" y="79"/>
                  </a:lnTo>
                  <a:lnTo>
                    <a:pt x="23" y="100"/>
                  </a:lnTo>
                  <a:lnTo>
                    <a:pt x="16" y="102"/>
                  </a:lnTo>
                  <a:lnTo>
                    <a:pt x="8" y="96"/>
                  </a:lnTo>
                  <a:lnTo>
                    <a:pt x="12" y="84"/>
                  </a:lnTo>
                  <a:lnTo>
                    <a:pt x="10" y="71"/>
                  </a:lnTo>
                  <a:lnTo>
                    <a:pt x="4" y="71"/>
                  </a:lnTo>
                  <a:lnTo>
                    <a:pt x="0" y="61"/>
                  </a:lnTo>
                  <a:lnTo>
                    <a:pt x="6" y="50"/>
                  </a:lnTo>
                  <a:lnTo>
                    <a:pt x="8" y="40"/>
                  </a:lnTo>
                  <a:lnTo>
                    <a:pt x="16" y="19"/>
                  </a:lnTo>
                  <a:lnTo>
                    <a:pt x="18" y="13"/>
                  </a:lnTo>
                  <a:lnTo>
                    <a:pt x="29" y="4"/>
                  </a:lnTo>
                  <a:lnTo>
                    <a:pt x="41" y="7"/>
                  </a:lnTo>
                  <a:lnTo>
                    <a:pt x="58" y="9"/>
                  </a:lnTo>
                  <a:lnTo>
                    <a:pt x="73" y="9"/>
                  </a:lnTo>
                  <a:lnTo>
                    <a:pt x="89" y="0"/>
                  </a:lnTo>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6" name="Freeform 69">
              <a:extLst>
                <a:ext uri="{FF2B5EF4-FFF2-40B4-BE49-F238E27FC236}">
                  <a16:creationId xmlns:a16="http://schemas.microsoft.com/office/drawing/2014/main" id="{1F2951DA-B0A6-47DF-BA0D-93F8B5D5A766}"/>
                </a:ext>
              </a:extLst>
            </p:cNvPr>
            <p:cNvSpPr>
              <a:spLocks/>
            </p:cNvSpPr>
            <p:nvPr/>
          </p:nvSpPr>
          <p:spPr bwMode="auto">
            <a:xfrm>
              <a:off x="7186612" y="4452380"/>
              <a:ext cx="28575" cy="69882"/>
            </a:xfrm>
            <a:custGeom>
              <a:avLst/>
              <a:gdLst>
                <a:gd name="T0" fmla="*/ 6 w 18"/>
                <a:gd name="T1" fmla="*/ 0 h 44"/>
                <a:gd name="T2" fmla="*/ 8 w 18"/>
                <a:gd name="T3" fmla="*/ 10 h 44"/>
                <a:gd name="T4" fmla="*/ 16 w 18"/>
                <a:gd name="T5" fmla="*/ 12 h 44"/>
                <a:gd name="T6" fmla="*/ 18 w 18"/>
                <a:gd name="T7" fmla="*/ 16 h 44"/>
                <a:gd name="T8" fmla="*/ 16 w 18"/>
                <a:gd name="T9" fmla="*/ 27 h 44"/>
                <a:gd name="T10" fmla="*/ 10 w 18"/>
                <a:gd name="T11" fmla="*/ 27 h 44"/>
                <a:gd name="T12" fmla="*/ 8 w 18"/>
                <a:gd name="T13" fmla="*/ 35 h 44"/>
                <a:gd name="T14" fmla="*/ 12 w 18"/>
                <a:gd name="T15" fmla="*/ 42 h 44"/>
                <a:gd name="T16" fmla="*/ 10 w 18"/>
                <a:gd name="T17" fmla="*/ 44 h 44"/>
                <a:gd name="T18" fmla="*/ 2 w 18"/>
                <a:gd name="T19" fmla="*/ 35 h 44"/>
                <a:gd name="T20" fmla="*/ 0 w 18"/>
                <a:gd name="T21" fmla="*/ 17 h 44"/>
                <a:gd name="T22" fmla="*/ 2 w 18"/>
                <a:gd name="T23" fmla="*/ 6 h 44"/>
                <a:gd name="T24" fmla="*/ 6 w 18"/>
                <a:gd name="T25"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 h="44">
                  <a:moveTo>
                    <a:pt x="6" y="0"/>
                  </a:moveTo>
                  <a:lnTo>
                    <a:pt x="8" y="10"/>
                  </a:lnTo>
                  <a:lnTo>
                    <a:pt x="16" y="12"/>
                  </a:lnTo>
                  <a:lnTo>
                    <a:pt x="18" y="16"/>
                  </a:lnTo>
                  <a:lnTo>
                    <a:pt x="16" y="27"/>
                  </a:lnTo>
                  <a:lnTo>
                    <a:pt x="10" y="27"/>
                  </a:lnTo>
                  <a:lnTo>
                    <a:pt x="8" y="35"/>
                  </a:lnTo>
                  <a:lnTo>
                    <a:pt x="12" y="42"/>
                  </a:lnTo>
                  <a:lnTo>
                    <a:pt x="10" y="44"/>
                  </a:lnTo>
                  <a:lnTo>
                    <a:pt x="2" y="35"/>
                  </a:lnTo>
                  <a:lnTo>
                    <a:pt x="0" y="17"/>
                  </a:lnTo>
                  <a:lnTo>
                    <a:pt x="2" y="6"/>
                  </a:lnTo>
                  <a:lnTo>
                    <a:pt x="6" y="0"/>
                  </a:lnTo>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7" name="Freeform 71">
              <a:extLst>
                <a:ext uri="{FF2B5EF4-FFF2-40B4-BE49-F238E27FC236}">
                  <a16:creationId xmlns:a16="http://schemas.microsoft.com/office/drawing/2014/main" id="{D62BAE07-54A6-4D12-81FA-4537B6ECD9AB}"/>
                </a:ext>
              </a:extLst>
            </p:cNvPr>
            <p:cNvSpPr>
              <a:spLocks/>
            </p:cNvSpPr>
            <p:nvPr/>
          </p:nvSpPr>
          <p:spPr bwMode="auto">
            <a:xfrm>
              <a:off x="6477001" y="4379322"/>
              <a:ext cx="238125" cy="252527"/>
            </a:xfrm>
            <a:custGeom>
              <a:avLst/>
              <a:gdLst>
                <a:gd name="T0" fmla="*/ 0 w 150"/>
                <a:gd name="T1" fmla="*/ 0 h 159"/>
                <a:gd name="T2" fmla="*/ 8 w 150"/>
                <a:gd name="T3" fmla="*/ 0 h 159"/>
                <a:gd name="T4" fmla="*/ 31 w 150"/>
                <a:gd name="T5" fmla="*/ 4 h 159"/>
                <a:gd name="T6" fmla="*/ 41 w 150"/>
                <a:gd name="T7" fmla="*/ 17 h 159"/>
                <a:gd name="T8" fmla="*/ 54 w 150"/>
                <a:gd name="T9" fmla="*/ 29 h 159"/>
                <a:gd name="T10" fmla="*/ 60 w 150"/>
                <a:gd name="T11" fmla="*/ 33 h 159"/>
                <a:gd name="T12" fmla="*/ 73 w 150"/>
                <a:gd name="T13" fmla="*/ 48 h 159"/>
                <a:gd name="T14" fmla="*/ 89 w 150"/>
                <a:gd name="T15" fmla="*/ 48 h 159"/>
                <a:gd name="T16" fmla="*/ 100 w 150"/>
                <a:gd name="T17" fmla="*/ 58 h 159"/>
                <a:gd name="T18" fmla="*/ 108 w 150"/>
                <a:gd name="T19" fmla="*/ 69 h 159"/>
                <a:gd name="T20" fmla="*/ 119 w 150"/>
                <a:gd name="T21" fmla="*/ 77 h 159"/>
                <a:gd name="T22" fmla="*/ 112 w 150"/>
                <a:gd name="T23" fmla="*/ 87 h 159"/>
                <a:gd name="T24" fmla="*/ 121 w 150"/>
                <a:gd name="T25" fmla="*/ 92 h 159"/>
                <a:gd name="T26" fmla="*/ 125 w 150"/>
                <a:gd name="T27" fmla="*/ 94 h 159"/>
                <a:gd name="T28" fmla="*/ 129 w 150"/>
                <a:gd name="T29" fmla="*/ 102 h 159"/>
                <a:gd name="T30" fmla="*/ 135 w 150"/>
                <a:gd name="T31" fmla="*/ 110 h 159"/>
                <a:gd name="T32" fmla="*/ 144 w 150"/>
                <a:gd name="T33" fmla="*/ 111 h 159"/>
                <a:gd name="T34" fmla="*/ 150 w 150"/>
                <a:gd name="T35" fmla="*/ 119 h 159"/>
                <a:gd name="T36" fmla="*/ 146 w 150"/>
                <a:gd name="T37" fmla="*/ 136 h 159"/>
                <a:gd name="T38" fmla="*/ 144 w 150"/>
                <a:gd name="T39" fmla="*/ 159 h 159"/>
                <a:gd name="T40" fmla="*/ 131 w 150"/>
                <a:gd name="T41" fmla="*/ 159 h 159"/>
                <a:gd name="T42" fmla="*/ 119 w 150"/>
                <a:gd name="T43" fmla="*/ 148 h 159"/>
                <a:gd name="T44" fmla="*/ 100 w 150"/>
                <a:gd name="T45" fmla="*/ 136 h 159"/>
                <a:gd name="T46" fmla="*/ 96 w 150"/>
                <a:gd name="T47" fmla="*/ 129 h 159"/>
                <a:gd name="T48" fmla="*/ 85 w 150"/>
                <a:gd name="T49" fmla="*/ 117 h 159"/>
                <a:gd name="T50" fmla="*/ 77 w 150"/>
                <a:gd name="T51" fmla="*/ 106 h 159"/>
                <a:gd name="T52" fmla="*/ 67 w 150"/>
                <a:gd name="T53" fmla="*/ 87 h 159"/>
                <a:gd name="T54" fmla="*/ 56 w 150"/>
                <a:gd name="T55" fmla="*/ 75 h 159"/>
                <a:gd name="T56" fmla="*/ 50 w 150"/>
                <a:gd name="T57" fmla="*/ 63 h 159"/>
                <a:gd name="T58" fmla="*/ 44 w 150"/>
                <a:gd name="T59" fmla="*/ 52 h 159"/>
                <a:gd name="T60" fmla="*/ 33 w 150"/>
                <a:gd name="T61" fmla="*/ 42 h 159"/>
                <a:gd name="T62" fmla="*/ 25 w 150"/>
                <a:gd name="T63" fmla="*/ 31 h 159"/>
                <a:gd name="T64" fmla="*/ 16 w 150"/>
                <a:gd name="T65" fmla="*/ 23 h 159"/>
                <a:gd name="T66" fmla="*/ 0 w 150"/>
                <a:gd name="T67" fmla="*/ 8 h 159"/>
                <a:gd name="T68" fmla="*/ 0 w 150"/>
                <a:gd name="T69" fmla="*/ 0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50" h="159">
                  <a:moveTo>
                    <a:pt x="0" y="0"/>
                  </a:moveTo>
                  <a:lnTo>
                    <a:pt x="8" y="0"/>
                  </a:lnTo>
                  <a:lnTo>
                    <a:pt x="31" y="4"/>
                  </a:lnTo>
                  <a:lnTo>
                    <a:pt x="41" y="17"/>
                  </a:lnTo>
                  <a:lnTo>
                    <a:pt x="54" y="29"/>
                  </a:lnTo>
                  <a:lnTo>
                    <a:pt x="60" y="33"/>
                  </a:lnTo>
                  <a:lnTo>
                    <a:pt x="73" y="48"/>
                  </a:lnTo>
                  <a:lnTo>
                    <a:pt x="89" y="48"/>
                  </a:lnTo>
                  <a:lnTo>
                    <a:pt x="100" y="58"/>
                  </a:lnTo>
                  <a:lnTo>
                    <a:pt x="108" y="69"/>
                  </a:lnTo>
                  <a:lnTo>
                    <a:pt x="119" y="77"/>
                  </a:lnTo>
                  <a:lnTo>
                    <a:pt x="112" y="87"/>
                  </a:lnTo>
                  <a:lnTo>
                    <a:pt x="121" y="92"/>
                  </a:lnTo>
                  <a:lnTo>
                    <a:pt x="125" y="94"/>
                  </a:lnTo>
                  <a:lnTo>
                    <a:pt x="129" y="102"/>
                  </a:lnTo>
                  <a:lnTo>
                    <a:pt x="135" y="110"/>
                  </a:lnTo>
                  <a:lnTo>
                    <a:pt x="144" y="111"/>
                  </a:lnTo>
                  <a:lnTo>
                    <a:pt x="150" y="119"/>
                  </a:lnTo>
                  <a:lnTo>
                    <a:pt x="146" y="136"/>
                  </a:lnTo>
                  <a:lnTo>
                    <a:pt x="144" y="159"/>
                  </a:lnTo>
                  <a:lnTo>
                    <a:pt x="131" y="159"/>
                  </a:lnTo>
                  <a:lnTo>
                    <a:pt x="119" y="148"/>
                  </a:lnTo>
                  <a:lnTo>
                    <a:pt x="100" y="136"/>
                  </a:lnTo>
                  <a:lnTo>
                    <a:pt x="96" y="129"/>
                  </a:lnTo>
                  <a:lnTo>
                    <a:pt x="85" y="117"/>
                  </a:lnTo>
                  <a:lnTo>
                    <a:pt x="77" y="106"/>
                  </a:lnTo>
                  <a:lnTo>
                    <a:pt x="67" y="87"/>
                  </a:lnTo>
                  <a:lnTo>
                    <a:pt x="56" y="75"/>
                  </a:lnTo>
                  <a:lnTo>
                    <a:pt x="50" y="63"/>
                  </a:lnTo>
                  <a:lnTo>
                    <a:pt x="44" y="52"/>
                  </a:lnTo>
                  <a:lnTo>
                    <a:pt x="33" y="42"/>
                  </a:lnTo>
                  <a:lnTo>
                    <a:pt x="25" y="31"/>
                  </a:lnTo>
                  <a:lnTo>
                    <a:pt x="16" y="23"/>
                  </a:lnTo>
                  <a:lnTo>
                    <a:pt x="0" y="8"/>
                  </a:lnTo>
                  <a:lnTo>
                    <a:pt x="0" y="0"/>
                  </a:lnTo>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8" name="Freeform 73">
              <a:extLst>
                <a:ext uri="{FF2B5EF4-FFF2-40B4-BE49-F238E27FC236}">
                  <a16:creationId xmlns:a16="http://schemas.microsoft.com/office/drawing/2014/main" id="{4DBF453B-E711-49DF-B7AE-31A9BA85AE61}"/>
                </a:ext>
              </a:extLst>
            </p:cNvPr>
            <p:cNvSpPr>
              <a:spLocks/>
            </p:cNvSpPr>
            <p:nvPr/>
          </p:nvSpPr>
          <p:spPr bwMode="auto">
            <a:xfrm>
              <a:off x="6775450" y="4349145"/>
              <a:ext cx="228600" cy="244586"/>
            </a:xfrm>
            <a:custGeom>
              <a:avLst/>
              <a:gdLst>
                <a:gd name="T0" fmla="*/ 115 w 144"/>
                <a:gd name="T1" fmla="*/ 0 h 154"/>
                <a:gd name="T2" fmla="*/ 123 w 144"/>
                <a:gd name="T3" fmla="*/ 8 h 154"/>
                <a:gd name="T4" fmla="*/ 123 w 144"/>
                <a:gd name="T5" fmla="*/ 13 h 154"/>
                <a:gd name="T6" fmla="*/ 133 w 144"/>
                <a:gd name="T7" fmla="*/ 17 h 154"/>
                <a:gd name="T8" fmla="*/ 144 w 144"/>
                <a:gd name="T9" fmla="*/ 19 h 154"/>
                <a:gd name="T10" fmla="*/ 142 w 144"/>
                <a:gd name="T11" fmla="*/ 27 h 154"/>
                <a:gd name="T12" fmla="*/ 133 w 144"/>
                <a:gd name="T13" fmla="*/ 27 h 154"/>
                <a:gd name="T14" fmla="*/ 137 w 144"/>
                <a:gd name="T15" fmla="*/ 35 h 154"/>
                <a:gd name="T16" fmla="*/ 127 w 144"/>
                <a:gd name="T17" fmla="*/ 38 h 154"/>
                <a:gd name="T18" fmla="*/ 117 w 144"/>
                <a:gd name="T19" fmla="*/ 52 h 154"/>
                <a:gd name="T20" fmla="*/ 127 w 144"/>
                <a:gd name="T21" fmla="*/ 63 h 154"/>
                <a:gd name="T22" fmla="*/ 127 w 144"/>
                <a:gd name="T23" fmla="*/ 71 h 154"/>
                <a:gd name="T24" fmla="*/ 140 w 144"/>
                <a:gd name="T25" fmla="*/ 84 h 154"/>
                <a:gd name="T26" fmla="*/ 125 w 144"/>
                <a:gd name="T27" fmla="*/ 84 h 154"/>
                <a:gd name="T28" fmla="*/ 119 w 144"/>
                <a:gd name="T29" fmla="*/ 96 h 154"/>
                <a:gd name="T30" fmla="*/ 121 w 144"/>
                <a:gd name="T31" fmla="*/ 107 h 154"/>
                <a:gd name="T32" fmla="*/ 108 w 144"/>
                <a:gd name="T33" fmla="*/ 117 h 154"/>
                <a:gd name="T34" fmla="*/ 106 w 144"/>
                <a:gd name="T35" fmla="*/ 130 h 154"/>
                <a:gd name="T36" fmla="*/ 100 w 144"/>
                <a:gd name="T37" fmla="*/ 152 h 154"/>
                <a:gd name="T38" fmla="*/ 98 w 144"/>
                <a:gd name="T39" fmla="*/ 148 h 154"/>
                <a:gd name="T40" fmla="*/ 85 w 144"/>
                <a:gd name="T41" fmla="*/ 154 h 154"/>
                <a:gd name="T42" fmla="*/ 77 w 144"/>
                <a:gd name="T43" fmla="*/ 146 h 154"/>
                <a:gd name="T44" fmla="*/ 67 w 144"/>
                <a:gd name="T45" fmla="*/ 144 h 154"/>
                <a:gd name="T46" fmla="*/ 62 w 144"/>
                <a:gd name="T47" fmla="*/ 140 h 154"/>
                <a:gd name="T48" fmla="*/ 44 w 144"/>
                <a:gd name="T49" fmla="*/ 146 h 154"/>
                <a:gd name="T50" fmla="*/ 39 w 144"/>
                <a:gd name="T51" fmla="*/ 138 h 154"/>
                <a:gd name="T52" fmla="*/ 31 w 144"/>
                <a:gd name="T53" fmla="*/ 138 h 154"/>
                <a:gd name="T54" fmla="*/ 19 w 144"/>
                <a:gd name="T55" fmla="*/ 138 h 154"/>
                <a:gd name="T56" fmla="*/ 18 w 144"/>
                <a:gd name="T57" fmla="*/ 119 h 154"/>
                <a:gd name="T58" fmla="*/ 12 w 144"/>
                <a:gd name="T59" fmla="*/ 113 h 154"/>
                <a:gd name="T60" fmla="*/ 4 w 144"/>
                <a:gd name="T61" fmla="*/ 102 h 154"/>
                <a:gd name="T62" fmla="*/ 0 w 144"/>
                <a:gd name="T63" fmla="*/ 90 h 154"/>
                <a:gd name="T64" fmla="*/ 2 w 144"/>
                <a:gd name="T65" fmla="*/ 77 h 154"/>
                <a:gd name="T66" fmla="*/ 12 w 144"/>
                <a:gd name="T67" fmla="*/ 69 h 154"/>
                <a:gd name="T68" fmla="*/ 21 w 144"/>
                <a:gd name="T69" fmla="*/ 75 h 154"/>
                <a:gd name="T70" fmla="*/ 33 w 144"/>
                <a:gd name="T71" fmla="*/ 71 h 154"/>
                <a:gd name="T72" fmla="*/ 35 w 144"/>
                <a:gd name="T73" fmla="*/ 58 h 154"/>
                <a:gd name="T74" fmla="*/ 41 w 144"/>
                <a:gd name="T75" fmla="*/ 58 h 154"/>
                <a:gd name="T76" fmla="*/ 58 w 144"/>
                <a:gd name="T77" fmla="*/ 54 h 154"/>
                <a:gd name="T78" fmla="*/ 67 w 144"/>
                <a:gd name="T79" fmla="*/ 42 h 154"/>
                <a:gd name="T80" fmla="*/ 75 w 144"/>
                <a:gd name="T81" fmla="*/ 35 h 154"/>
                <a:gd name="T82" fmla="*/ 79 w 144"/>
                <a:gd name="T83" fmla="*/ 29 h 154"/>
                <a:gd name="T84" fmla="*/ 90 w 144"/>
                <a:gd name="T85" fmla="*/ 19 h 154"/>
                <a:gd name="T86" fmla="*/ 102 w 144"/>
                <a:gd name="T87" fmla="*/ 10 h 154"/>
                <a:gd name="T88" fmla="*/ 110 w 144"/>
                <a:gd name="T89" fmla="*/ 0 h 154"/>
                <a:gd name="T90" fmla="*/ 115 w 144"/>
                <a:gd name="T91" fmla="*/ 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44" h="154">
                  <a:moveTo>
                    <a:pt x="115" y="0"/>
                  </a:moveTo>
                  <a:lnTo>
                    <a:pt x="123" y="8"/>
                  </a:lnTo>
                  <a:lnTo>
                    <a:pt x="123" y="13"/>
                  </a:lnTo>
                  <a:lnTo>
                    <a:pt x="133" y="17"/>
                  </a:lnTo>
                  <a:lnTo>
                    <a:pt x="144" y="19"/>
                  </a:lnTo>
                  <a:lnTo>
                    <a:pt x="142" y="27"/>
                  </a:lnTo>
                  <a:lnTo>
                    <a:pt x="133" y="27"/>
                  </a:lnTo>
                  <a:lnTo>
                    <a:pt x="137" y="35"/>
                  </a:lnTo>
                  <a:lnTo>
                    <a:pt x="127" y="38"/>
                  </a:lnTo>
                  <a:lnTo>
                    <a:pt x="117" y="52"/>
                  </a:lnTo>
                  <a:lnTo>
                    <a:pt x="127" y="63"/>
                  </a:lnTo>
                  <a:lnTo>
                    <a:pt x="127" y="71"/>
                  </a:lnTo>
                  <a:lnTo>
                    <a:pt x="140" y="84"/>
                  </a:lnTo>
                  <a:lnTo>
                    <a:pt x="125" y="84"/>
                  </a:lnTo>
                  <a:lnTo>
                    <a:pt x="119" y="96"/>
                  </a:lnTo>
                  <a:lnTo>
                    <a:pt x="121" y="107"/>
                  </a:lnTo>
                  <a:lnTo>
                    <a:pt x="108" y="117"/>
                  </a:lnTo>
                  <a:lnTo>
                    <a:pt x="106" y="130"/>
                  </a:lnTo>
                  <a:lnTo>
                    <a:pt x="100" y="152"/>
                  </a:lnTo>
                  <a:lnTo>
                    <a:pt x="98" y="148"/>
                  </a:lnTo>
                  <a:lnTo>
                    <a:pt x="85" y="154"/>
                  </a:lnTo>
                  <a:lnTo>
                    <a:pt x="77" y="146"/>
                  </a:lnTo>
                  <a:lnTo>
                    <a:pt x="67" y="144"/>
                  </a:lnTo>
                  <a:lnTo>
                    <a:pt x="62" y="140"/>
                  </a:lnTo>
                  <a:lnTo>
                    <a:pt x="44" y="146"/>
                  </a:lnTo>
                  <a:lnTo>
                    <a:pt x="39" y="138"/>
                  </a:lnTo>
                  <a:lnTo>
                    <a:pt x="31" y="138"/>
                  </a:lnTo>
                  <a:lnTo>
                    <a:pt x="19" y="138"/>
                  </a:lnTo>
                  <a:lnTo>
                    <a:pt x="18" y="119"/>
                  </a:lnTo>
                  <a:lnTo>
                    <a:pt x="12" y="113"/>
                  </a:lnTo>
                  <a:lnTo>
                    <a:pt x="4" y="102"/>
                  </a:lnTo>
                  <a:lnTo>
                    <a:pt x="0" y="90"/>
                  </a:lnTo>
                  <a:lnTo>
                    <a:pt x="2" y="77"/>
                  </a:lnTo>
                  <a:lnTo>
                    <a:pt x="12" y="69"/>
                  </a:lnTo>
                  <a:lnTo>
                    <a:pt x="21" y="75"/>
                  </a:lnTo>
                  <a:lnTo>
                    <a:pt x="33" y="71"/>
                  </a:lnTo>
                  <a:lnTo>
                    <a:pt x="35" y="58"/>
                  </a:lnTo>
                  <a:lnTo>
                    <a:pt x="41" y="58"/>
                  </a:lnTo>
                  <a:lnTo>
                    <a:pt x="58" y="54"/>
                  </a:lnTo>
                  <a:lnTo>
                    <a:pt x="67" y="42"/>
                  </a:lnTo>
                  <a:lnTo>
                    <a:pt x="75" y="35"/>
                  </a:lnTo>
                  <a:lnTo>
                    <a:pt x="79" y="29"/>
                  </a:lnTo>
                  <a:lnTo>
                    <a:pt x="90" y="19"/>
                  </a:lnTo>
                  <a:lnTo>
                    <a:pt x="102" y="10"/>
                  </a:lnTo>
                  <a:lnTo>
                    <a:pt x="110" y="0"/>
                  </a:lnTo>
                  <a:lnTo>
                    <a:pt x="115" y="0"/>
                  </a:lnTo>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9" name="Freeform 75">
              <a:extLst>
                <a:ext uri="{FF2B5EF4-FFF2-40B4-BE49-F238E27FC236}">
                  <a16:creationId xmlns:a16="http://schemas.microsoft.com/office/drawing/2014/main" id="{A8DD320B-38E2-4D4B-8AE3-7DD463C59BB0}"/>
                </a:ext>
              </a:extLst>
            </p:cNvPr>
            <p:cNvSpPr>
              <a:spLocks/>
            </p:cNvSpPr>
            <p:nvPr/>
          </p:nvSpPr>
          <p:spPr bwMode="auto">
            <a:xfrm>
              <a:off x="7062787" y="4285616"/>
              <a:ext cx="103188" cy="93705"/>
            </a:xfrm>
            <a:custGeom>
              <a:avLst/>
              <a:gdLst>
                <a:gd name="T0" fmla="*/ 50 w 65"/>
                <a:gd name="T1" fmla="*/ 0 h 59"/>
                <a:gd name="T2" fmla="*/ 61 w 65"/>
                <a:gd name="T3" fmla="*/ 7 h 59"/>
                <a:gd name="T4" fmla="*/ 61 w 65"/>
                <a:gd name="T5" fmla="*/ 13 h 59"/>
                <a:gd name="T6" fmla="*/ 61 w 65"/>
                <a:gd name="T7" fmla="*/ 19 h 59"/>
                <a:gd name="T8" fmla="*/ 63 w 65"/>
                <a:gd name="T9" fmla="*/ 28 h 59"/>
                <a:gd name="T10" fmla="*/ 65 w 65"/>
                <a:gd name="T11" fmla="*/ 36 h 59"/>
                <a:gd name="T12" fmla="*/ 61 w 65"/>
                <a:gd name="T13" fmla="*/ 50 h 59"/>
                <a:gd name="T14" fmla="*/ 55 w 65"/>
                <a:gd name="T15" fmla="*/ 34 h 59"/>
                <a:gd name="T16" fmla="*/ 50 w 65"/>
                <a:gd name="T17" fmla="*/ 42 h 59"/>
                <a:gd name="T18" fmla="*/ 53 w 65"/>
                <a:gd name="T19" fmla="*/ 51 h 59"/>
                <a:gd name="T20" fmla="*/ 50 w 65"/>
                <a:gd name="T21" fmla="*/ 59 h 59"/>
                <a:gd name="T22" fmla="*/ 32 w 65"/>
                <a:gd name="T23" fmla="*/ 50 h 59"/>
                <a:gd name="T24" fmla="*/ 28 w 65"/>
                <a:gd name="T25" fmla="*/ 40 h 59"/>
                <a:gd name="T26" fmla="*/ 34 w 65"/>
                <a:gd name="T27" fmla="*/ 34 h 59"/>
                <a:gd name="T28" fmla="*/ 23 w 65"/>
                <a:gd name="T29" fmla="*/ 27 h 59"/>
                <a:gd name="T30" fmla="*/ 21 w 65"/>
                <a:gd name="T31" fmla="*/ 34 h 59"/>
                <a:gd name="T32" fmla="*/ 13 w 65"/>
                <a:gd name="T33" fmla="*/ 32 h 59"/>
                <a:gd name="T34" fmla="*/ 3 w 65"/>
                <a:gd name="T35" fmla="*/ 40 h 59"/>
                <a:gd name="T36" fmla="*/ 0 w 65"/>
                <a:gd name="T37" fmla="*/ 36 h 59"/>
                <a:gd name="T38" fmla="*/ 7 w 65"/>
                <a:gd name="T39" fmla="*/ 25 h 59"/>
                <a:gd name="T40" fmla="*/ 15 w 65"/>
                <a:gd name="T41" fmla="*/ 21 h 59"/>
                <a:gd name="T42" fmla="*/ 23 w 65"/>
                <a:gd name="T43" fmla="*/ 15 h 59"/>
                <a:gd name="T44" fmla="*/ 27 w 65"/>
                <a:gd name="T45" fmla="*/ 21 h 59"/>
                <a:gd name="T46" fmla="*/ 40 w 65"/>
                <a:gd name="T47" fmla="*/ 17 h 59"/>
                <a:gd name="T48" fmla="*/ 40 w 65"/>
                <a:gd name="T49" fmla="*/ 11 h 59"/>
                <a:gd name="T50" fmla="*/ 51 w 65"/>
                <a:gd name="T51" fmla="*/ 11 h 59"/>
                <a:gd name="T52" fmla="*/ 50 w 65"/>
                <a:gd name="T53" fmla="*/ 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5" h="59">
                  <a:moveTo>
                    <a:pt x="50" y="0"/>
                  </a:moveTo>
                  <a:lnTo>
                    <a:pt x="61" y="7"/>
                  </a:lnTo>
                  <a:lnTo>
                    <a:pt x="61" y="13"/>
                  </a:lnTo>
                  <a:lnTo>
                    <a:pt x="61" y="19"/>
                  </a:lnTo>
                  <a:lnTo>
                    <a:pt x="63" y="28"/>
                  </a:lnTo>
                  <a:lnTo>
                    <a:pt x="65" y="36"/>
                  </a:lnTo>
                  <a:lnTo>
                    <a:pt x="61" y="50"/>
                  </a:lnTo>
                  <a:lnTo>
                    <a:pt x="55" y="34"/>
                  </a:lnTo>
                  <a:lnTo>
                    <a:pt x="50" y="42"/>
                  </a:lnTo>
                  <a:lnTo>
                    <a:pt x="53" y="51"/>
                  </a:lnTo>
                  <a:lnTo>
                    <a:pt x="50" y="59"/>
                  </a:lnTo>
                  <a:lnTo>
                    <a:pt x="32" y="50"/>
                  </a:lnTo>
                  <a:lnTo>
                    <a:pt x="28" y="40"/>
                  </a:lnTo>
                  <a:lnTo>
                    <a:pt x="34" y="34"/>
                  </a:lnTo>
                  <a:lnTo>
                    <a:pt x="23" y="27"/>
                  </a:lnTo>
                  <a:lnTo>
                    <a:pt x="21" y="34"/>
                  </a:lnTo>
                  <a:lnTo>
                    <a:pt x="13" y="32"/>
                  </a:lnTo>
                  <a:lnTo>
                    <a:pt x="3" y="40"/>
                  </a:lnTo>
                  <a:lnTo>
                    <a:pt x="0" y="36"/>
                  </a:lnTo>
                  <a:lnTo>
                    <a:pt x="7" y="25"/>
                  </a:lnTo>
                  <a:lnTo>
                    <a:pt x="15" y="21"/>
                  </a:lnTo>
                  <a:lnTo>
                    <a:pt x="23" y="15"/>
                  </a:lnTo>
                  <a:lnTo>
                    <a:pt x="27" y="21"/>
                  </a:lnTo>
                  <a:lnTo>
                    <a:pt x="40" y="17"/>
                  </a:lnTo>
                  <a:lnTo>
                    <a:pt x="40" y="11"/>
                  </a:lnTo>
                  <a:lnTo>
                    <a:pt x="51" y="11"/>
                  </a:lnTo>
                  <a:lnTo>
                    <a:pt x="50" y="0"/>
                  </a:lnTo>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0" name="Freeform 77">
              <a:extLst>
                <a:ext uri="{FF2B5EF4-FFF2-40B4-BE49-F238E27FC236}">
                  <a16:creationId xmlns:a16="http://schemas.microsoft.com/office/drawing/2014/main" id="{58DFB1DD-226F-4472-AA6E-39D491442010}"/>
                </a:ext>
              </a:extLst>
            </p:cNvPr>
            <p:cNvSpPr>
              <a:spLocks/>
            </p:cNvSpPr>
            <p:nvPr/>
          </p:nvSpPr>
          <p:spPr bwMode="auto">
            <a:xfrm>
              <a:off x="6132513" y="4285616"/>
              <a:ext cx="46038" cy="84176"/>
            </a:xfrm>
            <a:custGeom>
              <a:avLst/>
              <a:gdLst>
                <a:gd name="T0" fmla="*/ 6 w 29"/>
                <a:gd name="T1" fmla="*/ 0 h 53"/>
                <a:gd name="T2" fmla="*/ 14 w 29"/>
                <a:gd name="T3" fmla="*/ 7 h 53"/>
                <a:gd name="T4" fmla="*/ 22 w 29"/>
                <a:gd name="T5" fmla="*/ 17 h 53"/>
                <a:gd name="T6" fmla="*/ 29 w 29"/>
                <a:gd name="T7" fmla="*/ 32 h 53"/>
                <a:gd name="T8" fmla="*/ 27 w 29"/>
                <a:gd name="T9" fmla="*/ 48 h 53"/>
                <a:gd name="T10" fmla="*/ 22 w 29"/>
                <a:gd name="T11" fmla="*/ 50 h 53"/>
                <a:gd name="T12" fmla="*/ 8 w 29"/>
                <a:gd name="T13" fmla="*/ 53 h 53"/>
                <a:gd name="T14" fmla="*/ 0 w 29"/>
                <a:gd name="T15" fmla="*/ 42 h 53"/>
                <a:gd name="T16" fmla="*/ 0 w 29"/>
                <a:gd name="T17" fmla="*/ 21 h 53"/>
                <a:gd name="T18" fmla="*/ 6 w 29"/>
                <a:gd name="T19" fmla="*/ 0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9" h="53">
                  <a:moveTo>
                    <a:pt x="6" y="0"/>
                  </a:moveTo>
                  <a:lnTo>
                    <a:pt x="14" y="7"/>
                  </a:lnTo>
                  <a:lnTo>
                    <a:pt x="22" y="17"/>
                  </a:lnTo>
                  <a:lnTo>
                    <a:pt x="29" y="32"/>
                  </a:lnTo>
                  <a:lnTo>
                    <a:pt x="27" y="48"/>
                  </a:lnTo>
                  <a:lnTo>
                    <a:pt x="22" y="50"/>
                  </a:lnTo>
                  <a:lnTo>
                    <a:pt x="8" y="53"/>
                  </a:lnTo>
                  <a:lnTo>
                    <a:pt x="0" y="42"/>
                  </a:lnTo>
                  <a:lnTo>
                    <a:pt x="0" y="21"/>
                  </a:lnTo>
                  <a:lnTo>
                    <a:pt x="6" y="0"/>
                  </a:lnTo>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1" name="Freeform 79">
              <a:extLst>
                <a:ext uri="{FF2B5EF4-FFF2-40B4-BE49-F238E27FC236}">
                  <a16:creationId xmlns:a16="http://schemas.microsoft.com/office/drawing/2014/main" id="{AF0CB3C7-D4E7-405F-BE13-70B64BCAACB3}"/>
                </a:ext>
              </a:extLst>
            </p:cNvPr>
            <p:cNvSpPr>
              <a:spLocks/>
            </p:cNvSpPr>
            <p:nvPr/>
          </p:nvSpPr>
          <p:spPr bwMode="auto">
            <a:xfrm>
              <a:off x="2998788" y="4260205"/>
              <a:ext cx="23813" cy="19059"/>
            </a:xfrm>
            <a:custGeom>
              <a:avLst/>
              <a:gdLst>
                <a:gd name="T0" fmla="*/ 11 w 15"/>
                <a:gd name="T1" fmla="*/ 0 h 12"/>
                <a:gd name="T2" fmla="*/ 15 w 15"/>
                <a:gd name="T3" fmla="*/ 0 h 12"/>
                <a:gd name="T4" fmla="*/ 15 w 15"/>
                <a:gd name="T5" fmla="*/ 10 h 12"/>
                <a:gd name="T6" fmla="*/ 2 w 15"/>
                <a:gd name="T7" fmla="*/ 12 h 12"/>
                <a:gd name="T8" fmla="*/ 0 w 15"/>
                <a:gd name="T9" fmla="*/ 10 h 12"/>
                <a:gd name="T10" fmla="*/ 4 w 15"/>
                <a:gd name="T11" fmla="*/ 8 h 12"/>
                <a:gd name="T12" fmla="*/ 2 w 15"/>
                <a:gd name="T13" fmla="*/ 2 h 12"/>
                <a:gd name="T14" fmla="*/ 11 w 15"/>
                <a:gd name="T15" fmla="*/ 0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 h="12">
                  <a:moveTo>
                    <a:pt x="11" y="0"/>
                  </a:moveTo>
                  <a:lnTo>
                    <a:pt x="15" y="0"/>
                  </a:lnTo>
                  <a:lnTo>
                    <a:pt x="15" y="10"/>
                  </a:lnTo>
                  <a:lnTo>
                    <a:pt x="2" y="12"/>
                  </a:lnTo>
                  <a:lnTo>
                    <a:pt x="0" y="10"/>
                  </a:lnTo>
                  <a:lnTo>
                    <a:pt x="4" y="8"/>
                  </a:lnTo>
                  <a:lnTo>
                    <a:pt x="2" y="2"/>
                  </a:lnTo>
                  <a:lnTo>
                    <a:pt x="11" y="0"/>
                  </a:lnTo>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2" name="Freeform 81">
              <a:extLst>
                <a:ext uri="{FF2B5EF4-FFF2-40B4-BE49-F238E27FC236}">
                  <a16:creationId xmlns:a16="http://schemas.microsoft.com/office/drawing/2014/main" id="{2F20E7C3-E261-4C5E-B920-07576A03DFF6}"/>
                </a:ext>
              </a:extLst>
            </p:cNvPr>
            <p:cNvSpPr>
              <a:spLocks/>
            </p:cNvSpPr>
            <p:nvPr/>
          </p:nvSpPr>
          <p:spPr bwMode="auto">
            <a:xfrm>
              <a:off x="7073900" y="4253852"/>
              <a:ext cx="36513" cy="49235"/>
            </a:xfrm>
            <a:custGeom>
              <a:avLst/>
              <a:gdLst>
                <a:gd name="T0" fmla="*/ 23 w 23"/>
                <a:gd name="T1" fmla="*/ 0 h 31"/>
                <a:gd name="T2" fmla="*/ 23 w 23"/>
                <a:gd name="T3" fmla="*/ 14 h 31"/>
                <a:gd name="T4" fmla="*/ 18 w 23"/>
                <a:gd name="T5" fmla="*/ 16 h 31"/>
                <a:gd name="T6" fmla="*/ 14 w 23"/>
                <a:gd name="T7" fmla="*/ 27 h 31"/>
                <a:gd name="T8" fmla="*/ 8 w 23"/>
                <a:gd name="T9" fmla="*/ 31 h 31"/>
                <a:gd name="T10" fmla="*/ 0 w 23"/>
                <a:gd name="T11" fmla="*/ 20 h 31"/>
                <a:gd name="T12" fmla="*/ 4 w 23"/>
                <a:gd name="T13" fmla="*/ 16 h 31"/>
                <a:gd name="T14" fmla="*/ 6 w 23"/>
                <a:gd name="T15" fmla="*/ 14 h 31"/>
                <a:gd name="T16" fmla="*/ 8 w 23"/>
                <a:gd name="T17" fmla="*/ 4 h 31"/>
                <a:gd name="T18" fmla="*/ 16 w 23"/>
                <a:gd name="T19" fmla="*/ 4 h 31"/>
                <a:gd name="T20" fmla="*/ 14 w 23"/>
                <a:gd name="T21" fmla="*/ 14 h 31"/>
                <a:gd name="T22" fmla="*/ 23 w 23"/>
                <a:gd name="T23"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3" h="31">
                  <a:moveTo>
                    <a:pt x="23" y="0"/>
                  </a:moveTo>
                  <a:lnTo>
                    <a:pt x="23" y="14"/>
                  </a:lnTo>
                  <a:lnTo>
                    <a:pt x="18" y="16"/>
                  </a:lnTo>
                  <a:lnTo>
                    <a:pt x="14" y="27"/>
                  </a:lnTo>
                  <a:lnTo>
                    <a:pt x="8" y="31"/>
                  </a:lnTo>
                  <a:lnTo>
                    <a:pt x="0" y="20"/>
                  </a:lnTo>
                  <a:lnTo>
                    <a:pt x="4" y="16"/>
                  </a:lnTo>
                  <a:lnTo>
                    <a:pt x="6" y="14"/>
                  </a:lnTo>
                  <a:lnTo>
                    <a:pt x="8" y="4"/>
                  </a:lnTo>
                  <a:lnTo>
                    <a:pt x="16" y="4"/>
                  </a:lnTo>
                  <a:lnTo>
                    <a:pt x="14" y="14"/>
                  </a:lnTo>
                  <a:lnTo>
                    <a:pt x="23" y="0"/>
                  </a:lnTo>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3" name="Freeform 83">
              <a:extLst>
                <a:ext uri="{FF2B5EF4-FFF2-40B4-BE49-F238E27FC236}">
                  <a16:creationId xmlns:a16="http://schemas.microsoft.com/office/drawing/2014/main" id="{81E13550-0336-4FA2-BE56-5561A640855F}"/>
                </a:ext>
              </a:extLst>
            </p:cNvPr>
            <p:cNvSpPr>
              <a:spLocks/>
            </p:cNvSpPr>
            <p:nvPr/>
          </p:nvSpPr>
          <p:spPr bwMode="auto">
            <a:xfrm>
              <a:off x="6961187" y="4249088"/>
              <a:ext cx="55563" cy="69882"/>
            </a:xfrm>
            <a:custGeom>
              <a:avLst/>
              <a:gdLst>
                <a:gd name="T0" fmla="*/ 31 w 35"/>
                <a:gd name="T1" fmla="*/ 0 h 44"/>
                <a:gd name="T2" fmla="*/ 35 w 35"/>
                <a:gd name="T3" fmla="*/ 11 h 44"/>
                <a:gd name="T4" fmla="*/ 23 w 35"/>
                <a:gd name="T5" fmla="*/ 19 h 44"/>
                <a:gd name="T6" fmla="*/ 18 w 35"/>
                <a:gd name="T7" fmla="*/ 30 h 44"/>
                <a:gd name="T8" fmla="*/ 0 w 35"/>
                <a:gd name="T9" fmla="*/ 44 h 44"/>
                <a:gd name="T10" fmla="*/ 6 w 35"/>
                <a:gd name="T11" fmla="*/ 34 h 44"/>
                <a:gd name="T12" fmla="*/ 16 w 35"/>
                <a:gd name="T13" fmla="*/ 25 h 44"/>
                <a:gd name="T14" fmla="*/ 23 w 35"/>
                <a:gd name="T15" fmla="*/ 15 h 44"/>
                <a:gd name="T16" fmla="*/ 31 w 35"/>
                <a:gd name="T17"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 h="44">
                  <a:moveTo>
                    <a:pt x="31" y="0"/>
                  </a:moveTo>
                  <a:lnTo>
                    <a:pt x="35" y="11"/>
                  </a:lnTo>
                  <a:lnTo>
                    <a:pt x="23" y="19"/>
                  </a:lnTo>
                  <a:lnTo>
                    <a:pt x="18" y="30"/>
                  </a:lnTo>
                  <a:lnTo>
                    <a:pt x="0" y="44"/>
                  </a:lnTo>
                  <a:lnTo>
                    <a:pt x="6" y="34"/>
                  </a:lnTo>
                  <a:lnTo>
                    <a:pt x="16" y="25"/>
                  </a:lnTo>
                  <a:lnTo>
                    <a:pt x="23" y="15"/>
                  </a:lnTo>
                  <a:lnTo>
                    <a:pt x="31" y="0"/>
                  </a:lnTo>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4" name="Freeform 85">
              <a:extLst>
                <a:ext uri="{FF2B5EF4-FFF2-40B4-BE49-F238E27FC236}">
                  <a16:creationId xmlns:a16="http://schemas.microsoft.com/office/drawing/2014/main" id="{1A104419-620C-4A1D-8ED2-F87381420CC9}"/>
                </a:ext>
              </a:extLst>
            </p:cNvPr>
            <p:cNvSpPr>
              <a:spLocks/>
            </p:cNvSpPr>
            <p:nvPr/>
          </p:nvSpPr>
          <p:spPr bwMode="auto">
            <a:xfrm>
              <a:off x="7062787" y="4239558"/>
              <a:ext cx="26988" cy="30177"/>
            </a:xfrm>
            <a:custGeom>
              <a:avLst/>
              <a:gdLst>
                <a:gd name="T0" fmla="*/ 0 w 17"/>
                <a:gd name="T1" fmla="*/ 0 h 19"/>
                <a:gd name="T2" fmla="*/ 9 w 17"/>
                <a:gd name="T3" fmla="*/ 4 h 19"/>
                <a:gd name="T4" fmla="*/ 17 w 17"/>
                <a:gd name="T5" fmla="*/ 4 h 19"/>
                <a:gd name="T6" fmla="*/ 17 w 17"/>
                <a:gd name="T7" fmla="*/ 9 h 19"/>
                <a:gd name="T8" fmla="*/ 11 w 17"/>
                <a:gd name="T9" fmla="*/ 15 h 19"/>
                <a:gd name="T10" fmla="*/ 2 w 17"/>
                <a:gd name="T11" fmla="*/ 19 h 19"/>
                <a:gd name="T12" fmla="*/ 2 w 17"/>
                <a:gd name="T13" fmla="*/ 13 h 19"/>
                <a:gd name="T14" fmla="*/ 2 w 17"/>
                <a:gd name="T15" fmla="*/ 6 h 19"/>
                <a:gd name="T16" fmla="*/ 0 w 17"/>
                <a:gd name="T17"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19">
                  <a:moveTo>
                    <a:pt x="0" y="0"/>
                  </a:moveTo>
                  <a:lnTo>
                    <a:pt x="9" y="4"/>
                  </a:lnTo>
                  <a:lnTo>
                    <a:pt x="17" y="4"/>
                  </a:lnTo>
                  <a:lnTo>
                    <a:pt x="17" y="9"/>
                  </a:lnTo>
                  <a:lnTo>
                    <a:pt x="11" y="15"/>
                  </a:lnTo>
                  <a:lnTo>
                    <a:pt x="2" y="19"/>
                  </a:lnTo>
                  <a:lnTo>
                    <a:pt x="2" y="13"/>
                  </a:lnTo>
                  <a:lnTo>
                    <a:pt x="2" y="6"/>
                  </a:lnTo>
                  <a:lnTo>
                    <a:pt x="0" y="0"/>
                  </a:lnTo>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5" name="Freeform 87">
              <a:extLst>
                <a:ext uri="{FF2B5EF4-FFF2-40B4-BE49-F238E27FC236}">
                  <a16:creationId xmlns:a16="http://schemas.microsoft.com/office/drawing/2014/main" id="{F4E71827-AAD6-4C86-8D85-D9249F52CB5A}"/>
                </a:ext>
              </a:extLst>
            </p:cNvPr>
            <p:cNvSpPr>
              <a:spLocks/>
            </p:cNvSpPr>
            <p:nvPr/>
          </p:nvSpPr>
          <p:spPr bwMode="auto">
            <a:xfrm>
              <a:off x="7116762" y="4220500"/>
              <a:ext cx="30163" cy="55588"/>
            </a:xfrm>
            <a:custGeom>
              <a:avLst/>
              <a:gdLst>
                <a:gd name="T0" fmla="*/ 0 w 19"/>
                <a:gd name="T1" fmla="*/ 0 h 35"/>
                <a:gd name="T2" fmla="*/ 14 w 19"/>
                <a:gd name="T3" fmla="*/ 2 h 35"/>
                <a:gd name="T4" fmla="*/ 17 w 19"/>
                <a:gd name="T5" fmla="*/ 8 h 35"/>
                <a:gd name="T6" fmla="*/ 19 w 19"/>
                <a:gd name="T7" fmla="*/ 23 h 35"/>
                <a:gd name="T8" fmla="*/ 10 w 19"/>
                <a:gd name="T9" fmla="*/ 20 h 35"/>
                <a:gd name="T10" fmla="*/ 10 w 19"/>
                <a:gd name="T11" fmla="*/ 25 h 35"/>
                <a:gd name="T12" fmla="*/ 14 w 19"/>
                <a:gd name="T13" fmla="*/ 33 h 35"/>
                <a:gd name="T14" fmla="*/ 6 w 19"/>
                <a:gd name="T15" fmla="*/ 35 h 35"/>
                <a:gd name="T16" fmla="*/ 6 w 19"/>
                <a:gd name="T17" fmla="*/ 25 h 35"/>
                <a:gd name="T18" fmla="*/ 2 w 19"/>
                <a:gd name="T19" fmla="*/ 25 h 35"/>
                <a:gd name="T20" fmla="*/ 0 w 19"/>
                <a:gd name="T21" fmla="*/ 16 h 35"/>
                <a:gd name="T22" fmla="*/ 8 w 19"/>
                <a:gd name="T23" fmla="*/ 18 h 35"/>
                <a:gd name="T24" fmla="*/ 8 w 19"/>
                <a:gd name="T25" fmla="*/ 14 h 35"/>
                <a:gd name="T26" fmla="*/ 0 w 19"/>
                <a:gd name="T27"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9" h="35">
                  <a:moveTo>
                    <a:pt x="0" y="0"/>
                  </a:moveTo>
                  <a:lnTo>
                    <a:pt x="14" y="2"/>
                  </a:lnTo>
                  <a:lnTo>
                    <a:pt x="17" y="8"/>
                  </a:lnTo>
                  <a:lnTo>
                    <a:pt x="19" y="23"/>
                  </a:lnTo>
                  <a:lnTo>
                    <a:pt x="10" y="20"/>
                  </a:lnTo>
                  <a:lnTo>
                    <a:pt x="10" y="25"/>
                  </a:lnTo>
                  <a:lnTo>
                    <a:pt x="14" y="33"/>
                  </a:lnTo>
                  <a:lnTo>
                    <a:pt x="6" y="35"/>
                  </a:lnTo>
                  <a:lnTo>
                    <a:pt x="6" y="25"/>
                  </a:lnTo>
                  <a:lnTo>
                    <a:pt x="2" y="25"/>
                  </a:lnTo>
                  <a:lnTo>
                    <a:pt x="0" y="16"/>
                  </a:lnTo>
                  <a:lnTo>
                    <a:pt x="8" y="18"/>
                  </a:lnTo>
                  <a:lnTo>
                    <a:pt x="8" y="14"/>
                  </a:lnTo>
                  <a:lnTo>
                    <a:pt x="0" y="0"/>
                  </a:lnTo>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6" name="Freeform 89">
              <a:extLst>
                <a:ext uri="{FF2B5EF4-FFF2-40B4-BE49-F238E27FC236}">
                  <a16:creationId xmlns:a16="http://schemas.microsoft.com/office/drawing/2014/main" id="{C7284C34-72B5-451E-ADCA-99946A318F7C}"/>
                </a:ext>
              </a:extLst>
            </p:cNvPr>
            <p:cNvSpPr>
              <a:spLocks/>
            </p:cNvSpPr>
            <p:nvPr/>
          </p:nvSpPr>
          <p:spPr bwMode="auto">
            <a:xfrm>
              <a:off x="7029450" y="4203029"/>
              <a:ext cx="26988" cy="27000"/>
            </a:xfrm>
            <a:custGeom>
              <a:avLst/>
              <a:gdLst>
                <a:gd name="T0" fmla="*/ 0 w 17"/>
                <a:gd name="T1" fmla="*/ 0 h 17"/>
                <a:gd name="T2" fmla="*/ 11 w 17"/>
                <a:gd name="T3" fmla="*/ 0 h 17"/>
                <a:gd name="T4" fmla="*/ 17 w 17"/>
                <a:gd name="T5" fmla="*/ 6 h 17"/>
                <a:gd name="T6" fmla="*/ 13 w 17"/>
                <a:gd name="T7" fmla="*/ 17 h 17"/>
                <a:gd name="T8" fmla="*/ 5 w 17"/>
                <a:gd name="T9" fmla="*/ 9 h 17"/>
                <a:gd name="T10" fmla="*/ 0 w 17"/>
                <a:gd name="T11" fmla="*/ 0 h 17"/>
              </a:gdLst>
              <a:ahLst/>
              <a:cxnLst>
                <a:cxn ang="0">
                  <a:pos x="T0" y="T1"/>
                </a:cxn>
                <a:cxn ang="0">
                  <a:pos x="T2" y="T3"/>
                </a:cxn>
                <a:cxn ang="0">
                  <a:pos x="T4" y="T5"/>
                </a:cxn>
                <a:cxn ang="0">
                  <a:pos x="T6" y="T7"/>
                </a:cxn>
                <a:cxn ang="0">
                  <a:pos x="T8" y="T9"/>
                </a:cxn>
                <a:cxn ang="0">
                  <a:pos x="T10" y="T11"/>
                </a:cxn>
              </a:cxnLst>
              <a:rect l="0" t="0" r="r" b="b"/>
              <a:pathLst>
                <a:path w="17" h="17">
                  <a:moveTo>
                    <a:pt x="0" y="0"/>
                  </a:moveTo>
                  <a:lnTo>
                    <a:pt x="11" y="0"/>
                  </a:lnTo>
                  <a:lnTo>
                    <a:pt x="17" y="6"/>
                  </a:lnTo>
                  <a:lnTo>
                    <a:pt x="13" y="17"/>
                  </a:lnTo>
                  <a:lnTo>
                    <a:pt x="5" y="9"/>
                  </a:lnTo>
                  <a:lnTo>
                    <a:pt x="0" y="0"/>
                  </a:lnTo>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7" name="Freeform 91">
              <a:extLst>
                <a:ext uri="{FF2B5EF4-FFF2-40B4-BE49-F238E27FC236}">
                  <a16:creationId xmlns:a16="http://schemas.microsoft.com/office/drawing/2014/main" id="{9F44C1D6-01D4-4241-A80E-DFA0199573D6}"/>
                </a:ext>
              </a:extLst>
            </p:cNvPr>
            <p:cNvSpPr>
              <a:spLocks/>
            </p:cNvSpPr>
            <p:nvPr/>
          </p:nvSpPr>
          <p:spPr bwMode="auto">
            <a:xfrm>
              <a:off x="7019925" y="4090266"/>
              <a:ext cx="93663" cy="133410"/>
            </a:xfrm>
            <a:custGeom>
              <a:avLst/>
              <a:gdLst>
                <a:gd name="T0" fmla="*/ 11 w 59"/>
                <a:gd name="T1" fmla="*/ 0 h 84"/>
                <a:gd name="T2" fmla="*/ 19 w 59"/>
                <a:gd name="T3" fmla="*/ 0 h 84"/>
                <a:gd name="T4" fmla="*/ 27 w 59"/>
                <a:gd name="T5" fmla="*/ 2 h 84"/>
                <a:gd name="T6" fmla="*/ 32 w 59"/>
                <a:gd name="T7" fmla="*/ 0 h 84"/>
                <a:gd name="T8" fmla="*/ 34 w 59"/>
                <a:gd name="T9" fmla="*/ 2 h 84"/>
                <a:gd name="T10" fmla="*/ 30 w 59"/>
                <a:gd name="T11" fmla="*/ 9 h 84"/>
                <a:gd name="T12" fmla="*/ 36 w 59"/>
                <a:gd name="T13" fmla="*/ 19 h 84"/>
                <a:gd name="T14" fmla="*/ 32 w 59"/>
                <a:gd name="T15" fmla="*/ 31 h 84"/>
                <a:gd name="T16" fmla="*/ 25 w 59"/>
                <a:gd name="T17" fmla="*/ 36 h 84"/>
                <a:gd name="T18" fmla="*/ 23 w 59"/>
                <a:gd name="T19" fmla="*/ 48 h 84"/>
                <a:gd name="T20" fmla="*/ 27 w 59"/>
                <a:gd name="T21" fmla="*/ 57 h 84"/>
                <a:gd name="T22" fmla="*/ 32 w 59"/>
                <a:gd name="T23" fmla="*/ 59 h 84"/>
                <a:gd name="T24" fmla="*/ 40 w 59"/>
                <a:gd name="T25" fmla="*/ 57 h 84"/>
                <a:gd name="T26" fmla="*/ 55 w 59"/>
                <a:gd name="T27" fmla="*/ 67 h 84"/>
                <a:gd name="T28" fmla="*/ 54 w 59"/>
                <a:gd name="T29" fmla="*/ 75 h 84"/>
                <a:gd name="T30" fmla="*/ 59 w 59"/>
                <a:gd name="T31" fmla="*/ 79 h 84"/>
                <a:gd name="T32" fmla="*/ 57 w 59"/>
                <a:gd name="T33" fmla="*/ 84 h 84"/>
                <a:gd name="T34" fmla="*/ 48 w 59"/>
                <a:gd name="T35" fmla="*/ 77 h 84"/>
                <a:gd name="T36" fmla="*/ 42 w 59"/>
                <a:gd name="T37" fmla="*/ 69 h 84"/>
                <a:gd name="T38" fmla="*/ 40 w 59"/>
                <a:gd name="T39" fmla="*/ 75 h 84"/>
                <a:gd name="T40" fmla="*/ 29 w 59"/>
                <a:gd name="T41" fmla="*/ 67 h 84"/>
                <a:gd name="T42" fmla="*/ 17 w 59"/>
                <a:gd name="T43" fmla="*/ 69 h 84"/>
                <a:gd name="T44" fmla="*/ 11 w 59"/>
                <a:gd name="T45" fmla="*/ 65 h 84"/>
                <a:gd name="T46" fmla="*/ 11 w 59"/>
                <a:gd name="T47" fmla="*/ 59 h 84"/>
                <a:gd name="T48" fmla="*/ 15 w 59"/>
                <a:gd name="T49" fmla="*/ 55 h 84"/>
                <a:gd name="T50" fmla="*/ 11 w 59"/>
                <a:gd name="T51" fmla="*/ 54 h 84"/>
                <a:gd name="T52" fmla="*/ 9 w 59"/>
                <a:gd name="T53" fmla="*/ 57 h 84"/>
                <a:gd name="T54" fmla="*/ 2 w 59"/>
                <a:gd name="T55" fmla="*/ 50 h 84"/>
                <a:gd name="T56" fmla="*/ 2 w 59"/>
                <a:gd name="T57" fmla="*/ 42 h 84"/>
                <a:gd name="T58" fmla="*/ 0 w 59"/>
                <a:gd name="T59" fmla="*/ 31 h 84"/>
                <a:gd name="T60" fmla="*/ 6 w 59"/>
                <a:gd name="T61" fmla="*/ 34 h 84"/>
                <a:gd name="T62" fmla="*/ 7 w 59"/>
                <a:gd name="T63" fmla="*/ 13 h 84"/>
                <a:gd name="T64" fmla="*/ 11 w 59"/>
                <a:gd name="T65" fmla="*/ 0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9" h="84">
                  <a:moveTo>
                    <a:pt x="11" y="0"/>
                  </a:moveTo>
                  <a:lnTo>
                    <a:pt x="19" y="0"/>
                  </a:lnTo>
                  <a:lnTo>
                    <a:pt x="27" y="2"/>
                  </a:lnTo>
                  <a:lnTo>
                    <a:pt x="32" y="0"/>
                  </a:lnTo>
                  <a:lnTo>
                    <a:pt x="34" y="2"/>
                  </a:lnTo>
                  <a:lnTo>
                    <a:pt x="30" y="9"/>
                  </a:lnTo>
                  <a:lnTo>
                    <a:pt x="36" y="19"/>
                  </a:lnTo>
                  <a:lnTo>
                    <a:pt x="32" y="31"/>
                  </a:lnTo>
                  <a:lnTo>
                    <a:pt x="25" y="36"/>
                  </a:lnTo>
                  <a:lnTo>
                    <a:pt x="23" y="48"/>
                  </a:lnTo>
                  <a:lnTo>
                    <a:pt x="27" y="57"/>
                  </a:lnTo>
                  <a:lnTo>
                    <a:pt x="32" y="59"/>
                  </a:lnTo>
                  <a:lnTo>
                    <a:pt x="40" y="57"/>
                  </a:lnTo>
                  <a:lnTo>
                    <a:pt x="55" y="67"/>
                  </a:lnTo>
                  <a:lnTo>
                    <a:pt x="54" y="75"/>
                  </a:lnTo>
                  <a:lnTo>
                    <a:pt x="59" y="79"/>
                  </a:lnTo>
                  <a:lnTo>
                    <a:pt x="57" y="84"/>
                  </a:lnTo>
                  <a:lnTo>
                    <a:pt x="48" y="77"/>
                  </a:lnTo>
                  <a:lnTo>
                    <a:pt x="42" y="69"/>
                  </a:lnTo>
                  <a:lnTo>
                    <a:pt x="40" y="75"/>
                  </a:lnTo>
                  <a:lnTo>
                    <a:pt x="29" y="67"/>
                  </a:lnTo>
                  <a:lnTo>
                    <a:pt x="17" y="69"/>
                  </a:lnTo>
                  <a:lnTo>
                    <a:pt x="11" y="65"/>
                  </a:lnTo>
                  <a:lnTo>
                    <a:pt x="11" y="59"/>
                  </a:lnTo>
                  <a:lnTo>
                    <a:pt x="15" y="55"/>
                  </a:lnTo>
                  <a:lnTo>
                    <a:pt x="11" y="54"/>
                  </a:lnTo>
                  <a:lnTo>
                    <a:pt x="9" y="57"/>
                  </a:lnTo>
                  <a:lnTo>
                    <a:pt x="2" y="50"/>
                  </a:lnTo>
                  <a:lnTo>
                    <a:pt x="2" y="42"/>
                  </a:lnTo>
                  <a:lnTo>
                    <a:pt x="0" y="31"/>
                  </a:lnTo>
                  <a:lnTo>
                    <a:pt x="6" y="34"/>
                  </a:lnTo>
                  <a:lnTo>
                    <a:pt x="7" y="13"/>
                  </a:lnTo>
                  <a:lnTo>
                    <a:pt x="11" y="0"/>
                  </a:lnTo>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8" name="Freeform 93">
              <a:extLst>
                <a:ext uri="{FF2B5EF4-FFF2-40B4-BE49-F238E27FC236}">
                  <a16:creationId xmlns:a16="http://schemas.microsoft.com/office/drawing/2014/main" id="{F6BD6BED-9B8C-40A4-9E97-E697B3671858}"/>
                </a:ext>
              </a:extLst>
            </p:cNvPr>
            <p:cNvSpPr>
              <a:spLocks/>
            </p:cNvSpPr>
            <p:nvPr/>
          </p:nvSpPr>
          <p:spPr bwMode="auto">
            <a:xfrm>
              <a:off x="2879726" y="4090266"/>
              <a:ext cx="39688" cy="12706"/>
            </a:xfrm>
            <a:custGeom>
              <a:avLst/>
              <a:gdLst>
                <a:gd name="T0" fmla="*/ 2 w 25"/>
                <a:gd name="T1" fmla="*/ 0 h 8"/>
                <a:gd name="T2" fmla="*/ 14 w 25"/>
                <a:gd name="T3" fmla="*/ 0 h 8"/>
                <a:gd name="T4" fmla="*/ 19 w 25"/>
                <a:gd name="T5" fmla="*/ 0 h 8"/>
                <a:gd name="T6" fmla="*/ 25 w 25"/>
                <a:gd name="T7" fmla="*/ 2 h 8"/>
                <a:gd name="T8" fmla="*/ 19 w 25"/>
                <a:gd name="T9" fmla="*/ 6 h 8"/>
                <a:gd name="T10" fmla="*/ 10 w 25"/>
                <a:gd name="T11" fmla="*/ 6 h 8"/>
                <a:gd name="T12" fmla="*/ 2 w 25"/>
                <a:gd name="T13" fmla="*/ 8 h 8"/>
                <a:gd name="T14" fmla="*/ 0 w 25"/>
                <a:gd name="T15" fmla="*/ 2 h 8"/>
                <a:gd name="T16" fmla="*/ 2 w 25"/>
                <a:gd name="T17"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8">
                  <a:moveTo>
                    <a:pt x="2" y="0"/>
                  </a:moveTo>
                  <a:lnTo>
                    <a:pt x="14" y="0"/>
                  </a:lnTo>
                  <a:lnTo>
                    <a:pt x="19" y="0"/>
                  </a:lnTo>
                  <a:lnTo>
                    <a:pt x="25" y="2"/>
                  </a:lnTo>
                  <a:lnTo>
                    <a:pt x="19" y="6"/>
                  </a:lnTo>
                  <a:lnTo>
                    <a:pt x="10" y="6"/>
                  </a:lnTo>
                  <a:lnTo>
                    <a:pt x="2" y="8"/>
                  </a:lnTo>
                  <a:lnTo>
                    <a:pt x="0" y="2"/>
                  </a:lnTo>
                  <a:lnTo>
                    <a:pt x="2" y="0"/>
                  </a:lnTo>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9" name="Freeform 95">
              <a:extLst>
                <a:ext uri="{FF2B5EF4-FFF2-40B4-BE49-F238E27FC236}">
                  <a16:creationId xmlns:a16="http://schemas.microsoft.com/office/drawing/2014/main" id="{BC4184F9-308F-4DB2-813A-F4464B316B82}"/>
                </a:ext>
              </a:extLst>
            </p:cNvPr>
            <p:cNvSpPr>
              <a:spLocks/>
            </p:cNvSpPr>
            <p:nvPr/>
          </p:nvSpPr>
          <p:spPr bwMode="auto">
            <a:xfrm>
              <a:off x="2636838" y="4090266"/>
              <a:ext cx="44450" cy="17471"/>
            </a:xfrm>
            <a:custGeom>
              <a:avLst/>
              <a:gdLst>
                <a:gd name="T0" fmla="*/ 5 w 28"/>
                <a:gd name="T1" fmla="*/ 0 h 11"/>
                <a:gd name="T2" fmla="*/ 9 w 28"/>
                <a:gd name="T3" fmla="*/ 0 h 11"/>
                <a:gd name="T4" fmla="*/ 19 w 28"/>
                <a:gd name="T5" fmla="*/ 2 h 11"/>
                <a:gd name="T6" fmla="*/ 26 w 28"/>
                <a:gd name="T7" fmla="*/ 4 h 11"/>
                <a:gd name="T8" fmla="*/ 28 w 28"/>
                <a:gd name="T9" fmla="*/ 8 h 11"/>
                <a:gd name="T10" fmla="*/ 19 w 28"/>
                <a:gd name="T11" fmla="*/ 8 h 11"/>
                <a:gd name="T12" fmla="*/ 15 w 28"/>
                <a:gd name="T13" fmla="*/ 11 h 11"/>
                <a:gd name="T14" fmla="*/ 7 w 28"/>
                <a:gd name="T15" fmla="*/ 8 h 11"/>
                <a:gd name="T16" fmla="*/ 0 w 28"/>
                <a:gd name="T17" fmla="*/ 2 h 11"/>
                <a:gd name="T18" fmla="*/ 1 w 28"/>
                <a:gd name="T19" fmla="*/ 0 h 11"/>
                <a:gd name="T20" fmla="*/ 5 w 28"/>
                <a:gd name="T21"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8" h="11">
                  <a:moveTo>
                    <a:pt x="5" y="0"/>
                  </a:moveTo>
                  <a:lnTo>
                    <a:pt x="9" y="0"/>
                  </a:lnTo>
                  <a:lnTo>
                    <a:pt x="19" y="2"/>
                  </a:lnTo>
                  <a:lnTo>
                    <a:pt x="26" y="4"/>
                  </a:lnTo>
                  <a:lnTo>
                    <a:pt x="28" y="8"/>
                  </a:lnTo>
                  <a:lnTo>
                    <a:pt x="19" y="8"/>
                  </a:lnTo>
                  <a:lnTo>
                    <a:pt x="15" y="11"/>
                  </a:lnTo>
                  <a:lnTo>
                    <a:pt x="7" y="8"/>
                  </a:lnTo>
                  <a:lnTo>
                    <a:pt x="0" y="2"/>
                  </a:lnTo>
                  <a:lnTo>
                    <a:pt x="1" y="0"/>
                  </a:lnTo>
                  <a:lnTo>
                    <a:pt x="5" y="0"/>
                  </a:lnTo>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50" name="Freeform 97">
              <a:extLst>
                <a:ext uri="{FF2B5EF4-FFF2-40B4-BE49-F238E27FC236}">
                  <a16:creationId xmlns:a16="http://schemas.microsoft.com/office/drawing/2014/main" id="{45BAF9BC-C1F7-4AC3-9766-D12210776971}"/>
                </a:ext>
              </a:extLst>
            </p:cNvPr>
            <p:cNvSpPr>
              <a:spLocks/>
            </p:cNvSpPr>
            <p:nvPr/>
          </p:nvSpPr>
          <p:spPr bwMode="auto">
            <a:xfrm>
              <a:off x="2720976" y="4056913"/>
              <a:ext cx="134938" cy="53999"/>
            </a:xfrm>
            <a:custGeom>
              <a:avLst/>
              <a:gdLst>
                <a:gd name="T0" fmla="*/ 18 w 85"/>
                <a:gd name="T1" fmla="*/ 0 h 34"/>
                <a:gd name="T2" fmla="*/ 27 w 85"/>
                <a:gd name="T3" fmla="*/ 0 h 34"/>
                <a:gd name="T4" fmla="*/ 39 w 85"/>
                <a:gd name="T5" fmla="*/ 2 h 34"/>
                <a:gd name="T6" fmla="*/ 41 w 85"/>
                <a:gd name="T7" fmla="*/ 11 h 34"/>
                <a:gd name="T8" fmla="*/ 39 w 85"/>
                <a:gd name="T9" fmla="*/ 2 h 34"/>
                <a:gd name="T10" fmla="*/ 41 w 85"/>
                <a:gd name="T11" fmla="*/ 0 h 34"/>
                <a:gd name="T12" fmla="*/ 50 w 85"/>
                <a:gd name="T13" fmla="*/ 0 h 34"/>
                <a:gd name="T14" fmla="*/ 58 w 85"/>
                <a:gd name="T15" fmla="*/ 4 h 34"/>
                <a:gd name="T16" fmla="*/ 64 w 85"/>
                <a:gd name="T17" fmla="*/ 4 h 34"/>
                <a:gd name="T18" fmla="*/ 66 w 85"/>
                <a:gd name="T19" fmla="*/ 9 h 34"/>
                <a:gd name="T20" fmla="*/ 73 w 85"/>
                <a:gd name="T21" fmla="*/ 9 h 34"/>
                <a:gd name="T22" fmla="*/ 71 w 85"/>
                <a:gd name="T23" fmla="*/ 13 h 34"/>
                <a:gd name="T24" fmla="*/ 79 w 85"/>
                <a:gd name="T25" fmla="*/ 13 h 34"/>
                <a:gd name="T26" fmla="*/ 85 w 85"/>
                <a:gd name="T27" fmla="*/ 19 h 34"/>
                <a:gd name="T28" fmla="*/ 81 w 85"/>
                <a:gd name="T29" fmla="*/ 23 h 34"/>
                <a:gd name="T30" fmla="*/ 73 w 85"/>
                <a:gd name="T31" fmla="*/ 21 h 34"/>
                <a:gd name="T32" fmla="*/ 67 w 85"/>
                <a:gd name="T33" fmla="*/ 23 h 34"/>
                <a:gd name="T34" fmla="*/ 64 w 85"/>
                <a:gd name="T35" fmla="*/ 21 h 34"/>
                <a:gd name="T36" fmla="*/ 60 w 85"/>
                <a:gd name="T37" fmla="*/ 23 h 34"/>
                <a:gd name="T38" fmla="*/ 54 w 85"/>
                <a:gd name="T39" fmla="*/ 25 h 34"/>
                <a:gd name="T40" fmla="*/ 52 w 85"/>
                <a:gd name="T41" fmla="*/ 21 h 34"/>
                <a:gd name="T42" fmla="*/ 48 w 85"/>
                <a:gd name="T43" fmla="*/ 23 h 34"/>
                <a:gd name="T44" fmla="*/ 43 w 85"/>
                <a:gd name="T45" fmla="*/ 34 h 34"/>
                <a:gd name="T46" fmla="*/ 39 w 85"/>
                <a:gd name="T47" fmla="*/ 30 h 34"/>
                <a:gd name="T48" fmla="*/ 39 w 85"/>
                <a:gd name="T49" fmla="*/ 27 h 34"/>
                <a:gd name="T50" fmla="*/ 39 w 85"/>
                <a:gd name="T51" fmla="*/ 23 h 34"/>
                <a:gd name="T52" fmla="*/ 39 w 85"/>
                <a:gd name="T53" fmla="*/ 27 h 34"/>
                <a:gd name="T54" fmla="*/ 29 w 85"/>
                <a:gd name="T55" fmla="*/ 23 h 34"/>
                <a:gd name="T56" fmla="*/ 23 w 85"/>
                <a:gd name="T57" fmla="*/ 25 h 34"/>
                <a:gd name="T58" fmla="*/ 14 w 85"/>
                <a:gd name="T59" fmla="*/ 23 h 34"/>
                <a:gd name="T60" fmla="*/ 8 w 85"/>
                <a:gd name="T61" fmla="*/ 27 h 34"/>
                <a:gd name="T62" fmla="*/ 0 w 85"/>
                <a:gd name="T63" fmla="*/ 23 h 34"/>
                <a:gd name="T64" fmla="*/ 2 w 85"/>
                <a:gd name="T65" fmla="*/ 17 h 34"/>
                <a:gd name="T66" fmla="*/ 14 w 85"/>
                <a:gd name="T67" fmla="*/ 21 h 34"/>
                <a:gd name="T68" fmla="*/ 25 w 85"/>
                <a:gd name="T69" fmla="*/ 21 h 34"/>
                <a:gd name="T70" fmla="*/ 29 w 85"/>
                <a:gd name="T71" fmla="*/ 17 h 34"/>
                <a:gd name="T72" fmla="*/ 23 w 85"/>
                <a:gd name="T73" fmla="*/ 13 h 34"/>
                <a:gd name="T74" fmla="*/ 23 w 85"/>
                <a:gd name="T75" fmla="*/ 9 h 34"/>
                <a:gd name="T76" fmla="*/ 23 w 85"/>
                <a:gd name="T77" fmla="*/ 5 h 34"/>
                <a:gd name="T78" fmla="*/ 14 w 85"/>
                <a:gd name="T79" fmla="*/ 4 h 34"/>
                <a:gd name="T80" fmla="*/ 18 w 85"/>
                <a:gd name="T81"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85" h="34">
                  <a:moveTo>
                    <a:pt x="18" y="0"/>
                  </a:moveTo>
                  <a:lnTo>
                    <a:pt x="27" y="0"/>
                  </a:lnTo>
                  <a:lnTo>
                    <a:pt x="39" y="2"/>
                  </a:lnTo>
                  <a:lnTo>
                    <a:pt x="41" y="11"/>
                  </a:lnTo>
                  <a:lnTo>
                    <a:pt x="39" y="2"/>
                  </a:lnTo>
                  <a:lnTo>
                    <a:pt x="41" y="0"/>
                  </a:lnTo>
                  <a:lnTo>
                    <a:pt x="50" y="0"/>
                  </a:lnTo>
                  <a:lnTo>
                    <a:pt x="58" y="4"/>
                  </a:lnTo>
                  <a:lnTo>
                    <a:pt x="64" y="4"/>
                  </a:lnTo>
                  <a:lnTo>
                    <a:pt x="66" y="9"/>
                  </a:lnTo>
                  <a:lnTo>
                    <a:pt x="73" y="9"/>
                  </a:lnTo>
                  <a:lnTo>
                    <a:pt x="71" y="13"/>
                  </a:lnTo>
                  <a:lnTo>
                    <a:pt x="79" y="13"/>
                  </a:lnTo>
                  <a:lnTo>
                    <a:pt x="85" y="19"/>
                  </a:lnTo>
                  <a:lnTo>
                    <a:pt x="81" y="23"/>
                  </a:lnTo>
                  <a:lnTo>
                    <a:pt x="73" y="21"/>
                  </a:lnTo>
                  <a:lnTo>
                    <a:pt x="67" y="23"/>
                  </a:lnTo>
                  <a:lnTo>
                    <a:pt x="64" y="21"/>
                  </a:lnTo>
                  <a:lnTo>
                    <a:pt x="60" y="23"/>
                  </a:lnTo>
                  <a:lnTo>
                    <a:pt x="54" y="25"/>
                  </a:lnTo>
                  <a:lnTo>
                    <a:pt x="52" y="21"/>
                  </a:lnTo>
                  <a:lnTo>
                    <a:pt x="48" y="23"/>
                  </a:lnTo>
                  <a:lnTo>
                    <a:pt x="43" y="34"/>
                  </a:lnTo>
                  <a:lnTo>
                    <a:pt x="39" y="30"/>
                  </a:lnTo>
                  <a:lnTo>
                    <a:pt x="39" y="27"/>
                  </a:lnTo>
                  <a:lnTo>
                    <a:pt x="39" y="23"/>
                  </a:lnTo>
                  <a:lnTo>
                    <a:pt x="39" y="27"/>
                  </a:lnTo>
                  <a:lnTo>
                    <a:pt x="29" y="23"/>
                  </a:lnTo>
                  <a:lnTo>
                    <a:pt x="23" y="25"/>
                  </a:lnTo>
                  <a:lnTo>
                    <a:pt x="14" y="23"/>
                  </a:lnTo>
                  <a:lnTo>
                    <a:pt x="8" y="27"/>
                  </a:lnTo>
                  <a:lnTo>
                    <a:pt x="0" y="23"/>
                  </a:lnTo>
                  <a:lnTo>
                    <a:pt x="2" y="17"/>
                  </a:lnTo>
                  <a:lnTo>
                    <a:pt x="14" y="21"/>
                  </a:lnTo>
                  <a:lnTo>
                    <a:pt x="25" y="21"/>
                  </a:lnTo>
                  <a:lnTo>
                    <a:pt x="29" y="17"/>
                  </a:lnTo>
                  <a:lnTo>
                    <a:pt x="23" y="13"/>
                  </a:lnTo>
                  <a:lnTo>
                    <a:pt x="23" y="9"/>
                  </a:lnTo>
                  <a:lnTo>
                    <a:pt x="23" y="5"/>
                  </a:lnTo>
                  <a:lnTo>
                    <a:pt x="14" y="4"/>
                  </a:lnTo>
                  <a:lnTo>
                    <a:pt x="18" y="0"/>
                  </a:lnTo>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51" name="Freeform 99">
              <a:extLst>
                <a:ext uri="{FF2B5EF4-FFF2-40B4-BE49-F238E27FC236}">
                  <a16:creationId xmlns:a16="http://schemas.microsoft.com/office/drawing/2014/main" id="{AE90907B-33A9-4032-8DAC-57D686BF224B}"/>
                </a:ext>
              </a:extLst>
            </p:cNvPr>
            <p:cNvSpPr>
              <a:spLocks/>
            </p:cNvSpPr>
            <p:nvPr/>
          </p:nvSpPr>
          <p:spPr bwMode="auto">
            <a:xfrm>
              <a:off x="6769100" y="4050560"/>
              <a:ext cx="55563" cy="42882"/>
            </a:xfrm>
            <a:custGeom>
              <a:avLst/>
              <a:gdLst>
                <a:gd name="T0" fmla="*/ 23 w 35"/>
                <a:gd name="T1" fmla="*/ 0 h 27"/>
                <a:gd name="T2" fmla="*/ 31 w 35"/>
                <a:gd name="T3" fmla="*/ 0 h 27"/>
                <a:gd name="T4" fmla="*/ 35 w 35"/>
                <a:gd name="T5" fmla="*/ 6 h 27"/>
                <a:gd name="T6" fmla="*/ 27 w 35"/>
                <a:gd name="T7" fmla="*/ 13 h 27"/>
                <a:gd name="T8" fmla="*/ 25 w 35"/>
                <a:gd name="T9" fmla="*/ 21 h 27"/>
                <a:gd name="T10" fmla="*/ 14 w 35"/>
                <a:gd name="T11" fmla="*/ 27 h 27"/>
                <a:gd name="T12" fmla="*/ 0 w 35"/>
                <a:gd name="T13" fmla="*/ 25 h 27"/>
                <a:gd name="T14" fmla="*/ 0 w 35"/>
                <a:gd name="T15" fmla="*/ 11 h 27"/>
                <a:gd name="T16" fmla="*/ 8 w 35"/>
                <a:gd name="T17" fmla="*/ 4 h 27"/>
                <a:gd name="T18" fmla="*/ 23 w 35"/>
                <a:gd name="T19" fmla="*/ 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5" h="27">
                  <a:moveTo>
                    <a:pt x="23" y="0"/>
                  </a:moveTo>
                  <a:lnTo>
                    <a:pt x="31" y="0"/>
                  </a:lnTo>
                  <a:lnTo>
                    <a:pt x="35" y="6"/>
                  </a:lnTo>
                  <a:lnTo>
                    <a:pt x="27" y="13"/>
                  </a:lnTo>
                  <a:lnTo>
                    <a:pt x="25" y="21"/>
                  </a:lnTo>
                  <a:lnTo>
                    <a:pt x="14" y="27"/>
                  </a:lnTo>
                  <a:lnTo>
                    <a:pt x="0" y="25"/>
                  </a:lnTo>
                  <a:lnTo>
                    <a:pt x="0" y="11"/>
                  </a:lnTo>
                  <a:lnTo>
                    <a:pt x="8" y="4"/>
                  </a:lnTo>
                  <a:lnTo>
                    <a:pt x="23" y="0"/>
                  </a:lnTo>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52" name="Freeform 101">
              <a:extLst>
                <a:ext uri="{FF2B5EF4-FFF2-40B4-BE49-F238E27FC236}">
                  <a16:creationId xmlns:a16="http://schemas.microsoft.com/office/drawing/2014/main" id="{FBDAC725-79E4-4424-BEA3-A05B4B093458}"/>
                </a:ext>
              </a:extLst>
            </p:cNvPr>
            <p:cNvSpPr>
              <a:spLocks/>
            </p:cNvSpPr>
            <p:nvPr/>
          </p:nvSpPr>
          <p:spPr bwMode="auto">
            <a:xfrm>
              <a:off x="917577" y="4050560"/>
              <a:ext cx="28575" cy="27000"/>
            </a:xfrm>
            <a:custGeom>
              <a:avLst/>
              <a:gdLst>
                <a:gd name="T0" fmla="*/ 2 w 18"/>
                <a:gd name="T1" fmla="*/ 0 h 17"/>
                <a:gd name="T2" fmla="*/ 4 w 18"/>
                <a:gd name="T3" fmla="*/ 0 h 17"/>
                <a:gd name="T4" fmla="*/ 10 w 18"/>
                <a:gd name="T5" fmla="*/ 0 h 17"/>
                <a:gd name="T6" fmla="*/ 12 w 18"/>
                <a:gd name="T7" fmla="*/ 2 h 17"/>
                <a:gd name="T8" fmla="*/ 14 w 18"/>
                <a:gd name="T9" fmla="*/ 4 h 17"/>
                <a:gd name="T10" fmla="*/ 18 w 18"/>
                <a:gd name="T11" fmla="*/ 9 h 17"/>
                <a:gd name="T12" fmla="*/ 18 w 18"/>
                <a:gd name="T13" fmla="*/ 11 h 17"/>
                <a:gd name="T14" fmla="*/ 12 w 18"/>
                <a:gd name="T15" fmla="*/ 13 h 17"/>
                <a:gd name="T16" fmla="*/ 8 w 18"/>
                <a:gd name="T17" fmla="*/ 17 h 17"/>
                <a:gd name="T18" fmla="*/ 6 w 18"/>
                <a:gd name="T19" fmla="*/ 17 h 17"/>
                <a:gd name="T20" fmla="*/ 2 w 18"/>
                <a:gd name="T21" fmla="*/ 17 h 17"/>
                <a:gd name="T22" fmla="*/ 2 w 18"/>
                <a:gd name="T23" fmla="*/ 13 h 17"/>
                <a:gd name="T24" fmla="*/ 0 w 18"/>
                <a:gd name="T25" fmla="*/ 6 h 17"/>
                <a:gd name="T26" fmla="*/ 0 w 18"/>
                <a:gd name="T27" fmla="*/ 4 h 17"/>
                <a:gd name="T28" fmla="*/ 4 w 18"/>
                <a:gd name="T29" fmla="*/ 2 h 17"/>
                <a:gd name="T30" fmla="*/ 2 w 18"/>
                <a:gd name="T31"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8" h="17">
                  <a:moveTo>
                    <a:pt x="2" y="0"/>
                  </a:moveTo>
                  <a:lnTo>
                    <a:pt x="4" y="0"/>
                  </a:lnTo>
                  <a:lnTo>
                    <a:pt x="10" y="0"/>
                  </a:lnTo>
                  <a:lnTo>
                    <a:pt x="12" y="2"/>
                  </a:lnTo>
                  <a:lnTo>
                    <a:pt x="14" y="4"/>
                  </a:lnTo>
                  <a:lnTo>
                    <a:pt x="18" y="9"/>
                  </a:lnTo>
                  <a:lnTo>
                    <a:pt x="18" y="11"/>
                  </a:lnTo>
                  <a:lnTo>
                    <a:pt x="12" y="13"/>
                  </a:lnTo>
                  <a:lnTo>
                    <a:pt x="8" y="17"/>
                  </a:lnTo>
                  <a:lnTo>
                    <a:pt x="6" y="17"/>
                  </a:lnTo>
                  <a:lnTo>
                    <a:pt x="2" y="17"/>
                  </a:lnTo>
                  <a:lnTo>
                    <a:pt x="2" y="13"/>
                  </a:lnTo>
                  <a:lnTo>
                    <a:pt x="0" y="6"/>
                  </a:lnTo>
                  <a:lnTo>
                    <a:pt x="0" y="4"/>
                  </a:lnTo>
                  <a:lnTo>
                    <a:pt x="4" y="2"/>
                  </a:lnTo>
                  <a:lnTo>
                    <a:pt x="2" y="0"/>
                  </a:lnTo>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53" name="Freeform 103">
              <a:extLst>
                <a:ext uri="{FF2B5EF4-FFF2-40B4-BE49-F238E27FC236}">
                  <a16:creationId xmlns:a16="http://schemas.microsoft.com/office/drawing/2014/main" id="{4E1FDD66-48F6-43CE-8FB1-29AE920F26BD}"/>
                </a:ext>
              </a:extLst>
            </p:cNvPr>
            <p:cNvSpPr>
              <a:spLocks/>
            </p:cNvSpPr>
            <p:nvPr/>
          </p:nvSpPr>
          <p:spPr bwMode="auto">
            <a:xfrm>
              <a:off x="903289" y="4031501"/>
              <a:ext cx="14288" cy="9529"/>
            </a:xfrm>
            <a:custGeom>
              <a:avLst/>
              <a:gdLst>
                <a:gd name="T0" fmla="*/ 2 w 9"/>
                <a:gd name="T1" fmla="*/ 0 h 6"/>
                <a:gd name="T2" fmla="*/ 6 w 9"/>
                <a:gd name="T3" fmla="*/ 2 h 6"/>
                <a:gd name="T4" fmla="*/ 9 w 9"/>
                <a:gd name="T5" fmla="*/ 2 h 6"/>
                <a:gd name="T6" fmla="*/ 9 w 9"/>
                <a:gd name="T7" fmla="*/ 4 h 6"/>
                <a:gd name="T8" fmla="*/ 4 w 9"/>
                <a:gd name="T9" fmla="*/ 6 h 6"/>
                <a:gd name="T10" fmla="*/ 2 w 9"/>
                <a:gd name="T11" fmla="*/ 2 h 6"/>
                <a:gd name="T12" fmla="*/ 0 w 9"/>
                <a:gd name="T13" fmla="*/ 2 h 6"/>
                <a:gd name="T14" fmla="*/ 2 w 9"/>
                <a:gd name="T15" fmla="*/ 0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 h="6">
                  <a:moveTo>
                    <a:pt x="2" y="0"/>
                  </a:moveTo>
                  <a:lnTo>
                    <a:pt x="6" y="2"/>
                  </a:lnTo>
                  <a:lnTo>
                    <a:pt x="9" y="2"/>
                  </a:lnTo>
                  <a:lnTo>
                    <a:pt x="9" y="4"/>
                  </a:lnTo>
                  <a:lnTo>
                    <a:pt x="4" y="6"/>
                  </a:lnTo>
                  <a:lnTo>
                    <a:pt x="2" y="2"/>
                  </a:lnTo>
                  <a:lnTo>
                    <a:pt x="0" y="2"/>
                  </a:lnTo>
                  <a:lnTo>
                    <a:pt x="2" y="0"/>
                  </a:lnTo>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54" name="Freeform 105">
              <a:extLst>
                <a:ext uri="{FF2B5EF4-FFF2-40B4-BE49-F238E27FC236}">
                  <a16:creationId xmlns:a16="http://schemas.microsoft.com/office/drawing/2014/main" id="{EA8ECA2B-A277-4C1A-9ED0-9967A366BC17}"/>
                </a:ext>
              </a:extLst>
            </p:cNvPr>
            <p:cNvSpPr>
              <a:spLocks/>
            </p:cNvSpPr>
            <p:nvPr/>
          </p:nvSpPr>
          <p:spPr bwMode="auto">
            <a:xfrm>
              <a:off x="890589" y="4026737"/>
              <a:ext cx="12700" cy="4765"/>
            </a:xfrm>
            <a:custGeom>
              <a:avLst/>
              <a:gdLst>
                <a:gd name="T0" fmla="*/ 0 w 8"/>
                <a:gd name="T1" fmla="*/ 0 h 3"/>
                <a:gd name="T2" fmla="*/ 8 w 8"/>
                <a:gd name="T3" fmla="*/ 1 h 3"/>
                <a:gd name="T4" fmla="*/ 8 w 8"/>
                <a:gd name="T5" fmla="*/ 3 h 3"/>
                <a:gd name="T6" fmla="*/ 0 w 8"/>
                <a:gd name="T7" fmla="*/ 1 h 3"/>
                <a:gd name="T8" fmla="*/ 0 w 8"/>
                <a:gd name="T9" fmla="*/ 0 h 3"/>
              </a:gdLst>
              <a:ahLst/>
              <a:cxnLst>
                <a:cxn ang="0">
                  <a:pos x="T0" y="T1"/>
                </a:cxn>
                <a:cxn ang="0">
                  <a:pos x="T2" y="T3"/>
                </a:cxn>
                <a:cxn ang="0">
                  <a:pos x="T4" y="T5"/>
                </a:cxn>
                <a:cxn ang="0">
                  <a:pos x="T6" y="T7"/>
                </a:cxn>
                <a:cxn ang="0">
                  <a:pos x="T8" y="T9"/>
                </a:cxn>
              </a:cxnLst>
              <a:rect l="0" t="0" r="r" b="b"/>
              <a:pathLst>
                <a:path w="8" h="3">
                  <a:moveTo>
                    <a:pt x="0" y="0"/>
                  </a:moveTo>
                  <a:lnTo>
                    <a:pt x="8" y="1"/>
                  </a:lnTo>
                  <a:lnTo>
                    <a:pt x="8" y="3"/>
                  </a:lnTo>
                  <a:lnTo>
                    <a:pt x="0" y="1"/>
                  </a:lnTo>
                  <a:lnTo>
                    <a:pt x="0" y="0"/>
                  </a:lnTo>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55" name="Freeform 107">
              <a:extLst>
                <a:ext uri="{FF2B5EF4-FFF2-40B4-BE49-F238E27FC236}">
                  <a16:creationId xmlns:a16="http://schemas.microsoft.com/office/drawing/2014/main" id="{13DA351B-BED9-48FE-AD3D-0DC682273886}"/>
                </a:ext>
              </a:extLst>
            </p:cNvPr>
            <p:cNvSpPr>
              <a:spLocks/>
            </p:cNvSpPr>
            <p:nvPr/>
          </p:nvSpPr>
          <p:spPr bwMode="auto">
            <a:xfrm>
              <a:off x="869952" y="4014032"/>
              <a:ext cx="14288" cy="12706"/>
            </a:xfrm>
            <a:custGeom>
              <a:avLst/>
              <a:gdLst>
                <a:gd name="T0" fmla="*/ 2 w 9"/>
                <a:gd name="T1" fmla="*/ 0 h 8"/>
                <a:gd name="T2" fmla="*/ 3 w 9"/>
                <a:gd name="T3" fmla="*/ 0 h 8"/>
                <a:gd name="T4" fmla="*/ 9 w 9"/>
                <a:gd name="T5" fmla="*/ 6 h 8"/>
                <a:gd name="T6" fmla="*/ 7 w 9"/>
                <a:gd name="T7" fmla="*/ 8 h 8"/>
                <a:gd name="T8" fmla="*/ 5 w 9"/>
                <a:gd name="T9" fmla="*/ 8 h 8"/>
                <a:gd name="T10" fmla="*/ 2 w 9"/>
                <a:gd name="T11" fmla="*/ 6 h 8"/>
                <a:gd name="T12" fmla="*/ 0 w 9"/>
                <a:gd name="T13" fmla="*/ 2 h 8"/>
                <a:gd name="T14" fmla="*/ 0 w 9"/>
                <a:gd name="T15" fmla="*/ 2 h 8"/>
                <a:gd name="T16" fmla="*/ 2 w 9"/>
                <a:gd name="T17"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8">
                  <a:moveTo>
                    <a:pt x="2" y="0"/>
                  </a:moveTo>
                  <a:lnTo>
                    <a:pt x="3" y="0"/>
                  </a:lnTo>
                  <a:lnTo>
                    <a:pt x="9" y="6"/>
                  </a:lnTo>
                  <a:lnTo>
                    <a:pt x="7" y="8"/>
                  </a:lnTo>
                  <a:lnTo>
                    <a:pt x="5" y="8"/>
                  </a:lnTo>
                  <a:lnTo>
                    <a:pt x="2" y="6"/>
                  </a:lnTo>
                  <a:lnTo>
                    <a:pt x="0" y="2"/>
                  </a:lnTo>
                  <a:lnTo>
                    <a:pt x="0" y="2"/>
                  </a:lnTo>
                  <a:lnTo>
                    <a:pt x="2" y="0"/>
                  </a:lnTo>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56" name="Freeform 109">
              <a:extLst>
                <a:ext uri="{FF2B5EF4-FFF2-40B4-BE49-F238E27FC236}">
                  <a16:creationId xmlns:a16="http://schemas.microsoft.com/office/drawing/2014/main" id="{8D932769-77AE-4FCA-87EF-C66D2D5AC49D}"/>
                </a:ext>
              </a:extLst>
            </p:cNvPr>
            <p:cNvSpPr>
              <a:spLocks/>
            </p:cNvSpPr>
            <p:nvPr/>
          </p:nvSpPr>
          <p:spPr bwMode="auto">
            <a:xfrm>
              <a:off x="836614" y="4001326"/>
              <a:ext cx="7938" cy="9529"/>
            </a:xfrm>
            <a:custGeom>
              <a:avLst/>
              <a:gdLst>
                <a:gd name="T0" fmla="*/ 1 w 5"/>
                <a:gd name="T1" fmla="*/ 0 h 6"/>
                <a:gd name="T2" fmla="*/ 5 w 5"/>
                <a:gd name="T3" fmla="*/ 2 h 6"/>
                <a:gd name="T4" fmla="*/ 5 w 5"/>
                <a:gd name="T5" fmla="*/ 6 h 6"/>
                <a:gd name="T6" fmla="*/ 3 w 5"/>
                <a:gd name="T7" fmla="*/ 6 h 6"/>
                <a:gd name="T8" fmla="*/ 0 w 5"/>
                <a:gd name="T9" fmla="*/ 4 h 6"/>
                <a:gd name="T10" fmla="*/ 0 w 5"/>
                <a:gd name="T11" fmla="*/ 2 h 6"/>
                <a:gd name="T12" fmla="*/ 1 w 5"/>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5" h="6">
                  <a:moveTo>
                    <a:pt x="1" y="0"/>
                  </a:moveTo>
                  <a:lnTo>
                    <a:pt x="5" y="2"/>
                  </a:lnTo>
                  <a:lnTo>
                    <a:pt x="5" y="6"/>
                  </a:lnTo>
                  <a:lnTo>
                    <a:pt x="3" y="6"/>
                  </a:lnTo>
                  <a:lnTo>
                    <a:pt x="0" y="4"/>
                  </a:lnTo>
                  <a:lnTo>
                    <a:pt x="0" y="2"/>
                  </a:lnTo>
                  <a:lnTo>
                    <a:pt x="1" y="0"/>
                  </a:lnTo>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57" name="Freeform 111">
              <a:extLst>
                <a:ext uri="{FF2B5EF4-FFF2-40B4-BE49-F238E27FC236}">
                  <a16:creationId xmlns:a16="http://schemas.microsoft.com/office/drawing/2014/main" id="{080846FC-9D3B-4936-B032-4DC2C6CE7473}"/>
                </a:ext>
              </a:extLst>
            </p:cNvPr>
            <p:cNvSpPr>
              <a:spLocks/>
            </p:cNvSpPr>
            <p:nvPr/>
          </p:nvSpPr>
          <p:spPr bwMode="auto">
            <a:xfrm>
              <a:off x="2489202" y="3980679"/>
              <a:ext cx="238125" cy="76234"/>
            </a:xfrm>
            <a:custGeom>
              <a:avLst/>
              <a:gdLst>
                <a:gd name="T0" fmla="*/ 37 w 150"/>
                <a:gd name="T1" fmla="*/ 0 h 48"/>
                <a:gd name="T2" fmla="*/ 48 w 150"/>
                <a:gd name="T3" fmla="*/ 2 h 48"/>
                <a:gd name="T4" fmla="*/ 60 w 150"/>
                <a:gd name="T5" fmla="*/ 2 h 48"/>
                <a:gd name="T6" fmla="*/ 73 w 150"/>
                <a:gd name="T7" fmla="*/ 6 h 48"/>
                <a:gd name="T8" fmla="*/ 79 w 150"/>
                <a:gd name="T9" fmla="*/ 11 h 48"/>
                <a:gd name="T10" fmla="*/ 93 w 150"/>
                <a:gd name="T11" fmla="*/ 9 h 48"/>
                <a:gd name="T12" fmla="*/ 96 w 150"/>
                <a:gd name="T13" fmla="*/ 13 h 48"/>
                <a:gd name="T14" fmla="*/ 110 w 150"/>
                <a:gd name="T15" fmla="*/ 21 h 48"/>
                <a:gd name="T16" fmla="*/ 118 w 150"/>
                <a:gd name="T17" fmla="*/ 29 h 48"/>
                <a:gd name="T18" fmla="*/ 121 w 150"/>
                <a:gd name="T19" fmla="*/ 29 h 48"/>
                <a:gd name="T20" fmla="*/ 131 w 150"/>
                <a:gd name="T21" fmla="*/ 32 h 48"/>
                <a:gd name="T22" fmla="*/ 129 w 150"/>
                <a:gd name="T23" fmla="*/ 34 h 48"/>
                <a:gd name="T24" fmla="*/ 139 w 150"/>
                <a:gd name="T25" fmla="*/ 36 h 48"/>
                <a:gd name="T26" fmla="*/ 150 w 150"/>
                <a:gd name="T27" fmla="*/ 42 h 48"/>
                <a:gd name="T28" fmla="*/ 148 w 150"/>
                <a:gd name="T29" fmla="*/ 44 h 48"/>
                <a:gd name="T30" fmla="*/ 139 w 150"/>
                <a:gd name="T31" fmla="*/ 48 h 48"/>
                <a:gd name="T32" fmla="*/ 129 w 150"/>
                <a:gd name="T33" fmla="*/ 48 h 48"/>
                <a:gd name="T34" fmla="*/ 121 w 150"/>
                <a:gd name="T35" fmla="*/ 46 h 48"/>
                <a:gd name="T36" fmla="*/ 100 w 150"/>
                <a:gd name="T37" fmla="*/ 48 h 48"/>
                <a:gd name="T38" fmla="*/ 110 w 150"/>
                <a:gd name="T39" fmla="*/ 40 h 48"/>
                <a:gd name="T40" fmla="*/ 104 w 150"/>
                <a:gd name="T41" fmla="*/ 36 h 48"/>
                <a:gd name="T42" fmla="*/ 94 w 150"/>
                <a:gd name="T43" fmla="*/ 34 h 48"/>
                <a:gd name="T44" fmla="*/ 91 w 150"/>
                <a:gd name="T45" fmla="*/ 32 h 48"/>
                <a:gd name="T46" fmla="*/ 87 w 150"/>
                <a:gd name="T47" fmla="*/ 23 h 48"/>
                <a:gd name="T48" fmla="*/ 79 w 150"/>
                <a:gd name="T49" fmla="*/ 23 h 48"/>
                <a:gd name="T50" fmla="*/ 66 w 150"/>
                <a:gd name="T51" fmla="*/ 21 h 48"/>
                <a:gd name="T52" fmla="*/ 62 w 150"/>
                <a:gd name="T53" fmla="*/ 17 h 48"/>
                <a:gd name="T54" fmla="*/ 45 w 150"/>
                <a:gd name="T55" fmla="*/ 15 h 48"/>
                <a:gd name="T56" fmla="*/ 39 w 150"/>
                <a:gd name="T57" fmla="*/ 11 h 48"/>
                <a:gd name="T58" fmla="*/ 45 w 150"/>
                <a:gd name="T59" fmla="*/ 7 h 48"/>
                <a:gd name="T60" fmla="*/ 31 w 150"/>
                <a:gd name="T61" fmla="*/ 6 h 48"/>
                <a:gd name="T62" fmla="*/ 20 w 150"/>
                <a:gd name="T63" fmla="*/ 15 h 48"/>
                <a:gd name="T64" fmla="*/ 14 w 150"/>
                <a:gd name="T65" fmla="*/ 15 h 48"/>
                <a:gd name="T66" fmla="*/ 12 w 150"/>
                <a:gd name="T67" fmla="*/ 19 h 48"/>
                <a:gd name="T68" fmla="*/ 6 w 150"/>
                <a:gd name="T69" fmla="*/ 21 h 48"/>
                <a:gd name="T70" fmla="*/ 0 w 150"/>
                <a:gd name="T71" fmla="*/ 19 h 48"/>
                <a:gd name="T72" fmla="*/ 8 w 150"/>
                <a:gd name="T73" fmla="*/ 15 h 48"/>
                <a:gd name="T74" fmla="*/ 10 w 150"/>
                <a:gd name="T75" fmla="*/ 9 h 48"/>
                <a:gd name="T76" fmla="*/ 18 w 150"/>
                <a:gd name="T77" fmla="*/ 6 h 48"/>
                <a:gd name="T78" fmla="*/ 23 w 150"/>
                <a:gd name="T79" fmla="*/ 4 h 48"/>
                <a:gd name="T80" fmla="*/ 33 w 150"/>
                <a:gd name="T81" fmla="*/ 2 h 48"/>
                <a:gd name="T82" fmla="*/ 37 w 150"/>
                <a:gd name="T83"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50" h="48">
                  <a:moveTo>
                    <a:pt x="37" y="0"/>
                  </a:moveTo>
                  <a:lnTo>
                    <a:pt x="48" y="2"/>
                  </a:lnTo>
                  <a:lnTo>
                    <a:pt x="60" y="2"/>
                  </a:lnTo>
                  <a:lnTo>
                    <a:pt x="73" y="6"/>
                  </a:lnTo>
                  <a:lnTo>
                    <a:pt x="79" y="11"/>
                  </a:lnTo>
                  <a:lnTo>
                    <a:pt x="93" y="9"/>
                  </a:lnTo>
                  <a:lnTo>
                    <a:pt x="96" y="13"/>
                  </a:lnTo>
                  <a:lnTo>
                    <a:pt x="110" y="21"/>
                  </a:lnTo>
                  <a:lnTo>
                    <a:pt x="118" y="29"/>
                  </a:lnTo>
                  <a:lnTo>
                    <a:pt x="121" y="29"/>
                  </a:lnTo>
                  <a:lnTo>
                    <a:pt x="131" y="32"/>
                  </a:lnTo>
                  <a:lnTo>
                    <a:pt x="129" y="34"/>
                  </a:lnTo>
                  <a:lnTo>
                    <a:pt x="139" y="36"/>
                  </a:lnTo>
                  <a:lnTo>
                    <a:pt x="150" y="42"/>
                  </a:lnTo>
                  <a:lnTo>
                    <a:pt x="148" y="44"/>
                  </a:lnTo>
                  <a:lnTo>
                    <a:pt x="139" y="48"/>
                  </a:lnTo>
                  <a:lnTo>
                    <a:pt x="129" y="48"/>
                  </a:lnTo>
                  <a:lnTo>
                    <a:pt x="121" y="46"/>
                  </a:lnTo>
                  <a:lnTo>
                    <a:pt x="100" y="48"/>
                  </a:lnTo>
                  <a:lnTo>
                    <a:pt x="110" y="40"/>
                  </a:lnTo>
                  <a:lnTo>
                    <a:pt x="104" y="36"/>
                  </a:lnTo>
                  <a:lnTo>
                    <a:pt x="94" y="34"/>
                  </a:lnTo>
                  <a:lnTo>
                    <a:pt x="91" y="32"/>
                  </a:lnTo>
                  <a:lnTo>
                    <a:pt x="87" y="23"/>
                  </a:lnTo>
                  <a:lnTo>
                    <a:pt x="79" y="23"/>
                  </a:lnTo>
                  <a:lnTo>
                    <a:pt x="66" y="21"/>
                  </a:lnTo>
                  <a:lnTo>
                    <a:pt x="62" y="17"/>
                  </a:lnTo>
                  <a:lnTo>
                    <a:pt x="45" y="15"/>
                  </a:lnTo>
                  <a:lnTo>
                    <a:pt x="39" y="11"/>
                  </a:lnTo>
                  <a:lnTo>
                    <a:pt x="45" y="7"/>
                  </a:lnTo>
                  <a:lnTo>
                    <a:pt x="31" y="6"/>
                  </a:lnTo>
                  <a:lnTo>
                    <a:pt x="20" y="15"/>
                  </a:lnTo>
                  <a:lnTo>
                    <a:pt x="14" y="15"/>
                  </a:lnTo>
                  <a:lnTo>
                    <a:pt x="12" y="19"/>
                  </a:lnTo>
                  <a:lnTo>
                    <a:pt x="6" y="21"/>
                  </a:lnTo>
                  <a:lnTo>
                    <a:pt x="0" y="19"/>
                  </a:lnTo>
                  <a:lnTo>
                    <a:pt x="8" y="15"/>
                  </a:lnTo>
                  <a:lnTo>
                    <a:pt x="10" y="9"/>
                  </a:lnTo>
                  <a:lnTo>
                    <a:pt x="18" y="6"/>
                  </a:lnTo>
                  <a:lnTo>
                    <a:pt x="23" y="4"/>
                  </a:lnTo>
                  <a:lnTo>
                    <a:pt x="33" y="2"/>
                  </a:lnTo>
                  <a:lnTo>
                    <a:pt x="37" y="0"/>
                  </a:lnTo>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58" name="Freeform 113">
              <a:extLst>
                <a:ext uri="{FF2B5EF4-FFF2-40B4-BE49-F238E27FC236}">
                  <a16:creationId xmlns:a16="http://schemas.microsoft.com/office/drawing/2014/main" id="{1E185463-0F4E-4E10-A2DC-0B9B0F15D28E}"/>
                </a:ext>
              </a:extLst>
            </p:cNvPr>
            <p:cNvSpPr>
              <a:spLocks/>
            </p:cNvSpPr>
            <p:nvPr/>
          </p:nvSpPr>
          <p:spPr bwMode="auto">
            <a:xfrm>
              <a:off x="2633663" y="3931444"/>
              <a:ext cx="17463" cy="36530"/>
            </a:xfrm>
            <a:custGeom>
              <a:avLst/>
              <a:gdLst>
                <a:gd name="T0" fmla="*/ 3 w 11"/>
                <a:gd name="T1" fmla="*/ 0 h 23"/>
                <a:gd name="T2" fmla="*/ 7 w 11"/>
                <a:gd name="T3" fmla="*/ 2 h 23"/>
                <a:gd name="T4" fmla="*/ 11 w 11"/>
                <a:gd name="T5" fmla="*/ 13 h 23"/>
                <a:gd name="T6" fmla="*/ 11 w 11"/>
                <a:gd name="T7" fmla="*/ 23 h 23"/>
                <a:gd name="T8" fmla="*/ 7 w 11"/>
                <a:gd name="T9" fmla="*/ 23 h 23"/>
                <a:gd name="T10" fmla="*/ 3 w 11"/>
                <a:gd name="T11" fmla="*/ 13 h 23"/>
                <a:gd name="T12" fmla="*/ 0 w 11"/>
                <a:gd name="T13" fmla="*/ 12 h 23"/>
                <a:gd name="T14" fmla="*/ 3 w 11"/>
                <a:gd name="T15" fmla="*/ 0 h 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23">
                  <a:moveTo>
                    <a:pt x="3" y="0"/>
                  </a:moveTo>
                  <a:lnTo>
                    <a:pt x="7" y="2"/>
                  </a:lnTo>
                  <a:lnTo>
                    <a:pt x="11" y="13"/>
                  </a:lnTo>
                  <a:lnTo>
                    <a:pt x="11" y="23"/>
                  </a:lnTo>
                  <a:lnTo>
                    <a:pt x="7" y="23"/>
                  </a:lnTo>
                  <a:lnTo>
                    <a:pt x="3" y="13"/>
                  </a:lnTo>
                  <a:lnTo>
                    <a:pt x="0" y="12"/>
                  </a:lnTo>
                  <a:lnTo>
                    <a:pt x="3" y="0"/>
                  </a:lnTo>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59" name="Freeform 115">
              <a:extLst>
                <a:ext uri="{FF2B5EF4-FFF2-40B4-BE49-F238E27FC236}">
                  <a16:creationId xmlns:a16="http://schemas.microsoft.com/office/drawing/2014/main" id="{62C7EA61-3058-4F25-BC8B-8C21B67A39EF}"/>
                </a:ext>
              </a:extLst>
            </p:cNvPr>
            <p:cNvSpPr>
              <a:spLocks/>
            </p:cNvSpPr>
            <p:nvPr/>
          </p:nvSpPr>
          <p:spPr bwMode="auto">
            <a:xfrm>
              <a:off x="7023100" y="3928268"/>
              <a:ext cx="42863" cy="82587"/>
            </a:xfrm>
            <a:custGeom>
              <a:avLst/>
              <a:gdLst>
                <a:gd name="T0" fmla="*/ 21 w 27"/>
                <a:gd name="T1" fmla="*/ 0 h 52"/>
                <a:gd name="T2" fmla="*/ 27 w 27"/>
                <a:gd name="T3" fmla="*/ 6 h 52"/>
                <a:gd name="T4" fmla="*/ 25 w 27"/>
                <a:gd name="T5" fmla="*/ 14 h 52"/>
                <a:gd name="T6" fmla="*/ 15 w 27"/>
                <a:gd name="T7" fmla="*/ 39 h 52"/>
                <a:gd name="T8" fmla="*/ 9 w 27"/>
                <a:gd name="T9" fmla="*/ 52 h 52"/>
                <a:gd name="T10" fmla="*/ 2 w 27"/>
                <a:gd name="T11" fmla="*/ 39 h 52"/>
                <a:gd name="T12" fmla="*/ 0 w 27"/>
                <a:gd name="T13" fmla="*/ 29 h 52"/>
                <a:gd name="T14" fmla="*/ 9 w 27"/>
                <a:gd name="T15" fmla="*/ 14 h 52"/>
                <a:gd name="T16" fmla="*/ 21 w 27"/>
                <a:gd name="T17"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7" h="52">
                  <a:moveTo>
                    <a:pt x="21" y="0"/>
                  </a:moveTo>
                  <a:lnTo>
                    <a:pt x="27" y="6"/>
                  </a:lnTo>
                  <a:lnTo>
                    <a:pt x="25" y="14"/>
                  </a:lnTo>
                  <a:lnTo>
                    <a:pt x="15" y="39"/>
                  </a:lnTo>
                  <a:lnTo>
                    <a:pt x="9" y="52"/>
                  </a:lnTo>
                  <a:lnTo>
                    <a:pt x="2" y="39"/>
                  </a:lnTo>
                  <a:lnTo>
                    <a:pt x="0" y="29"/>
                  </a:lnTo>
                  <a:lnTo>
                    <a:pt x="9" y="14"/>
                  </a:lnTo>
                  <a:lnTo>
                    <a:pt x="21" y="0"/>
                  </a:lnTo>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0" name="Freeform 117">
              <a:extLst>
                <a:ext uri="{FF2B5EF4-FFF2-40B4-BE49-F238E27FC236}">
                  <a16:creationId xmlns:a16="http://schemas.microsoft.com/office/drawing/2014/main" id="{74062FA8-DA72-4752-8A8D-EF8DFCF0BE09}"/>
                </a:ext>
              </a:extLst>
            </p:cNvPr>
            <p:cNvSpPr>
              <a:spLocks/>
            </p:cNvSpPr>
            <p:nvPr/>
          </p:nvSpPr>
          <p:spPr bwMode="auto">
            <a:xfrm>
              <a:off x="5608638" y="3907621"/>
              <a:ext cx="9525" cy="14294"/>
            </a:xfrm>
            <a:custGeom>
              <a:avLst/>
              <a:gdLst>
                <a:gd name="T0" fmla="*/ 4 w 6"/>
                <a:gd name="T1" fmla="*/ 0 h 9"/>
                <a:gd name="T2" fmla="*/ 6 w 6"/>
                <a:gd name="T3" fmla="*/ 0 h 9"/>
                <a:gd name="T4" fmla="*/ 4 w 6"/>
                <a:gd name="T5" fmla="*/ 5 h 9"/>
                <a:gd name="T6" fmla="*/ 2 w 6"/>
                <a:gd name="T7" fmla="*/ 9 h 9"/>
                <a:gd name="T8" fmla="*/ 0 w 6"/>
                <a:gd name="T9" fmla="*/ 4 h 9"/>
                <a:gd name="T10" fmla="*/ 4 w 6"/>
                <a:gd name="T11" fmla="*/ 0 h 9"/>
              </a:gdLst>
              <a:ahLst/>
              <a:cxnLst>
                <a:cxn ang="0">
                  <a:pos x="T0" y="T1"/>
                </a:cxn>
                <a:cxn ang="0">
                  <a:pos x="T2" y="T3"/>
                </a:cxn>
                <a:cxn ang="0">
                  <a:pos x="T4" y="T5"/>
                </a:cxn>
                <a:cxn ang="0">
                  <a:pos x="T6" y="T7"/>
                </a:cxn>
                <a:cxn ang="0">
                  <a:pos x="T8" y="T9"/>
                </a:cxn>
                <a:cxn ang="0">
                  <a:pos x="T10" y="T11"/>
                </a:cxn>
              </a:cxnLst>
              <a:rect l="0" t="0" r="r" b="b"/>
              <a:pathLst>
                <a:path w="6" h="9">
                  <a:moveTo>
                    <a:pt x="4" y="0"/>
                  </a:moveTo>
                  <a:lnTo>
                    <a:pt x="6" y="0"/>
                  </a:lnTo>
                  <a:lnTo>
                    <a:pt x="4" y="5"/>
                  </a:lnTo>
                  <a:lnTo>
                    <a:pt x="2" y="9"/>
                  </a:lnTo>
                  <a:lnTo>
                    <a:pt x="0" y="4"/>
                  </a:lnTo>
                  <a:lnTo>
                    <a:pt x="4" y="0"/>
                  </a:lnTo>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1" name="Freeform 119">
              <a:extLst>
                <a:ext uri="{FF2B5EF4-FFF2-40B4-BE49-F238E27FC236}">
                  <a16:creationId xmlns:a16="http://schemas.microsoft.com/office/drawing/2014/main" id="{031D4A47-A1DB-460E-8271-17EBD81654B2}"/>
                </a:ext>
              </a:extLst>
            </p:cNvPr>
            <p:cNvSpPr>
              <a:spLocks/>
            </p:cNvSpPr>
            <p:nvPr/>
          </p:nvSpPr>
          <p:spPr bwMode="auto">
            <a:xfrm>
              <a:off x="2620963" y="3891738"/>
              <a:ext cx="23813" cy="12706"/>
            </a:xfrm>
            <a:custGeom>
              <a:avLst/>
              <a:gdLst>
                <a:gd name="T0" fmla="*/ 6 w 15"/>
                <a:gd name="T1" fmla="*/ 0 h 8"/>
                <a:gd name="T2" fmla="*/ 15 w 15"/>
                <a:gd name="T3" fmla="*/ 2 h 8"/>
                <a:gd name="T4" fmla="*/ 15 w 15"/>
                <a:gd name="T5" fmla="*/ 6 h 8"/>
                <a:gd name="T6" fmla="*/ 2 w 15"/>
                <a:gd name="T7" fmla="*/ 8 h 8"/>
                <a:gd name="T8" fmla="*/ 0 w 15"/>
                <a:gd name="T9" fmla="*/ 2 h 8"/>
                <a:gd name="T10" fmla="*/ 6 w 15"/>
                <a:gd name="T11" fmla="*/ 0 h 8"/>
              </a:gdLst>
              <a:ahLst/>
              <a:cxnLst>
                <a:cxn ang="0">
                  <a:pos x="T0" y="T1"/>
                </a:cxn>
                <a:cxn ang="0">
                  <a:pos x="T2" y="T3"/>
                </a:cxn>
                <a:cxn ang="0">
                  <a:pos x="T4" y="T5"/>
                </a:cxn>
                <a:cxn ang="0">
                  <a:pos x="T6" y="T7"/>
                </a:cxn>
                <a:cxn ang="0">
                  <a:pos x="T8" y="T9"/>
                </a:cxn>
                <a:cxn ang="0">
                  <a:pos x="T10" y="T11"/>
                </a:cxn>
              </a:cxnLst>
              <a:rect l="0" t="0" r="r" b="b"/>
              <a:pathLst>
                <a:path w="15" h="8">
                  <a:moveTo>
                    <a:pt x="6" y="0"/>
                  </a:moveTo>
                  <a:lnTo>
                    <a:pt x="15" y="2"/>
                  </a:lnTo>
                  <a:lnTo>
                    <a:pt x="15" y="6"/>
                  </a:lnTo>
                  <a:lnTo>
                    <a:pt x="2" y="8"/>
                  </a:lnTo>
                  <a:lnTo>
                    <a:pt x="0" y="2"/>
                  </a:lnTo>
                  <a:lnTo>
                    <a:pt x="6" y="0"/>
                  </a:lnTo>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2" name="Freeform 121">
              <a:extLst>
                <a:ext uri="{FF2B5EF4-FFF2-40B4-BE49-F238E27FC236}">
                  <a16:creationId xmlns:a16="http://schemas.microsoft.com/office/drawing/2014/main" id="{BA79A05C-1693-41E3-A7EC-9489039F3487}"/>
                </a:ext>
              </a:extLst>
            </p:cNvPr>
            <p:cNvSpPr>
              <a:spLocks/>
            </p:cNvSpPr>
            <p:nvPr/>
          </p:nvSpPr>
          <p:spPr bwMode="auto">
            <a:xfrm>
              <a:off x="2644776" y="3888562"/>
              <a:ext cx="22225" cy="27000"/>
            </a:xfrm>
            <a:custGeom>
              <a:avLst/>
              <a:gdLst>
                <a:gd name="T0" fmla="*/ 0 w 14"/>
                <a:gd name="T1" fmla="*/ 0 h 17"/>
                <a:gd name="T2" fmla="*/ 14 w 14"/>
                <a:gd name="T3" fmla="*/ 8 h 17"/>
                <a:gd name="T4" fmla="*/ 10 w 14"/>
                <a:gd name="T5" fmla="*/ 17 h 17"/>
                <a:gd name="T6" fmla="*/ 8 w 14"/>
                <a:gd name="T7" fmla="*/ 16 h 17"/>
                <a:gd name="T8" fmla="*/ 8 w 14"/>
                <a:gd name="T9" fmla="*/ 8 h 17"/>
                <a:gd name="T10" fmla="*/ 0 w 14"/>
                <a:gd name="T11" fmla="*/ 2 h 17"/>
                <a:gd name="T12" fmla="*/ 0 w 14"/>
                <a:gd name="T13" fmla="*/ 0 h 17"/>
              </a:gdLst>
              <a:ahLst/>
              <a:cxnLst>
                <a:cxn ang="0">
                  <a:pos x="T0" y="T1"/>
                </a:cxn>
                <a:cxn ang="0">
                  <a:pos x="T2" y="T3"/>
                </a:cxn>
                <a:cxn ang="0">
                  <a:pos x="T4" y="T5"/>
                </a:cxn>
                <a:cxn ang="0">
                  <a:pos x="T6" y="T7"/>
                </a:cxn>
                <a:cxn ang="0">
                  <a:pos x="T8" y="T9"/>
                </a:cxn>
                <a:cxn ang="0">
                  <a:pos x="T10" y="T11"/>
                </a:cxn>
                <a:cxn ang="0">
                  <a:pos x="T12" y="T13"/>
                </a:cxn>
              </a:cxnLst>
              <a:rect l="0" t="0" r="r" b="b"/>
              <a:pathLst>
                <a:path w="14" h="17">
                  <a:moveTo>
                    <a:pt x="0" y="0"/>
                  </a:moveTo>
                  <a:lnTo>
                    <a:pt x="14" y="8"/>
                  </a:lnTo>
                  <a:lnTo>
                    <a:pt x="10" y="17"/>
                  </a:lnTo>
                  <a:lnTo>
                    <a:pt x="8" y="16"/>
                  </a:lnTo>
                  <a:lnTo>
                    <a:pt x="8" y="8"/>
                  </a:lnTo>
                  <a:lnTo>
                    <a:pt x="0" y="2"/>
                  </a:lnTo>
                  <a:lnTo>
                    <a:pt x="0" y="0"/>
                  </a:lnTo>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3" name="Freeform 123">
              <a:extLst>
                <a:ext uri="{FF2B5EF4-FFF2-40B4-BE49-F238E27FC236}">
                  <a16:creationId xmlns:a16="http://schemas.microsoft.com/office/drawing/2014/main" id="{147A2CCF-892A-430E-8A35-6D763F927C9F}"/>
                </a:ext>
              </a:extLst>
            </p:cNvPr>
            <p:cNvSpPr>
              <a:spLocks/>
            </p:cNvSpPr>
            <p:nvPr/>
          </p:nvSpPr>
          <p:spPr bwMode="auto">
            <a:xfrm>
              <a:off x="7292975" y="3712270"/>
              <a:ext cx="55563" cy="39706"/>
            </a:xfrm>
            <a:custGeom>
              <a:avLst/>
              <a:gdLst>
                <a:gd name="T0" fmla="*/ 22 w 35"/>
                <a:gd name="T1" fmla="*/ 0 h 25"/>
                <a:gd name="T2" fmla="*/ 33 w 35"/>
                <a:gd name="T3" fmla="*/ 4 h 25"/>
                <a:gd name="T4" fmla="*/ 35 w 35"/>
                <a:gd name="T5" fmla="*/ 8 h 25"/>
                <a:gd name="T6" fmla="*/ 27 w 35"/>
                <a:gd name="T7" fmla="*/ 19 h 25"/>
                <a:gd name="T8" fmla="*/ 20 w 35"/>
                <a:gd name="T9" fmla="*/ 13 h 25"/>
                <a:gd name="T10" fmla="*/ 14 w 35"/>
                <a:gd name="T11" fmla="*/ 17 h 25"/>
                <a:gd name="T12" fmla="*/ 10 w 35"/>
                <a:gd name="T13" fmla="*/ 25 h 25"/>
                <a:gd name="T14" fmla="*/ 0 w 35"/>
                <a:gd name="T15" fmla="*/ 23 h 25"/>
                <a:gd name="T16" fmla="*/ 0 w 35"/>
                <a:gd name="T17" fmla="*/ 13 h 25"/>
                <a:gd name="T18" fmla="*/ 10 w 35"/>
                <a:gd name="T19" fmla="*/ 6 h 25"/>
                <a:gd name="T20" fmla="*/ 18 w 35"/>
                <a:gd name="T21" fmla="*/ 6 h 25"/>
                <a:gd name="T22" fmla="*/ 22 w 35"/>
                <a:gd name="T23" fmla="*/ 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5" h="25">
                  <a:moveTo>
                    <a:pt x="22" y="0"/>
                  </a:moveTo>
                  <a:lnTo>
                    <a:pt x="33" y="4"/>
                  </a:lnTo>
                  <a:lnTo>
                    <a:pt x="35" y="8"/>
                  </a:lnTo>
                  <a:lnTo>
                    <a:pt x="27" y="19"/>
                  </a:lnTo>
                  <a:lnTo>
                    <a:pt x="20" y="13"/>
                  </a:lnTo>
                  <a:lnTo>
                    <a:pt x="14" y="17"/>
                  </a:lnTo>
                  <a:lnTo>
                    <a:pt x="10" y="25"/>
                  </a:lnTo>
                  <a:lnTo>
                    <a:pt x="0" y="23"/>
                  </a:lnTo>
                  <a:lnTo>
                    <a:pt x="0" y="13"/>
                  </a:lnTo>
                  <a:lnTo>
                    <a:pt x="10" y="6"/>
                  </a:lnTo>
                  <a:lnTo>
                    <a:pt x="18" y="6"/>
                  </a:lnTo>
                  <a:lnTo>
                    <a:pt x="22" y="0"/>
                  </a:lnTo>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4" name="Freeform 125">
              <a:extLst>
                <a:ext uri="{FF2B5EF4-FFF2-40B4-BE49-F238E27FC236}">
                  <a16:creationId xmlns:a16="http://schemas.microsoft.com/office/drawing/2014/main" id="{29785A94-0B88-4940-A41C-A6CE0913B63B}"/>
                </a:ext>
              </a:extLst>
            </p:cNvPr>
            <p:cNvSpPr>
              <a:spLocks/>
            </p:cNvSpPr>
            <p:nvPr/>
          </p:nvSpPr>
          <p:spPr bwMode="auto">
            <a:xfrm>
              <a:off x="5078413" y="3678917"/>
              <a:ext cx="52388" cy="27000"/>
            </a:xfrm>
            <a:custGeom>
              <a:avLst/>
              <a:gdLst>
                <a:gd name="T0" fmla="*/ 33 w 33"/>
                <a:gd name="T1" fmla="*/ 0 h 17"/>
                <a:gd name="T2" fmla="*/ 24 w 33"/>
                <a:gd name="T3" fmla="*/ 7 h 17"/>
                <a:gd name="T4" fmla="*/ 25 w 33"/>
                <a:gd name="T5" fmla="*/ 9 h 17"/>
                <a:gd name="T6" fmla="*/ 25 w 33"/>
                <a:gd name="T7" fmla="*/ 11 h 17"/>
                <a:gd name="T8" fmla="*/ 10 w 33"/>
                <a:gd name="T9" fmla="*/ 17 h 17"/>
                <a:gd name="T10" fmla="*/ 4 w 33"/>
                <a:gd name="T11" fmla="*/ 15 h 17"/>
                <a:gd name="T12" fmla="*/ 0 w 33"/>
                <a:gd name="T13" fmla="*/ 9 h 17"/>
                <a:gd name="T14" fmla="*/ 8 w 33"/>
                <a:gd name="T15" fmla="*/ 9 h 17"/>
                <a:gd name="T16" fmla="*/ 10 w 33"/>
                <a:gd name="T17" fmla="*/ 9 h 17"/>
                <a:gd name="T18" fmla="*/ 14 w 33"/>
                <a:gd name="T19" fmla="*/ 7 h 17"/>
                <a:gd name="T20" fmla="*/ 10 w 33"/>
                <a:gd name="T21" fmla="*/ 9 h 17"/>
                <a:gd name="T22" fmla="*/ 8 w 33"/>
                <a:gd name="T23" fmla="*/ 9 h 17"/>
                <a:gd name="T24" fmla="*/ 10 w 33"/>
                <a:gd name="T25" fmla="*/ 7 h 17"/>
                <a:gd name="T26" fmla="*/ 10 w 33"/>
                <a:gd name="T27" fmla="*/ 6 h 17"/>
                <a:gd name="T28" fmla="*/ 20 w 33"/>
                <a:gd name="T29" fmla="*/ 6 h 17"/>
                <a:gd name="T30" fmla="*/ 33 w 33"/>
                <a:gd name="T31"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3" h="17">
                  <a:moveTo>
                    <a:pt x="33" y="0"/>
                  </a:moveTo>
                  <a:lnTo>
                    <a:pt x="24" y="7"/>
                  </a:lnTo>
                  <a:lnTo>
                    <a:pt x="25" y="9"/>
                  </a:lnTo>
                  <a:lnTo>
                    <a:pt x="25" y="11"/>
                  </a:lnTo>
                  <a:lnTo>
                    <a:pt x="10" y="17"/>
                  </a:lnTo>
                  <a:lnTo>
                    <a:pt x="4" y="15"/>
                  </a:lnTo>
                  <a:lnTo>
                    <a:pt x="0" y="9"/>
                  </a:lnTo>
                  <a:lnTo>
                    <a:pt x="8" y="9"/>
                  </a:lnTo>
                  <a:lnTo>
                    <a:pt x="10" y="9"/>
                  </a:lnTo>
                  <a:lnTo>
                    <a:pt x="14" y="7"/>
                  </a:lnTo>
                  <a:lnTo>
                    <a:pt x="10" y="9"/>
                  </a:lnTo>
                  <a:lnTo>
                    <a:pt x="8" y="9"/>
                  </a:lnTo>
                  <a:lnTo>
                    <a:pt x="10" y="7"/>
                  </a:lnTo>
                  <a:lnTo>
                    <a:pt x="10" y="6"/>
                  </a:lnTo>
                  <a:lnTo>
                    <a:pt x="20" y="6"/>
                  </a:lnTo>
                  <a:lnTo>
                    <a:pt x="33" y="0"/>
                  </a:lnTo>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5" name="Freeform 127">
              <a:extLst>
                <a:ext uri="{FF2B5EF4-FFF2-40B4-BE49-F238E27FC236}">
                  <a16:creationId xmlns:a16="http://schemas.microsoft.com/office/drawing/2014/main" id="{6DA84B56-58AE-40B0-8C1D-62A52561B87B}"/>
                </a:ext>
              </a:extLst>
            </p:cNvPr>
            <p:cNvSpPr>
              <a:spLocks/>
            </p:cNvSpPr>
            <p:nvPr/>
          </p:nvSpPr>
          <p:spPr bwMode="auto">
            <a:xfrm>
              <a:off x="4887913" y="3678917"/>
              <a:ext cx="60325" cy="20647"/>
            </a:xfrm>
            <a:custGeom>
              <a:avLst/>
              <a:gdLst>
                <a:gd name="T0" fmla="*/ 2 w 38"/>
                <a:gd name="T1" fmla="*/ 0 h 13"/>
                <a:gd name="T2" fmla="*/ 9 w 38"/>
                <a:gd name="T3" fmla="*/ 6 h 13"/>
                <a:gd name="T4" fmla="*/ 21 w 38"/>
                <a:gd name="T5" fmla="*/ 6 h 13"/>
                <a:gd name="T6" fmla="*/ 30 w 38"/>
                <a:gd name="T7" fmla="*/ 6 h 13"/>
                <a:gd name="T8" fmla="*/ 30 w 38"/>
                <a:gd name="T9" fmla="*/ 7 h 13"/>
                <a:gd name="T10" fmla="*/ 38 w 38"/>
                <a:gd name="T11" fmla="*/ 6 h 13"/>
                <a:gd name="T12" fmla="*/ 36 w 38"/>
                <a:gd name="T13" fmla="*/ 11 h 13"/>
                <a:gd name="T14" fmla="*/ 17 w 38"/>
                <a:gd name="T15" fmla="*/ 13 h 13"/>
                <a:gd name="T16" fmla="*/ 17 w 38"/>
                <a:gd name="T17" fmla="*/ 9 h 13"/>
                <a:gd name="T18" fmla="*/ 0 w 38"/>
                <a:gd name="T19" fmla="*/ 6 h 13"/>
                <a:gd name="T20" fmla="*/ 2 w 38"/>
                <a:gd name="T21"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8" h="13">
                  <a:moveTo>
                    <a:pt x="2" y="0"/>
                  </a:moveTo>
                  <a:lnTo>
                    <a:pt x="9" y="6"/>
                  </a:lnTo>
                  <a:lnTo>
                    <a:pt x="21" y="6"/>
                  </a:lnTo>
                  <a:lnTo>
                    <a:pt x="30" y="6"/>
                  </a:lnTo>
                  <a:lnTo>
                    <a:pt x="30" y="7"/>
                  </a:lnTo>
                  <a:lnTo>
                    <a:pt x="38" y="6"/>
                  </a:lnTo>
                  <a:lnTo>
                    <a:pt x="36" y="11"/>
                  </a:lnTo>
                  <a:lnTo>
                    <a:pt x="17" y="13"/>
                  </a:lnTo>
                  <a:lnTo>
                    <a:pt x="17" y="9"/>
                  </a:lnTo>
                  <a:lnTo>
                    <a:pt x="0" y="6"/>
                  </a:lnTo>
                  <a:lnTo>
                    <a:pt x="2" y="0"/>
                  </a:lnTo>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6" name="Freeform 129">
              <a:extLst>
                <a:ext uri="{FF2B5EF4-FFF2-40B4-BE49-F238E27FC236}">
                  <a16:creationId xmlns:a16="http://schemas.microsoft.com/office/drawing/2014/main" id="{9C5EE5EC-417D-4848-A81F-DC8B9B31745D}"/>
                </a:ext>
              </a:extLst>
            </p:cNvPr>
            <p:cNvSpPr>
              <a:spLocks/>
            </p:cNvSpPr>
            <p:nvPr/>
          </p:nvSpPr>
          <p:spPr bwMode="auto">
            <a:xfrm>
              <a:off x="4640263" y="3613801"/>
              <a:ext cx="69850" cy="39706"/>
            </a:xfrm>
            <a:custGeom>
              <a:avLst/>
              <a:gdLst>
                <a:gd name="T0" fmla="*/ 44 w 44"/>
                <a:gd name="T1" fmla="*/ 0 h 25"/>
                <a:gd name="T2" fmla="*/ 39 w 44"/>
                <a:gd name="T3" fmla="*/ 14 h 25"/>
                <a:gd name="T4" fmla="*/ 40 w 44"/>
                <a:gd name="T5" fmla="*/ 18 h 25"/>
                <a:gd name="T6" fmla="*/ 39 w 44"/>
                <a:gd name="T7" fmla="*/ 25 h 25"/>
                <a:gd name="T8" fmla="*/ 27 w 44"/>
                <a:gd name="T9" fmla="*/ 20 h 25"/>
                <a:gd name="T10" fmla="*/ 19 w 44"/>
                <a:gd name="T11" fmla="*/ 18 h 25"/>
                <a:gd name="T12" fmla="*/ 0 w 44"/>
                <a:gd name="T13" fmla="*/ 10 h 25"/>
                <a:gd name="T14" fmla="*/ 4 w 44"/>
                <a:gd name="T15" fmla="*/ 2 h 25"/>
                <a:gd name="T16" fmla="*/ 19 w 44"/>
                <a:gd name="T17" fmla="*/ 4 h 25"/>
                <a:gd name="T18" fmla="*/ 35 w 44"/>
                <a:gd name="T19" fmla="*/ 2 h 25"/>
                <a:gd name="T20" fmla="*/ 44 w 44"/>
                <a:gd name="T21" fmla="*/ 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4" h="25">
                  <a:moveTo>
                    <a:pt x="44" y="0"/>
                  </a:moveTo>
                  <a:lnTo>
                    <a:pt x="39" y="14"/>
                  </a:lnTo>
                  <a:lnTo>
                    <a:pt x="40" y="18"/>
                  </a:lnTo>
                  <a:lnTo>
                    <a:pt x="39" y="25"/>
                  </a:lnTo>
                  <a:lnTo>
                    <a:pt x="27" y="20"/>
                  </a:lnTo>
                  <a:lnTo>
                    <a:pt x="19" y="18"/>
                  </a:lnTo>
                  <a:lnTo>
                    <a:pt x="0" y="10"/>
                  </a:lnTo>
                  <a:lnTo>
                    <a:pt x="4" y="2"/>
                  </a:lnTo>
                  <a:lnTo>
                    <a:pt x="19" y="4"/>
                  </a:lnTo>
                  <a:lnTo>
                    <a:pt x="35" y="2"/>
                  </a:lnTo>
                  <a:lnTo>
                    <a:pt x="44" y="0"/>
                  </a:lnTo>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7" name="Freeform 131">
              <a:extLst>
                <a:ext uri="{FF2B5EF4-FFF2-40B4-BE49-F238E27FC236}">
                  <a16:creationId xmlns:a16="http://schemas.microsoft.com/office/drawing/2014/main" id="{D82F408F-197E-44E9-8072-3A1D3A390CB3}"/>
                </a:ext>
              </a:extLst>
            </p:cNvPr>
            <p:cNvSpPr>
              <a:spLocks/>
            </p:cNvSpPr>
            <p:nvPr/>
          </p:nvSpPr>
          <p:spPr bwMode="auto">
            <a:xfrm>
              <a:off x="4549776" y="3537566"/>
              <a:ext cx="36513" cy="58765"/>
            </a:xfrm>
            <a:custGeom>
              <a:avLst/>
              <a:gdLst>
                <a:gd name="T0" fmla="*/ 13 w 23"/>
                <a:gd name="T1" fmla="*/ 0 h 37"/>
                <a:gd name="T2" fmla="*/ 23 w 23"/>
                <a:gd name="T3" fmla="*/ 12 h 37"/>
                <a:gd name="T4" fmla="*/ 19 w 23"/>
                <a:gd name="T5" fmla="*/ 33 h 37"/>
                <a:gd name="T6" fmla="*/ 13 w 23"/>
                <a:gd name="T7" fmla="*/ 31 h 37"/>
                <a:gd name="T8" fmla="*/ 7 w 23"/>
                <a:gd name="T9" fmla="*/ 37 h 37"/>
                <a:gd name="T10" fmla="*/ 2 w 23"/>
                <a:gd name="T11" fmla="*/ 33 h 37"/>
                <a:gd name="T12" fmla="*/ 2 w 23"/>
                <a:gd name="T13" fmla="*/ 12 h 37"/>
                <a:gd name="T14" fmla="*/ 0 w 23"/>
                <a:gd name="T15" fmla="*/ 2 h 37"/>
                <a:gd name="T16" fmla="*/ 5 w 23"/>
                <a:gd name="T17" fmla="*/ 4 h 37"/>
                <a:gd name="T18" fmla="*/ 13 w 23"/>
                <a:gd name="T19" fmla="*/ 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 h="37">
                  <a:moveTo>
                    <a:pt x="13" y="0"/>
                  </a:moveTo>
                  <a:lnTo>
                    <a:pt x="23" y="12"/>
                  </a:lnTo>
                  <a:lnTo>
                    <a:pt x="19" y="33"/>
                  </a:lnTo>
                  <a:lnTo>
                    <a:pt x="13" y="31"/>
                  </a:lnTo>
                  <a:lnTo>
                    <a:pt x="7" y="37"/>
                  </a:lnTo>
                  <a:lnTo>
                    <a:pt x="2" y="33"/>
                  </a:lnTo>
                  <a:lnTo>
                    <a:pt x="2" y="12"/>
                  </a:lnTo>
                  <a:lnTo>
                    <a:pt x="0" y="2"/>
                  </a:lnTo>
                  <a:lnTo>
                    <a:pt x="5" y="4"/>
                  </a:lnTo>
                  <a:lnTo>
                    <a:pt x="13" y="0"/>
                  </a:lnTo>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8" name="Freeform 133">
              <a:extLst>
                <a:ext uri="{FF2B5EF4-FFF2-40B4-BE49-F238E27FC236}">
                  <a16:creationId xmlns:a16="http://schemas.microsoft.com/office/drawing/2014/main" id="{70F5A8AD-0C9B-440F-9956-802E0BD548C6}"/>
                </a:ext>
              </a:extLst>
            </p:cNvPr>
            <p:cNvSpPr>
              <a:spLocks/>
            </p:cNvSpPr>
            <p:nvPr/>
          </p:nvSpPr>
          <p:spPr bwMode="auto">
            <a:xfrm>
              <a:off x="7229475" y="3532801"/>
              <a:ext cx="277813" cy="262056"/>
            </a:xfrm>
            <a:custGeom>
              <a:avLst/>
              <a:gdLst>
                <a:gd name="T0" fmla="*/ 165 w 175"/>
                <a:gd name="T1" fmla="*/ 0 h 165"/>
                <a:gd name="T2" fmla="*/ 175 w 175"/>
                <a:gd name="T3" fmla="*/ 23 h 165"/>
                <a:gd name="T4" fmla="*/ 175 w 175"/>
                <a:gd name="T5" fmla="*/ 36 h 165"/>
                <a:gd name="T6" fmla="*/ 161 w 175"/>
                <a:gd name="T7" fmla="*/ 53 h 165"/>
                <a:gd name="T8" fmla="*/ 161 w 175"/>
                <a:gd name="T9" fmla="*/ 59 h 165"/>
                <a:gd name="T10" fmla="*/ 161 w 175"/>
                <a:gd name="T11" fmla="*/ 69 h 165"/>
                <a:gd name="T12" fmla="*/ 156 w 175"/>
                <a:gd name="T13" fmla="*/ 80 h 165"/>
                <a:gd name="T14" fmla="*/ 158 w 175"/>
                <a:gd name="T15" fmla="*/ 90 h 165"/>
                <a:gd name="T16" fmla="*/ 152 w 175"/>
                <a:gd name="T17" fmla="*/ 101 h 165"/>
                <a:gd name="T18" fmla="*/ 133 w 175"/>
                <a:gd name="T19" fmla="*/ 107 h 165"/>
                <a:gd name="T20" fmla="*/ 110 w 175"/>
                <a:gd name="T21" fmla="*/ 109 h 165"/>
                <a:gd name="T22" fmla="*/ 88 w 175"/>
                <a:gd name="T23" fmla="*/ 126 h 165"/>
                <a:gd name="T24" fmla="*/ 79 w 175"/>
                <a:gd name="T25" fmla="*/ 121 h 165"/>
                <a:gd name="T26" fmla="*/ 79 w 175"/>
                <a:gd name="T27" fmla="*/ 109 h 165"/>
                <a:gd name="T28" fmla="*/ 54 w 175"/>
                <a:gd name="T29" fmla="*/ 113 h 165"/>
                <a:gd name="T30" fmla="*/ 39 w 175"/>
                <a:gd name="T31" fmla="*/ 119 h 165"/>
                <a:gd name="T32" fmla="*/ 21 w 175"/>
                <a:gd name="T33" fmla="*/ 119 h 165"/>
                <a:gd name="T34" fmla="*/ 37 w 175"/>
                <a:gd name="T35" fmla="*/ 132 h 165"/>
                <a:gd name="T36" fmla="*/ 27 w 175"/>
                <a:gd name="T37" fmla="*/ 159 h 165"/>
                <a:gd name="T38" fmla="*/ 17 w 175"/>
                <a:gd name="T39" fmla="*/ 165 h 165"/>
                <a:gd name="T40" fmla="*/ 12 w 175"/>
                <a:gd name="T41" fmla="*/ 159 h 165"/>
                <a:gd name="T42" fmla="*/ 14 w 175"/>
                <a:gd name="T43" fmla="*/ 145 h 165"/>
                <a:gd name="T44" fmla="*/ 6 w 175"/>
                <a:gd name="T45" fmla="*/ 140 h 165"/>
                <a:gd name="T46" fmla="*/ 0 w 175"/>
                <a:gd name="T47" fmla="*/ 130 h 165"/>
                <a:gd name="T48" fmla="*/ 14 w 175"/>
                <a:gd name="T49" fmla="*/ 124 h 165"/>
                <a:gd name="T50" fmla="*/ 21 w 175"/>
                <a:gd name="T51" fmla="*/ 115 h 165"/>
                <a:gd name="T52" fmla="*/ 35 w 175"/>
                <a:gd name="T53" fmla="*/ 107 h 165"/>
                <a:gd name="T54" fmla="*/ 44 w 175"/>
                <a:gd name="T55" fmla="*/ 98 h 165"/>
                <a:gd name="T56" fmla="*/ 73 w 175"/>
                <a:gd name="T57" fmla="*/ 92 h 165"/>
                <a:gd name="T58" fmla="*/ 88 w 175"/>
                <a:gd name="T59" fmla="*/ 96 h 165"/>
                <a:gd name="T60" fmla="*/ 102 w 175"/>
                <a:gd name="T61" fmla="*/ 67 h 165"/>
                <a:gd name="T62" fmla="*/ 111 w 175"/>
                <a:gd name="T63" fmla="*/ 73 h 165"/>
                <a:gd name="T64" fmla="*/ 131 w 175"/>
                <a:gd name="T65" fmla="*/ 57 h 165"/>
                <a:gd name="T66" fmla="*/ 140 w 175"/>
                <a:gd name="T67" fmla="*/ 51 h 165"/>
                <a:gd name="T68" fmla="*/ 148 w 175"/>
                <a:gd name="T69" fmla="*/ 32 h 165"/>
                <a:gd name="T70" fmla="*/ 146 w 175"/>
                <a:gd name="T71" fmla="*/ 13 h 165"/>
                <a:gd name="T72" fmla="*/ 152 w 175"/>
                <a:gd name="T73" fmla="*/ 3 h 165"/>
                <a:gd name="T74" fmla="*/ 165 w 175"/>
                <a:gd name="T75" fmla="*/ 0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75" h="165">
                  <a:moveTo>
                    <a:pt x="165" y="0"/>
                  </a:moveTo>
                  <a:lnTo>
                    <a:pt x="175" y="23"/>
                  </a:lnTo>
                  <a:lnTo>
                    <a:pt x="175" y="36"/>
                  </a:lnTo>
                  <a:lnTo>
                    <a:pt x="161" y="53"/>
                  </a:lnTo>
                  <a:lnTo>
                    <a:pt x="161" y="59"/>
                  </a:lnTo>
                  <a:lnTo>
                    <a:pt x="161" y="69"/>
                  </a:lnTo>
                  <a:lnTo>
                    <a:pt x="156" y="80"/>
                  </a:lnTo>
                  <a:lnTo>
                    <a:pt x="158" y="90"/>
                  </a:lnTo>
                  <a:lnTo>
                    <a:pt x="152" y="101"/>
                  </a:lnTo>
                  <a:lnTo>
                    <a:pt x="133" y="107"/>
                  </a:lnTo>
                  <a:lnTo>
                    <a:pt x="110" y="109"/>
                  </a:lnTo>
                  <a:lnTo>
                    <a:pt x="88" y="126"/>
                  </a:lnTo>
                  <a:lnTo>
                    <a:pt x="79" y="121"/>
                  </a:lnTo>
                  <a:lnTo>
                    <a:pt x="79" y="109"/>
                  </a:lnTo>
                  <a:lnTo>
                    <a:pt x="54" y="113"/>
                  </a:lnTo>
                  <a:lnTo>
                    <a:pt x="39" y="119"/>
                  </a:lnTo>
                  <a:lnTo>
                    <a:pt x="21" y="119"/>
                  </a:lnTo>
                  <a:lnTo>
                    <a:pt x="37" y="132"/>
                  </a:lnTo>
                  <a:lnTo>
                    <a:pt x="27" y="159"/>
                  </a:lnTo>
                  <a:lnTo>
                    <a:pt x="17" y="165"/>
                  </a:lnTo>
                  <a:lnTo>
                    <a:pt x="12" y="159"/>
                  </a:lnTo>
                  <a:lnTo>
                    <a:pt x="14" y="145"/>
                  </a:lnTo>
                  <a:lnTo>
                    <a:pt x="6" y="140"/>
                  </a:lnTo>
                  <a:lnTo>
                    <a:pt x="0" y="130"/>
                  </a:lnTo>
                  <a:lnTo>
                    <a:pt x="14" y="124"/>
                  </a:lnTo>
                  <a:lnTo>
                    <a:pt x="21" y="115"/>
                  </a:lnTo>
                  <a:lnTo>
                    <a:pt x="35" y="107"/>
                  </a:lnTo>
                  <a:lnTo>
                    <a:pt x="44" y="98"/>
                  </a:lnTo>
                  <a:lnTo>
                    <a:pt x="73" y="92"/>
                  </a:lnTo>
                  <a:lnTo>
                    <a:pt x="88" y="96"/>
                  </a:lnTo>
                  <a:lnTo>
                    <a:pt x="102" y="67"/>
                  </a:lnTo>
                  <a:lnTo>
                    <a:pt x="111" y="73"/>
                  </a:lnTo>
                  <a:lnTo>
                    <a:pt x="131" y="57"/>
                  </a:lnTo>
                  <a:lnTo>
                    <a:pt x="140" y="51"/>
                  </a:lnTo>
                  <a:lnTo>
                    <a:pt x="148" y="32"/>
                  </a:lnTo>
                  <a:lnTo>
                    <a:pt x="146" y="13"/>
                  </a:lnTo>
                  <a:lnTo>
                    <a:pt x="152" y="3"/>
                  </a:lnTo>
                  <a:lnTo>
                    <a:pt x="165" y="0"/>
                  </a:lnTo>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9" name="Freeform 135">
              <a:extLst>
                <a:ext uri="{FF2B5EF4-FFF2-40B4-BE49-F238E27FC236}">
                  <a16:creationId xmlns:a16="http://schemas.microsoft.com/office/drawing/2014/main" id="{9BBE1DDE-0D98-45F5-BFC1-241EACF47248}"/>
                </a:ext>
              </a:extLst>
            </p:cNvPr>
            <p:cNvSpPr>
              <a:spLocks/>
            </p:cNvSpPr>
            <p:nvPr/>
          </p:nvSpPr>
          <p:spPr bwMode="auto">
            <a:xfrm>
              <a:off x="4554538" y="3489920"/>
              <a:ext cx="22225" cy="42882"/>
            </a:xfrm>
            <a:custGeom>
              <a:avLst/>
              <a:gdLst>
                <a:gd name="T0" fmla="*/ 12 w 14"/>
                <a:gd name="T1" fmla="*/ 0 h 27"/>
                <a:gd name="T2" fmla="*/ 14 w 14"/>
                <a:gd name="T3" fmla="*/ 13 h 27"/>
                <a:gd name="T4" fmla="*/ 10 w 14"/>
                <a:gd name="T5" fmla="*/ 27 h 27"/>
                <a:gd name="T6" fmla="*/ 4 w 14"/>
                <a:gd name="T7" fmla="*/ 23 h 27"/>
                <a:gd name="T8" fmla="*/ 0 w 14"/>
                <a:gd name="T9" fmla="*/ 11 h 27"/>
                <a:gd name="T10" fmla="*/ 4 w 14"/>
                <a:gd name="T11" fmla="*/ 6 h 27"/>
                <a:gd name="T12" fmla="*/ 12 w 14"/>
                <a:gd name="T13" fmla="*/ 0 h 27"/>
              </a:gdLst>
              <a:ahLst/>
              <a:cxnLst>
                <a:cxn ang="0">
                  <a:pos x="T0" y="T1"/>
                </a:cxn>
                <a:cxn ang="0">
                  <a:pos x="T2" y="T3"/>
                </a:cxn>
                <a:cxn ang="0">
                  <a:pos x="T4" y="T5"/>
                </a:cxn>
                <a:cxn ang="0">
                  <a:pos x="T6" y="T7"/>
                </a:cxn>
                <a:cxn ang="0">
                  <a:pos x="T8" y="T9"/>
                </a:cxn>
                <a:cxn ang="0">
                  <a:pos x="T10" y="T11"/>
                </a:cxn>
                <a:cxn ang="0">
                  <a:pos x="T12" y="T13"/>
                </a:cxn>
              </a:cxnLst>
              <a:rect l="0" t="0" r="r" b="b"/>
              <a:pathLst>
                <a:path w="14" h="27">
                  <a:moveTo>
                    <a:pt x="12" y="0"/>
                  </a:moveTo>
                  <a:lnTo>
                    <a:pt x="14" y="13"/>
                  </a:lnTo>
                  <a:lnTo>
                    <a:pt x="10" y="27"/>
                  </a:lnTo>
                  <a:lnTo>
                    <a:pt x="4" y="23"/>
                  </a:lnTo>
                  <a:lnTo>
                    <a:pt x="0" y="11"/>
                  </a:lnTo>
                  <a:lnTo>
                    <a:pt x="4" y="6"/>
                  </a:lnTo>
                  <a:lnTo>
                    <a:pt x="12" y="0"/>
                  </a:lnTo>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0" name="Freeform 136">
              <a:extLst>
                <a:ext uri="{FF2B5EF4-FFF2-40B4-BE49-F238E27FC236}">
                  <a16:creationId xmlns:a16="http://schemas.microsoft.com/office/drawing/2014/main" id="{B3DAF428-BB11-4598-8F07-85335E6B9F7C}"/>
                </a:ext>
              </a:extLst>
            </p:cNvPr>
            <p:cNvSpPr>
              <a:spLocks/>
            </p:cNvSpPr>
            <p:nvPr/>
          </p:nvSpPr>
          <p:spPr bwMode="auto">
            <a:xfrm>
              <a:off x="2789238" y="3427979"/>
              <a:ext cx="0" cy="3176"/>
            </a:xfrm>
            <a:custGeom>
              <a:avLst/>
              <a:gdLst>
                <a:gd name="T0" fmla="*/ 0 h 2"/>
                <a:gd name="T1" fmla="*/ 2 h 2"/>
                <a:gd name="T2" fmla="*/ 0 h 2"/>
              </a:gdLst>
              <a:ahLst/>
              <a:cxnLst>
                <a:cxn ang="0">
                  <a:pos x="0" y="T0"/>
                </a:cxn>
                <a:cxn ang="0">
                  <a:pos x="0" y="T1"/>
                </a:cxn>
                <a:cxn ang="0">
                  <a:pos x="0" y="T2"/>
                </a:cxn>
              </a:cxnLst>
              <a:rect l="0" t="0" r="r" b="b"/>
              <a:pathLst>
                <a:path h="2">
                  <a:moveTo>
                    <a:pt x="0" y="0"/>
                  </a:moveTo>
                  <a:lnTo>
                    <a:pt x="0" y="2"/>
                  </a:lnTo>
                  <a:lnTo>
                    <a:pt x="0" y="0"/>
                  </a:lnTo>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1" name="Freeform 138">
              <a:extLst>
                <a:ext uri="{FF2B5EF4-FFF2-40B4-BE49-F238E27FC236}">
                  <a16:creationId xmlns:a16="http://schemas.microsoft.com/office/drawing/2014/main" id="{30B60972-8832-450C-A6EB-6125FE9B878C}"/>
                </a:ext>
              </a:extLst>
            </p:cNvPr>
            <p:cNvSpPr>
              <a:spLocks/>
            </p:cNvSpPr>
            <p:nvPr/>
          </p:nvSpPr>
          <p:spPr bwMode="auto">
            <a:xfrm>
              <a:off x="7458075" y="3420038"/>
              <a:ext cx="128588" cy="106411"/>
            </a:xfrm>
            <a:custGeom>
              <a:avLst/>
              <a:gdLst>
                <a:gd name="T0" fmla="*/ 31 w 81"/>
                <a:gd name="T1" fmla="*/ 0 h 67"/>
                <a:gd name="T2" fmla="*/ 48 w 81"/>
                <a:gd name="T3" fmla="*/ 19 h 67"/>
                <a:gd name="T4" fmla="*/ 58 w 81"/>
                <a:gd name="T5" fmla="*/ 25 h 67"/>
                <a:gd name="T6" fmla="*/ 67 w 81"/>
                <a:gd name="T7" fmla="*/ 26 h 67"/>
                <a:gd name="T8" fmla="*/ 77 w 81"/>
                <a:gd name="T9" fmla="*/ 21 h 67"/>
                <a:gd name="T10" fmla="*/ 81 w 81"/>
                <a:gd name="T11" fmla="*/ 38 h 67"/>
                <a:gd name="T12" fmla="*/ 60 w 81"/>
                <a:gd name="T13" fmla="*/ 44 h 67"/>
                <a:gd name="T14" fmla="*/ 48 w 81"/>
                <a:gd name="T15" fmla="*/ 61 h 67"/>
                <a:gd name="T16" fmla="*/ 25 w 81"/>
                <a:gd name="T17" fmla="*/ 48 h 67"/>
                <a:gd name="T18" fmla="*/ 19 w 81"/>
                <a:gd name="T19" fmla="*/ 67 h 67"/>
                <a:gd name="T20" fmla="*/ 2 w 81"/>
                <a:gd name="T21" fmla="*/ 67 h 67"/>
                <a:gd name="T22" fmla="*/ 0 w 81"/>
                <a:gd name="T23" fmla="*/ 50 h 67"/>
                <a:gd name="T24" fmla="*/ 8 w 81"/>
                <a:gd name="T25" fmla="*/ 38 h 67"/>
                <a:gd name="T26" fmla="*/ 21 w 81"/>
                <a:gd name="T27" fmla="*/ 36 h 67"/>
                <a:gd name="T28" fmla="*/ 27 w 81"/>
                <a:gd name="T29" fmla="*/ 13 h 67"/>
                <a:gd name="T30" fmla="*/ 31 w 81"/>
                <a:gd name="T31" fmla="*/ 0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1" h="67">
                  <a:moveTo>
                    <a:pt x="31" y="0"/>
                  </a:moveTo>
                  <a:lnTo>
                    <a:pt x="48" y="19"/>
                  </a:lnTo>
                  <a:lnTo>
                    <a:pt x="58" y="25"/>
                  </a:lnTo>
                  <a:lnTo>
                    <a:pt x="67" y="26"/>
                  </a:lnTo>
                  <a:lnTo>
                    <a:pt x="77" y="21"/>
                  </a:lnTo>
                  <a:lnTo>
                    <a:pt x="81" y="38"/>
                  </a:lnTo>
                  <a:lnTo>
                    <a:pt x="60" y="44"/>
                  </a:lnTo>
                  <a:lnTo>
                    <a:pt x="48" y="61"/>
                  </a:lnTo>
                  <a:lnTo>
                    <a:pt x="25" y="48"/>
                  </a:lnTo>
                  <a:lnTo>
                    <a:pt x="19" y="67"/>
                  </a:lnTo>
                  <a:lnTo>
                    <a:pt x="2" y="67"/>
                  </a:lnTo>
                  <a:lnTo>
                    <a:pt x="0" y="50"/>
                  </a:lnTo>
                  <a:lnTo>
                    <a:pt x="8" y="38"/>
                  </a:lnTo>
                  <a:lnTo>
                    <a:pt x="21" y="36"/>
                  </a:lnTo>
                  <a:lnTo>
                    <a:pt x="27" y="13"/>
                  </a:lnTo>
                  <a:lnTo>
                    <a:pt x="31" y="0"/>
                  </a:lnTo>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2" name="Freeform 140">
              <a:extLst>
                <a:ext uri="{FF2B5EF4-FFF2-40B4-BE49-F238E27FC236}">
                  <a16:creationId xmlns:a16="http://schemas.microsoft.com/office/drawing/2014/main" id="{272A235A-A103-46A4-ABED-110B954385FF}"/>
                </a:ext>
              </a:extLst>
            </p:cNvPr>
            <p:cNvSpPr>
              <a:spLocks/>
            </p:cNvSpPr>
            <p:nvPr/>
          </p:nvSpPr>
          <p:spPr bwMode="auto">
            <a:xfrm>
              <a:off x="2943226" y="3377156"/>
              <a:ext cx="55563" cy="33353"/>
            </a:xfrm>
            <a:custGeom>
              <a:avLst/>
              <a:gdLst>
                <a:gd name="T0" fmla="*/ 6 w 35"/>
                <a:gd name="T1" fmla="*/ 0 h 21"/>
                <a:gd name="T2" fmla="*/ 12 w 35"/>
                <a:gd name="T3" fmla="*/ 9 h 21"/>
                <a:gd name="T4" fmla="*/ 21 w 35"/>
                <a:gd name="T5" fmla="*/ 11 h 21"/>
                <a:gd name="T6" fmla="*/ 35 w 35"/>
                <a:gd name="T7" fmla="*/ 11 h 21"/>
                <a:gd name="T8" fmla="*/ 27 w 35"/>
                <a:gd name="T9" fmla="*/ 19 h 21"/>
                <a:gd name="T10" fmla="*/ 23 w 35"/>
                <a:gd name="T11" fmla="*/ 21 h 21"/>
                <a:gd name="T12" fmla="*/ 4 w 35"/>
                <a:gd name="T13" fmla="*/ 11 h 21"/>
                <a:gd name="T14" fmla="*/ 0 w 35"/>
                <a:gd name="T15" fmla="*/ 7 h 21"/>
                <a:gd name="T16" fmla="*/ 6 w 35"/>
                <a:gd name="T17"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 h="21">
                  <a:moveTo>
                    <a:pt x="6" y="0"/>
                  </a:moveTo>
                  <a:lnTo>
                    <a:pt x="12" y="9"/>
                  </a:lnTo>
                  <a:lnTo>
                    <a:pt x="21" y="11"/>
                  </a:lnTo>
                  <a:lnTo>
                    <a:pt x="35" y="11"/>
                  </a:lnTo>
                  <a:lnTo>
                    <a:pt x="27" y="19"/>
                  </a:lnTo>
                  <a:lnTo>
                    <a:pt x="23" y="21"/>
                  </a:lnTo>
                  <a:lnTo>
                    <a:pt x="4" y="11"/>
                  </a:lnTo>
                  <a:lnTo>
                    <a:pt x="0" y="7"/>
                  </a:lnTo>
                  <a:lnTo>
                    <a:pt x="6" y="0"/>
                  </a:lnTo>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3" name="Freeform 141">
              <a:extLst>
                <a:ext uri="{FF2B5EF4-FFF2-40B4-BE49-F238E27FC236}">
                  <a16:creationId xmlns:a16="http://schemas.microsoft.com/office/drawing/2014/main" id="{5980AFFE-3063-4552-B37F-7E8E2DFAFE9F}"/>
                </a:ext>
              </a:extLst>
            </p:cNvPr>
            <p:cNvSpPr>
              <a:spLocks/>
            </p:cNvSpPr>
            <p:nvPr/>
          </p:nvSpPr>
          <p:spPr bwMode="auto">
            <a:xfrm>
              <a:off x="2803526" y="3373979"/>
              <a:ext cx="30163" cy="49235"/>
            </a:xfrm>
            <a:custGeom>
              <a:avLst/>
              <a:gdLst>
                <a:gd name="T0" fmla="*/ 19 w 19"/>
                <a:gd name="T1" fmla="*/ 0 h 31"/>
                <a:gd name="T2" fmla="*/ 10 w 19"/>
                <a:gd name="T3" fmla="*/ 9 h 31"/>
                <a:gd name="T4" fmla="*/ 6 w 19"/>
                <a:gd name="T5" fmla="*/ 23 h 31"/>
                <a:gd name="T6" fmla="*/ 0 w 19"/>
                <a:gd name="T7" fmla="*/ 31 h 31"/>
                <a:gd name="T8" fmla="*/ 6 w 19"/>
                <a:gd name="T9" fmla="*/ 23 h 31"/>
                <a:gd name="T10" fmla="*/ 10 w 19"/>
                <a:gd name="T11" fmla="*/ 9 h 31"/>
                <a:gd name="T12" fmla="*/ 19 w 19"/>
                <a:gd name="T13" fmla="*/ 0 h 31"/>
              </a:gdLst>
              <a:ahLst/>
              <a:cxnLst>
                <a:cxn ang="0">
                  <a:pos x="T0" y="T1"/>
                </a:cxn>
                <a:cxn ang="0">
                  <a:pos x="T2" y="T3"/>
                </a:cxn>
                <a:cxn ang="0">
                  <a:pos x="T4" y="T5"/>
                </a:cxn>
                <a:cxn ang="0">
                  <a:pos x="T6" y="T7"/>
                </a:cxn>
                <a:cxn ang="0">
                  <a:pos x="T8" y="T9"/>
                </a:cxn>
                <a:cxn ang="0">
                  <a:pos x="T10" y="T11"/>
                </a:cxn>
                <a:cxn ang="0">
                  <a:pos x="T12" y="T13"/>
                </a:cxn>
              </a:cxnLst>
              <a:rect l="0" t="0" r="r" b="b"/>
              <a:pathLst>
                <a:path w="19" h="31">
                  <a:moveTo>
                    <a:pt x="19" y="0"/>
                  </a:moveTo>
                  <a:lnTo>
                    <a:pt x="10" y="9"/>
                  </a:lnTo>
                  <a:lnTo>
                    <a:pt x="6" y="23"/>
                  </a:lnTo>
                  <a:lnTo>
                    <a:pt x="0" y="31"/>
                  </a:lnTo>
                  <a:lnTo>
                    <a:pt x="6" y="23"/>
                  </a:lnTo>
                  <a:lnTo>
                    <a:pt x="10" y="9"/>
                  </a:lnTo>
                  <a:lnTo>
                    <a:pt x="19" y="0"/>
                  </a:lnTo>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4" name="Freeform 143">
              <a:extLst>
                <a:ext uri="{FF2B5EF4-FFF2-40B4-BE49-F238E27FC236}">
                  <a16:creationId xmlns:a16="http://schemas.microsoft.com/office/drawing/2014/main" id="{F73374A3-2A80-4F07-BC4F-35CBCDE6532C}"/>
                </a:ext>
              </a:extLst>
            </p:cNvPr>
            <p:cNvSpPr>
              <a:spLocks/>
            </p:cNvSpPr>
            <p:nvPr/>
          </p:nvSpPr>
          <p:spPr bwMode="auto">
            <a:xfrm>
              <a:off x="2940051" y="3297745"/>
              <a:ext cx="61913" cy="23824"/>
            </a:xfrm>
            <a:custGeom>
              <a:avLst/>
              <a:gdLst>
                <a:gd name="T0" fmla="*/ 6 w 39"/>
                <a:gd name="T1" fmla="*/ 0 h 15"/>
                <a:gd name="T2" fmla="*/ 25 w 39"/>
                <a:gd name="T3" fmla="*/ 4 h 15"/>
                <a:gd name="T4" fmla="*/ 39 w 39"/>
                <a:gd name="T5" fmla="*/ 9 h 15"/>
                <a:gd name="T6" fmla="*/ 39 w 39"/>
                <a:gd name="T7" fmla="*/ 13 h 15"/>
                <a:gd name="T8" fmla="*/ 31 w 39"/>
                <a:gd name="T9" fmla="*/ 15 h 15"/>
                <a:gd name="T10" fmla="*/ 16 w 39"/>
                <a:gd name="T11" fmla="*/ 9 h 15"/>
                <a:gd name="T12" fmla="*/ 0 w 39"/>
                <a:gd name="T13" fmla="*/ 0 h 15"/>
                <a:gd name="T14" fmla="*/ 6 w 39"/>
                <a:gd name="T15" fmla="*/ 0 h 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 h="15">
                  <a:moveTo>
                    <a:pt x="6" y="0"/>
                  </a:moveTo>
                  <a:lnTo>
                    <a:pt x="25" y="4"/>
                  </a:lnTo>
                  <a:lnTo>
                    <a:pt x="39" y="9"/>
                  </a:lnTo>
                  <a:lnTo>
                    <a:pt x="39" y="13"/>
                  </a:lnTo>
                  <a:lnTo>
                    <a:pt x="31" y="15"/>
                  </a:lnTo>
                  <a:lnTo>
                    <a:pt x="16" y="9"/>
                  </a:lnTo>
                  <a:lnTo>
                    <a:pt x="0" y="0"/>
                  </a:lnTo>
                  <a:lnTo>
                    <a:pt x="6" y="0"/>
                  </a:lnTo>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5" name="Freeform 145">
              <a:extLst>
                <a:ext uri="{FF2B5EF4-FFF2-40B4-BE49-F238E27FC236}">
                  <a16:creationId xmlns:a16="http://schemas.microsoft.com/office/drawing/2014/main" id="{3CBB941F-2387-4E06-8A32-447B6234E9BB}"/>
                </a:ext>
              </a:extLst>
            </p:cNvPr>
            <p:cNvSpPr>
              <a:spLocks/>
            </p:cNvSpPr>
            <p:nvPr/>
          </p:nvSpPr>
          <p:spPr bwMode="auto">
            <a:xfrm>
              <a:off x="1527177" y="3270746"/>
              <a:ext cx="109538" cy="69882"/>
            </a:xfrm>
            <a:custGeom>
              <a:avLst/>
              <a:gdLst>
                <a:gd name="T0" fmla="*/ 0 w 69"/>
                <a:gd name="T1" fmla="*/ 0 h 44"/>
                <a:gd name="T2" fmla="*/ 17 w 69"/>
                <a:gd name="T3" fmla="*/ 5 h 44"/>
                <a:gd name="T4" fmla="*/ 25 w 69"/>
                <a:gd name="T5" fmla="*/ 7 h 44"/>
                <a:gd name="T6" fmla="*/ 38 w 69"/>
                <a:gd name="T7" fmla="*/ 9 h 44"/>
                <a:gd name="T8" fmla="*/ 42 w 69"/>
                <a:gd name="T9" fmla="*/ 17 h 44"/>
                <a:gd name="T10" fmla="*/ 50 w 69"/>
                <a:gd name="T11" fmla="*/ 25 h 44"/>
                <a:gd name="T12" fmla="*/ 63 w 69"/>
                <a:gd name="T13" fmla="*/ 32 h 44"/>
                <a:gd name="T14" fmla="*/ 69 w 69"/>
                <a:gd name="T15" fmla="*/ 42 h 44"/>
                <a:gd name="T16" fmla="*/ 63 w 69"/>
                <a:gd name="T17" fmla="*/ 44 h 44"/>
                <a:gd name="T18" fmla="*/ 38 w 69"/>
                <a:gd name="T19" fmla="*/ 36 h 44"/>
                <a:gd name="T20" fmla="*/ 35 w 69"/>
                <a:gd name="T21" fmla="*/ 30 h 44"/>
                <a:gd name="T22" fmla="*/ 23 w 69"/>
                <a:gd name="T23" fmla="*/ 25 h 44"/>
                <a:gd name="T24" fmla="*/ 19 w 69"/>
                <a:gd name="T25" fmla="*/ 19 h 44"/>
                <a:gd name="T26" fmla="*/ 6 w 69"/>
                <a:gd name="T27" fmla="*/ 17 h 44"/>
                <a:gd name="T28" fmla="*/ 0 w 69"/>
                <a:gd name="T29" fmla="*/ 5 h 44"/>
                <a:gd name="T30" fmla="*/ 0 w 69"/>
                <a:gd name="T31"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9" h="44">
                  <a:moveTo>
                    <a:pt x="0" y="0"/>
                  </a:moveTo>
                  <a:lnTo>
                    <a:pt x="17" y="5"/>
                  </a:lnTo>
                  <a:lnTo>
                    <a:pt x="25" y="7"/>
                  </a:lnTo>
                  <a:lnTo>
                    <a:pt x="38" y="9"/>
                  </a:lnTo>
                  <a:lnTo>
                    <a:pt x="42" y="17"/>
                  </a:lnTo>
                  <a:lnTo>
                    <a:pt x="50" y="25"/>
                  </a:lnTo>
                  <a:lnTo>
                    <a:pt x="63" y="32"/>
                  </a:lnTo>
                  <a:lnTo>
                    <a:pt x="69" y="42"/>
                  </a:lnTo>
                  <a:lnTo>
                    <a:pt x="63" y="44"/>
                  </a:lnTo>
                  <a:lnTo>
                    <a:pt x="38" y="36"/>
                  </a:lnTo>
                  <a:lnTo>
                    <a:pt x="35" y="30"/>
                  </a:lnTo>
                  <a:lnTo>
                    <a:pt x="23" y="25"/>
                  </a:lnTo>
                  <a:lnTo>
                    <a:pt x="19" y="19"/>
                  </a:lnTo>
                  <a:lnTo>
                    <a:pt x="6" y="17"/>
                  </a:lnTo>
                  <a:lnTo>
                    <a:pt x="0" y="5"/>
                  </a:lnTo>
                  <a:lnTo>
                    <a:pt x="0" y="0"/>
                  </a:lnTo>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6" name="Freeform 147">
              <a:extLst>
                <a:ext uri="{FF2B5EF4-FFF2-40B4-BE49-F238E27FC236}">
                  <a16:creationId xmlns:a16="http://schemas.microsoft.com/office/drawing/2014/main" id="{4DCAE0CA-8D69-4ABC-9B02-113F4A6AD75B}"/>
                </a:ext>
              </a:extLst>
            </p:cNvPr>
            <p:cNvSpPr>
              <a:spLocks/>
            </p:cNvSpPr>
            <p:nvPr/>
          </p:nvSpPr>
          <p:spPr bwMode="auto">
            <a:xfrm>
              <a:off x="3052763" y="3248511"/>
              <a:ext cx="152400" cy="142940"/>
            </a:xfrm>
            <a:custGeom>
              <a:avLst/>
              <a:gdLst>
                <a:gd name="T0" fmla="*/ 50 w 96"/>
                <a:gd name="T1" fmla="*/ 0 h 90"/>
                <a:gd name="T2" fmla="*/ 58 w 96"/>
                <a:gd name="T3" fmla="*/ 0 h 90"/>
                <a:gd name="T4" fmla="*/ 54 w 96"/>
                <a:gd name="T5" fmla="*/ 4 h 90"/>
                <a:gd name="T6" fmla="*/ 48 w 96"/>
                <a:gd name="T7" fmla="*/ 15 h 90"/>
                <a:gd name="T8" fmla="*/ 37 w 96"/>
                <a:gd name="T9" fmla="*/ 33 h 90"/>
                <a:gd name="T10" fmla="*/ 48 w 96"/>
                <a:gd name="T11" fmla="*/ 27 h 90"/>
                <a:gd name="T12" fmla="*/ 56 w 96"/>
                <a:gd name="T13" fmla="*/ 31 h 90"/>
                <a:gd name="T14" fmla="*/ 50 w 96"/>
                <a:gd name="T15" fmla="*/ 37 h 90"/>
                <a:gd name="T16" fmla="*/ 64 w 96"/>
                <a:gd name="T17" fmla="*/ 40 h 90"/>
                <a:gd name="T18" fmla="*/ 70 w 96"/>
                <a:gd name="T19" fmla="*/ 39 h 90"/>
                <a:gd name="T20" fmla="*/ 85 w 96"/>
                <a:gd name="T21" fmla="*/ 42 h 90"/>
                <a:gd name="T22" fmla="*/ 79 w 96"/>
                <a:gd name="T23" fmla="*/ 56 h 90"/>
                <a:gd name="T24" fmla="*/ 91 w 96"/>
                <a:gd name="T25" fmla="*/ 52 h 90"/>
                <a:gd name="T26" fmla="*/ 91 w 96"/>
                <a:gd name="T27" fmla="*/ 63 h 90"/>
                <a:gd name="T28" fmla="*/ 96 w 96"/>
                <a:gd name="T29" fmla="*/ 73 h 90"/>
                <a:gd name="T30" fmla="*/ 91 w 96"/>
                <a:gd name="T31" fmla="*/ 88 h 90"/>
                <a:gd name="T32" fmla="*/ 83 w 96"/>
                <a:gd name="T33" fmla="*/ 90 h 90"/>
                <a:gd name="T34" fmla="*/ 73 w 96"/>
                <a:gd name="T35" fmla="*/ 87 h 90"/>
                <a:gd name="T36" fmla="*/ 77 w 96"/>
                <a:gd name="T37" fmla="*/ 71 h 90"/>
                <a:gd name="T38" fmla="*/ 71 w 96"/>
                <a:gd name="T39" fmla="*/ 69 h 90"/>
                <a:gd name="T40" fmla="*/ 58 w 96"/>
                <a:gd name="T41" fmla="*/ 85 h 90"/>
                <a:gd name="T42" fmla="*/ 48 w 96"/>
                <a:gd name="T43" fmla="*/ 85 h 90"/>
                <a:gd name="T44" fmla="*/ 60 w 96"/>
                <a:gd name="T45" fmla="*/ 77 h 90"/>
                <a:gd name="T46" fmla="*/ 47 w 96"/>
                <a:gd name="T47" fmla="*/ 71 h 90"/>
                <a:gd name="T48" fmla="*/ 31 w 96"/>
                <a:gd name="T49" fmla="*/ 73 h 90"/>
                <a:gd name="T50" fmla="*/ 4 w 96"/>
                <a:gd name="T51" fmla="*/ 71 h 90"/>
                <a:gd name="T52" fmla="*/ 0 w 96"/>
                <a:gd name="T53" fmla="*/ 67 h 90"/>
                <a:gd name="T54" fmla="*/ 8 w 96"/>
                <a:gd name="T55" fmla="*/ 62 h 90"/>
                <a:gd name="T56" fmla="*/ 4 w 96"/>
                <a:gd name="T57" fmla="*/ 56 h 90"/>
                <a:gd name="T58" fmla="*/ 16 w 96"/>
                <a:gd name="T59" fmla="*/ 44 h 90"/>
                <a:gd name="T60" fmla="*/ 29 w 96"/>
                <a:gd name="T61" fmla="*/ 15 h 90"/>
                <a:gd name="T62" fmla="*/ 39 w 96"/>
                <a:gd name="T63" fmla="*/ 6 h 90"/>
                <a:gd name="T64" fmla="*/ 50 w 96"/>
                <a:gd name="T65" fmla="*/ 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96" h="90">
                  <a:moveTo>
                    <a:pt x="50" y="0"/>
                  </a:moveTo>
                  <a:lnTo>
                    <a:pt x="58" y="0"/>
                  </a:lnTo>
                  <a:lnTo>
                    <a:pt x="54" y="4"/>
                  </a:lnTo>
                  <a:lnTo>
                    <a:pt x="48" y="15"/>
                  </a:lnTo>
                  <a:lnTo>
                    <a:pt x="37" y="33"/>
                  </a:lnTo>
                  <a:lnTo>
                    <a:pt x="48" y="27"/>
                  </a:lnTo>
                  <a:lnTo>
                    <a:pt x="56" y="31"/>
                  </a:lnTo>
                  <a:lnTo>
                    <a:pt x="50" y="37"/>
                  </a:lnTo>
                  <a:lnTo>
                    <a:pt x="64" y="40"/>
                  </a:lnTo>
                  <a:lnTo>
                    <a:pt x="70" y="39"/>
                  </a:lnTo>
                  <a:lnTo>
                    <a:pt x="85" y="42"/>
                  </a:lnTo>
                  <a:lnTo>
                    <a:pt x="79" y="56"/>
                  </a:lnTo>
                  <a:lnTo>
                    <a:pt x="91" y="52"/>
                  </a:lnTo>
                  <a:lnTo>
                    <a:pt x="91" y="63"/>
                  </a:lnTo>
                  <a:lnTo>
                    <a:pt x="96" y="73"/>
                  </a:lnTo>
                  <a:lnTo>
                    <a:pt x="91" y="88"/>
                  </a:lnTo>
                  <a:lnTo>
                    <a:pt x="83" y="90"/>
                  </a:lnTo>
                  <a:lnTo>
                    <a:pt x="73" y="87"/>
                  </a:lnTo>
                  <a:lnTo>
                    <a:pt x="77" y="71"/>
                  </a:lnTo>
                  <a:lnTo>
                    <a:pt x="71" y="69"/>
                  </a:lnTo>
                  <a:lnTo>
                    <a:pt x="58" y="85"/>
                  </a:lnTo>
                  <a:lnTo>
                    <a:pt x="48" y="85"/>
                  </a:lnTo>
                  <a:lnTo>
                    <a:pt x="60" y="77"/>
                  </a:lnTo>
                  <a:lnTo>
                    <a:pt x="47" y="71"/>
                  </a:lnTo>
                  <a:lnTo>
                    <a:pt x="31" y="73"/>
                  </a:lnTo>
                  <a:lnTo>
                    <a:pt x="4" y="71"/>
                  </a:lnTo>
                  <a:lnTo>
                    <a:pt x="0" y="67"/>
                  </a:lnTo>
                  <a:lnTo>
                    <a:pt x="8" y="62"/>
                  </a:lnTo>
                  <a:lnTo>
                    <a:pt x="4" y="56"/>
                  </a:lnTo>
                  <a:lnTo>
                    <a:pt x="16" y="44"/>
                  </a:lnTo>
                  <a:lnTo>
                    <a:pt x="29" y="15"/>
                  </a:lnTo>
                  <a:lnTo>
                    <a:pt x="39" y="6"/>
                  </a:lnTo>
                  <a:lnTo>
                    <a:pt x="50" y="0"/>
                  </a:lnTo>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7" name="Freeform 149">
              <a:extLst>
                <a:ext uri="{FF2B5EF4-FFF2-40B4-BE49-F238E27FC236}">
                  <a16:creationId xmlns:a16="http://schemas.microsoft.com/office/drawing/2014/main" id="{0C15CE6C-B4B7-456A-B358-31858AD8783B}"/>
                </a:ext>
              </a:extLst>
            </p:cNvPr>
            <p:cNvSpPr>
              <a:spLocks/>
            </p:cNvSpPr>
            <p:nvPr/>
          </p:nvSpPr>
          <p:spPr bwMode="auto">
            <a:xfrm>
              <a:off x="1423989" y="3169100"/>
              <a:ext cx="42863" cy="61941"/>
            </a:xfrm>
            <a:custGeom>
              <a:avLst/>
              <a:gdLst>
                <a:gd name="T0" fmla="*/ 0 w 27"/>
                <a:gd name="T1" fmla="*/ 0 h 39"/>
                <a:gd name="T2" fmla="*/ 6 w 27"/>
                <a:gd name="T3" fmla="*/ 4 h 39"/>
                <a:gd name="T4" fmla="*/ 19 w 27"/>
                <a:gd name="T5" fmla="*/ 2 h 39"/>
                <a:gd name="T6" fmla="*/ 15 w 27"/>
                <a:gd name="T7" fmla="*/ 25 h 39"/>
                <a:gd name="T8" fmla="*/ 27 w 27"/>
                <a:gd name="T9" fmla="*/ 39 h 39"/>
                <a:gd name="T10" fmla="*/ 23 w 27"/>
                <a:gd name="T11" fmla="*/ 39 h 39"/>
                <a:gd name="T12" fmla="*/ 15 w 27"/>
                <a:gd name="T13" fmla="*/ 31 h 39"/>
                <a:gd name="T14" fmla="*/ 9 w 27"/>
                <a:gd name="T15" fmla="*/ 21 h 39"/>
                <a:gd name="T16" fmla="*/ 0 w 27"/>
                <a:gd name="T17" fmla="*/ 16 h 39"/>
                <a:gd name="T18" fmla="*/ 0 w 27"/>
                <a:gd name="T19" fmla="*/ 8 h 39"/>
                <a:gd name="T20" fmla="*/ 0 w 27"/>
                <a:gd name="T21" fmla="*/ 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 h="39">
                  <a:moveTo>
                    <a:pt x="0" y="0"/>
                  </a:moveTo>
                  <a:lnTo>
                    <a:pt x="6" y="4"/>
                  </a:lnTo>
                  <a:lnTo>
                    <a:pt x="19" y="2"/>
                  </a:lnTo>
                  <a:lnTo>
                    <a:pt x="15" y="25"/>
                  </a:lnTo>
                  <a:lnTo>
                    <a:pt x="27" y="39"/>
                  </a:lnTo>
                  <a:lnTo>
                    <a:pt x="23" y="39"/>
                  </a:lnTo>
                  <a:lnTo>
                    <a:pt x="15" y="31"/>
                  </a:lnTo>
                  <a:lnTo>
                    <a:pt x="9" y="21"/>
                  </a:lnTo>
                  <a:lnTo>
                    <a:pt x="0" y="16"/>
                  </a:lnTo>
                  <a:lnTo>
                    <a:pt x="0" y="8"/>
                  </a:lnTo>
                  <a:lnTo>
                    <a:pt x="0" y="0"/>
                  </a:lnTo>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8" name="Freeform 151">
              <a:extLst>
                <a:ext uri="{FF2B5EF4-FFF2-40B4-BE49-F238E27FC236}">
                  <a16:creationId xmlns:a16="http://schemas.microsoft.com/office/drawing/2014/main" id="{CE01C3DB-EA38-4F59-BB37-845A9E744B1B}"/>
                </a:ext>
              </a:extLst>
            </p:cNvPr>
            <p:cNvSpPr>
              <a:spLocks/>
            </p:cNvSpPr>
            <p:nvPr/>
          </p:nvSpPr>
          <p:spPr bwMode="auto">
            <a:xfrm>
              <a:off x="7497762" y="3162747"/>
              <a:ext cx="69850" cy="247762"/>
            </a:xfrm>
            <a:custGeom>
              <a:avLst/>
              <a:gdLst>
                <a:gd name="T0" fmla="*/ 15 w 44"/>
                <a:gd name="T1" fmla="*/ 0 h 156"/>
                <a:gd name="T2" fmla="*/ 19 w 44"/>
                <a:gd name="T3" fmla="*/ 16 h 156"/>
                <a:gd name="T4" fmla="*/ 23 w 44"/>
                <a:gd name="T5" fmla="*/ 31 h 156"/>
                <a:gd name="T6" fmla="*/ 23 w 44"/>
                <a:gd name="T7" fmla="*/ 50 h 156"/>
                <a:gd name="T8" fmla="*/ 29 w 44"/>
                <a:gd name="T9" fmla="*/ 69 h 156"/>
                <a:gd name="T10" fmla="*/ 44 w 44"/>
                <a:gd name="T11" fmla="*/ 102 h 156"/>
                <a:gd name="T12" fmla="*/ 23 w 44"/>
                <a:gd name="T13" fmla="*/ 94 h 156"/>
                <a:gd name="T14" fmla="*/ 13 w 44"/>
                <a:gd name="T15" fmla="*/ 123 h 156"/>
                <a:gd name="T16" fmla="*/ 27 w 44"/>
                <a:gd name="T17" fmla="*/ 139 h 156"/>
                <a:gd name="T18" fmla="*/ 27 w 44"/>
                <a:gd name="T19" fmla="*/ 152 h 156"/>
                <a:gd name="T20" fmla="*/ 17 w 44"/>
                <a:gd name="T21" fmla="*/ 141 h 156"/>
                <a:gd name="T22" fmla="*/ 8 w 44"/>
                <a:gd name="T23" fmla="*/ 156 h 156"/>
                <a:gd name="T24" fmla="*/ 6 w 44"/>
                <a:gd name="T25" fmla="*/ 141 h 156"/>
                <a:gd name="T26" fmla="*/ 8 w 44"/>
                <a:gd name="T27" fmla="*/ 123 h 156"/>
                <a:gd name="T28" fmla="*/ 6 w 44"/>
                <a:gd name="T29" fmla="*/ 104 h 156"/>
                <a:gd name="T30" fmla="*/ 10 w 44"/>
                <a:gd name="T31" fmla="*/ 91 h 156"/>
                <a:gd name="T32" fmla="*/ 10 w 44"/>
                <a:gd name="T33" fmla="*/ 66 h 156"/>
                <a:gd name="T34" fmla="*/ 0 w 44"/>
                <a:gd name="T35" fmla="*/ 46 h 156"/>
                <a:gd name="T36" fmla="*/ 2 w 44"/>
                <a:gd name="T37" fmla="*/ 22 h 156"/>
                <a:gd name="T38" fmla="*/ 15 w 44"/>
                <a:gd name="T39" fmla="*/ 14 h 156"/>
                <a:gd name="T40" fmla="*/ 10 w 44"/>
                <a:gd name="T41" fmla="*/ 4 h 156"/>
                <a:gd name="T42" fmla="*/ 15 w 44"/>
                <a:gd name="T43" fmla="*/ 0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4" h="156">
                  <a:moveTo>
                    <a:pt x="15" y="0"/>
                  </a:moveTo>
                  <a:lnTo>
                    <a:pt x="19" y="16"/>
                  </a:lnTo>
                  <a:lnTo>
                    <a:pt x="23" y="31"/>
                  </a:lnTo>
                  <a:lnTo>
                    <a:pt x="23" y="50"/>
                  </a:lnTo>
                  <a:lnTo>
                    <a:pt x="29" y="69"/>
                  </a:lnTo>
                  <a:lnTo>
                    <a:pt x="44" y="102"/>
                  </a:lnTo>
                  <a:lnTo>
                    <a:pt x="23" y="94"/>
                  </a:lnTo>
                  <a:lnTo>
                    <a:pt x="13" y="123"/>
                  </a:lnTo>
                  <a:lnTo>
                    <a:pt x="27" y="139"/>
                  </a:lnTo>
                  <a:lnTo>
                    <a:pt x="27" y="152"/>
                  </a:lnTo>
                  <a:lnTo>
                    <a:pt x="17" y="141"/>
                  </a:lnTo>
                  <a:lnTo>
                    <a:pt x="8" y="156"/>
                  </a:lnTo>
                  <a:lnTo>
                    <a:pt x="6" y="141"/>
                  </a:lnTo>
                  <a:lnTo>
                    <a:pt x="8" y="123"/>
                  </a:lnTo>
                  <a:lnTo>
                    <a:pt x="6" y="104"/>
                  </a:lnTo>
                  <a:lnTo>
                    <a:pt x="10" y="91"/>
                  </a:lnTo>
                  <a:lnTo>
                    <a:pt x="10" y="66"/>
                  </a:lnTo>
                  <a:lnTo>
                    <a:pt x="0" y="46"/>
                  </a:lnTo>
                  <a:lnTo>
                    <a:pt x="2" y="22"/>
                  </a:lnTo>
                  <a:lnTo>
                    <a:pt x="15" y="14"/>
                  </a:lnTo>
                  <a:lnTo>
                    <a:pt x="10" y="4"/>
                  </a:lnTo>
                  <a:lnTo>
                    <a:pt x="15" y="0"/>
                  </a:lnTo>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9" name="Freeform 153">
              <a:extLst>
                <a:ext uri="{FF2B5EF4-FFF2-40B4-BE49-F238E27FC236}">
                  <a16:creationId xmlns:a16="http://schemas.microsoft.com/office/drawing/2014/main" id="{53B2BE04-D1FB-46F7-973F-EBAB0B603FCC}"/>
                </a:ext>
              </a:extLst>
            </p:cNvPr>
            <p:cNvSpPr>
              <a:spLocks/>
            </p:cNvSpPr>
            <p:nvPr/>
          </p:nvSpPr>
          <p:spPr bwMode="auto">
            <a:xfrm>
              <a:off x="4146551" y="3142100"/>
              <a:ext cx="98425" cy="103235"/>
            </a:xfrm>
            <a:custGeom>
              <a:avLst/>
              <a:gdLst>
                <a:gd name="T0" fmla="*/ 46 w 62"/>
                <a:gd name="T1" fmla="*/ 0 h 65"/>
                <a:gd name="T2" fmla="*/ 62 w 62"/>
                <a:gd name="T3" fmla="*/ 11 h 65"/>
                <a:gd name="T4" fmla="*/ 52 w 62"/>
                <a:gd name="T5" fmla="*/ 25 h 65"/>
                <a:gd name="T6" fmla="*/ 56 w 62"/>
                <a:gd name="T7" fmla="*/ 38 h 65"/>
                <a:gd name="T8" fmla="*/ 44 w 62"/>
                <a:gd name="T9" fmla="*/ 56 h 65"/>
                <a:gd name="T10" fmla="*/ 20 w 62"/>
                <a:gd name="T11" fmla="*/ 65 h 65"/>
                <a:gd name="T12" fmla="*/ 0 w 62"/>
                <a:gd name="T13" fmla="*/ 63 h 65"/>
                <a:gd name="T14" fmla="*/ 12 w 62"/>
                <a:gd name="T15" fmla="*/ 42 h 65"/>
                <a:gd name="T16" fmla="*/ 4 w 62"/>
                <a:gd name="T17" fmla="*/ 25 h 65"/>
                <a:gd name="T18" fmla="*/ 23 w 62"/>
                <a:gd name="T19" fmla="*/ 10 h 65"/>
                <a:gd name="T20" fmla="*/ 35 w 62"/>
                <a:gd name="T21" fmla="*/ 0 h 65"/>
                <a:gd name="T22" fmla="*/ 46 w 62"/>
                <a:gd name="T23" fmla="*/ 0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2" h="65">
                  <a:moveTo>
                    <a:pt x="46" y="0"/>
                  </a:moveTo>
                  <a:lnTo>
                    <a:pt x="62" y="11"/>
                  </a:lnTo>
                  <a:lnTo>
                    <a:pt x="52" y="25"/>
                  </a:lnTo>
                  <a:lnTo>
                    <a:pt x="56" y="38"/>
                  </a:lnTo>
                  <a:lnTo>
                    <a:pt x="44" y="56"/>
                  </a:lnTo>
                  <a:lnTo>
                    <a:pt x="20" y="65"/>
                  </a:lnTo>
                  <a:lnTo>
                    <a:pt x="0" y="63"/>
                  </a:lnTo>
                  <a:lnTo>
                    <a:pt x="12" y="42"/>
                  </a:lnTo>
                  <a:lnTo>
                    <a:pt x="4" y="25"/>
                  </a:lnTo>
                  <a:lnTo>
                    <a:pt x="23" y="10"/>
                  </a:lnTo>
                  <a:lnTo>
                    <a:pt x="35" y="0"/>
                  </a:lnTo>
                  <a:lnTo>
                    <a:pt x="46" y="0"/>
                  </a:lnTo>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0" name="Freeform 155">
              <a:extLst>
                <a:ext uri="{FF2B5EF4-FFF2-40B4-BE49-F238E27FC236}">
                  <a16:creationId xmlns:a16="http://schemas.microsoft.com/office/drawing/2014/main" id="{2C0E7EF5-8C9D-4449-AE93-DF43A4963A64}"/>
                </a:ext>
              </a:extLst>
            </p:cNvPr>
            <p:cNvSpPr>
              <a:spLocks/>
            </p:cNvSpPr>
            <p:nvPr/>
          </p:nvSpPr>
          <p:spPr bwMode="auto">
            <a:xfrm>
              <a:off x="4610101" y="3111924"/>
              <a:ext cx="39688" cy="39706"/>
            </a:xfrm>
            <a:custGeom>
              <a:avLst/>
              <a:gdLst>
                <a:gd name="T0" fmla="*/ 19 w 25"/>
                <a:gd name="T1" fmla="*/ 0 h 25"/>
                <a:gd name="T2" fmla="*/ 25 w 25"/>
                <a:gd name="T3" fmla="*/ 11 h 25"/>
                <a:gd name="T4" fmla="*/ 17 w 25"/>
                <a:gd name="T5" fmla="*/ 25 h 25"/>
                <a:gd name="T6" fmla="*/ 2 w 25"/>
                <a:gd name="T7" fmla="*/ 13 h 25"/>
                <a:gd name="T8" fmla="*/ 0 w 25"/>
                <a:gd name="T9" fmla="*/ 7 h 25"/>
                <a:gd name="T10" fmla="*/ 19 w 25"/>
                <a:gd name="T11" fmla="*/ 0 h 25"/>
              </a:gdLst>
              <a:ahLst/>
              <a:cxnLst>
                <a:cxn ang="0">
                  <a:pos x="T0" y="T1"/>
                </a:cxn>
                <a:cxn ang="0">
                  <a:pos x="T2" y="T3"/>
                </a:cxn>
                <a:cxn ang="0">
                  <a:pos x="T4" y="T5"/>
                </a:cxn>
                <a:cxn ang="0">
                  <a:pos x="T6" y="T7"/>
                </a:cxn>
                <a:cxn ang="0">
                  <a:pos x="T8" y="T9"/>
                </a:cxn>
                <a:cxn ang="0">
                  <a:pos x="T10" y="T11"/>
                </a:cxn>
              </a:cxnLst>
              <a:rect l="0" t="0" r="r" b="b"/>
              <a:pathLst>
                <a:path w="25" h="25">
                  <a:moveTo>
                    <a:pt x="19" y="0"/>
                  </a:moveTo>
                  <a:lnTo>
                    <a:pt x="25" y="11"/>
                  </a:lnTo>
                  <a:lnTo>
                    <a:pt x="17" y="25"/>
                  </a:lnTo>
                  <a:lnTo>
                    <a:pt x="2" y="13"/>
                  </a:lnTo>
                  <a:lnTo>
                    <a:pt x="0" y="7"/>
                  </a:lnTo>
                  <a:lnTo>
                    <a:pt x="19" y="0"/>
                  </a:lnTo>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1" name="Freeform 157">
              <a:extLst>
                <a:ext uri="{FF2B5EF4-FFF2-40B4-BE49-F238E27FC236}">
                  <a16:creationId xmlns:a16="http://schemas.microsoft.com/office/drawing/2014/main" id="{6EA486AC-56D4-441A-8F67-B6F216ECD80B}"/>
                </a:ext>
              </a:extLst>
            </p:cNvPr>
            <p:cNvSpPr>
              <a:spLocks/>
            </p:cNvSpPr>
            <p:nvPr/>
          </p:nvSpPr>
          <p:spPr bwMode="auto">
            <a:xfrm>
              <a:off x="949327" y="3053159"/>
              <a:ext cx="53975" cy="36530"/>
            </a:xfrm>
            <a:custGeom>
              <a:avLst/>
              <a:gdLst>
                <a:gd name="T0" fmla="*/ 19 w 34"/>
                <a:gd name="T1" fmla="*/ 0 h 23"/>
                <a:gd name="T2" fmla="*/ 30 w 34"/>
                <a:gd name="T3" fmla="*/ 0 h 23"/>
                <a:gd name="T4" fmla="*/ 34 w 34"/>
                <a:gd name="T5" fmla="*/ 8 h 23"/>
                <a:gd name="T6" fmla="*/ 23 w 34"/>
                <a:gd name="T7" fmla="*/ 18 h 23"/>
                <a:gd name="T8" fmla="*/ 9 w 34"/>
                <a:gd name="T9" fmla="*/ 23 h 23"/>
                <a:gd name="T10" fmla="*/ 1 w 34"/>
                <a:gd name="T11" fmla="*/ 20 h 23"/>
                <a:gd name="T12" fmla="*/ 0 w 34"/>
                <a:gd name="T13" fmla="*/ 10 h 23"/>
                <a:gd name="T14" fmla="*/ 11 w 34"/>
                <a:gd name="T15" fmla="*/ 2 h 23"/>
                <a:gd name="T16" fmla="*/ 19 w 34"/>
                <a:gd name="T17"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23">
                  <a:moveTo>
                    <a:pt x="19" y="0"/>
                  </a:moveTo>
                  <a:lnTo>
                    <a:pt x="30" y="0"/>
                  </a:lnTo>
                  <a:lnTo>
                    <a:pt x="34" y="8"/>
                  </a:lnTo>
                  <a:lnTo>
                    <a:pt x="23" y="18"/>
                  </a:lnTo>
                  <a:lnTo>
                    <a:pt x="9" y="23"/>
                  </a:lnTo>
                  <a:lnTo>
                    <a:pt x="1" y="20"/>
                  </a:lnTo>
                  <a:lnTo>
                    <a:pt x="0" y="10"/>
                  </a:lnTo>
                  <a:lnTo>
                    <a:pt x="11" y="2"/>
                  </a:lnTo>
                  <a:lnTo>
                    <a:pt x="19" y="0"/>
                  </a:lnTo>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2" name="Freeform 159">
              <a:extLst>
                <a:ext uri="{FF2B5EF4-FFF2-40B4-BE49-F238E27FC236}">
                  <a16:creationId xmlns:a16="http://schemas.microsoft.com/office/drawing/2014/main" id="{62460E9A-49BE-40A0-AEE1-9FC972292B52}"/>
                </a:ext>
              </a:extLst>
            </p:cNvPr>
            <p:cNvSpPr>
              <a:spLocks/>
            </p:cNvSpPr>
            <p:nvPr/>
          </p:nvSpPr>
          <p:spPr bwMode="auto">
            <a:xfrm>
              <a:off x="4232276" y="3032513"/>
              <a:ext cx="173038" cy="265233"/>
            </a:xfrm>
            <a:custGeom>
              <a:avLst/>
              <a:gdLst>
                <a:gd name="T0" fmla="*/ 44 w 109"/>
                <a:gd name="T1" fmla="*/ 0 h 167"/>
                <a:gd name="T2" fmla="*/ 29 w 109"/>
                <a:gd name="T3" fmla="*/ 23 h 167"/>
                <a:gd name="T4" fmla="*/ 42 w 109"/>
                <a:gd name="T5" fmla="*/ 19 h 167"/>
                <a:gd name="T6" fmla="*/ 60 w 109"/>
                <a:gd name="T7" fmla="*/ 19 h 167"/>
                <a:gd name="T8" fmla="*/ 54 w 109"/>
                <a:gd name="T9" fmla="*/ 34 h 167"/>
                <a:gd name="T10" fmla="*/ 42 w 109"/>
                <a:gd name="T11" fmla="*/ 52 h 167"/>
                <a:gd name="T12" fmla="*/ 58 w 109"/>
                <a:gd name="T13" fmla="*/ 54 h 167"/>
                <a:gd name="T14" fmla="*/ 58 w 109"/>
                <a:gd name="T15" fmla="*/ 56 h 167"/>
                <a:gd name="T16" fmla="*/ 69 w 109"/>
                <a:gd name="T17" fmla="*/ 79 h 167"/>
                <a:gd name="T18" fmla="*/ 79 w 109"/>
                <a:gd name="T19" fmla="*/ 82 h 167"/>
                <a:gd name="T20" fmla="*/ 88 w 109"/>
                <a:gd name="T21" fmla="*/ 104 h 167"/>
                <a:gd name="T22" fmla="*/ 92 w 109"/>
                <a:gd name="T23" fmla="*/ 111 h 167"/>
                <a:gd name="T24" fmla="*/ 109 w 109"/>
                <a:gd name="T25" fmla="*/ 113 h 167"/>
                <a:gd name="T26" fmla="*/ 108 w 109"/>
                <a:gd name="T27" fmla="*/ 127 h 167"/>
                <a:gd name="T28" fmla="*/ 100 w 109"/>
                <a:gd name="T29" fmla="*/ 132 h 167"/>
                <a:gd name="T30" fmla="*/ 106 w 109"/>
                <a:gd name="T31" fmla="*/ 142 h 167"/>
                <a:gd name="T32" fmla="*/ 92 w 109"/>
                <a:gd name="T33" fmla="*/ 150 h 167"/>
                <a:gd name="T34" fmla="*/ 73 w 109"/>
                <a:gd name="T35" fmla="*/ 150 h 167"/>
                <a:gd name="T36" fmla="*/ 50 w 109"/>
                <a:gd name="T37" fmla="*/ 155 h 167"/>
                <a:gd name="T38" fmla="*/ 44 w 109"/>
                <a:gd name="T39" fmla="*/ 151 h 167"/>
                <a:gd name="T40" fmla="*/ 35 w 109"/>
                <a:gd name="T41" fmla="*/ 161 h 167"/>
                <a:gd name="T42" fmla="*/ 21 w 109"/>
                <a:gd name="T43" fmla="*/ 159 h 167"/>
                <a:gd name="T44" fmla="*/ 12 w 109"/>
                <a:gd name="T45" fmla="*/ 167 h 167"/>
                <a:gd name="T46" fmla="*/ 6 w 109"/>
                <a:gd name="T47" fmla="*/ 163 h 167"/>
                <a:gd name="T48" fmla="*/ 25 w 109"/>
                <a:gd name="T49" fmla="*/ 142 h 167"/>
                <a:gd name="T50" fmla="*/ 37 w 109"/>
                <a:gd name="T51" fmla="*/ 138 h 167"/>
                <a:gd name="T52" fmla="*/ 15 w 109"/>
                <a:gd name="T53" fmla="*/ 136 h 167"/>
                <a:gd name="T54" fmla="*/ 12 w 109"/>
                <a:gd name="T55" fmla="*/ 128 h 167"/>
                <a:gd name="T56" fmla="*/ 27 w 109"/>
                <a:gd name="T57" fmla="*/ 123 h 167"/>
                <a:gd name="T58" fmla="*/ 19 w 109"/>
                <a:gd name="T59" fmla="*/ 111 h 167"/>
                <a:gd name="T60" fmla="*/ 21 w 109"/>
                <a:gd name="T61" fmla="*/ 102 h 167"/>
                <a:gd name="T62" fmla="*/ 42 w 109"/>
                <a:gd name="T63" fmla="*/ 102 h 167"/>
                <a:gd name="T64" fmla="*/ 44 w 109"/>
                <a:gd name="T65" fmla="*/ 90 h 167"/>
                <a:gd name="T66" fmla="*/ 35 w 109"/>
                <a:gd name="T67" fmla="*/ 79 h 167"/>
                <a:gd name="T68" fmla="*/ 19 w 109"/>
                <a:gd name="T69" fmla="*/ 75 h 167"/>
                <a:gd name="T70" fmla="*/ 15 w 109"/>
                <a:gd name="T71" fmla="*/ 71 h 167"/>
                <a:gd name="T72" fmla="*/ 21 w 109"/>
                <a:gd name="T73" fmla="*/ 63 h 167"/>
                <a:gd name="T74" fmla="*/ 15 w 109"/>
                <a:gd name="T75" fmla="*/ 57 h 167"/>
                <a:gd name="T76" fmla="*/ 8 w 109"/>
                <a:gd name="T77" fmla="*/ 65 h 167"/>
                <a:gd name="T78" fmla="*/ 8 w 109"/>
                <a:gd name="T79" fmla="*/ 46 h 167"/>
                <a:gd name="T80" fmla="*/ 0 w 109"/>
                <a:gd name="T81" fmla="*/ 36 h 167"/>
                <a:gd name="T82" fmla="*/ 6 w 109"/>
                <a:gd name="T83" fmla="*/ 15 h 167"/>
                <a:gd name="T84" fmla="*/ 15 w 109"/>
                <a:gd name="T85" fmla="*/ 0 h 167"/>
                <a:gd name="T86" fmla="*/ 27 w 109"/>
                <a:gd name="T87" fmla="*/ 2 h 167"/>
                <a:gd name="T88" fmla="*/ 44 w 109"/>
                <a:gd name="T89" fmla="*/ 0 h 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09" h="167">
                  <a:moveTo>
                    <a:pt x="44" y="0"/>
                  </a:moveTo>
                  <a:lnTo>
                    <a:pt x="29" y="23"/>
                  </a:lnTo>
                  <a:lnTo>
                    <a:pt x="42" y="19"/>
                  </a:lnTo>
                  <a:lnTo>
                    <a:pt x="60" y="19"/>
                  </a:lnTo>
                  <a:lnTo>
                    <a:pt x="54" y="34"/>
                  </a:lnTo>
                  <a:lnTo>
                    <a:pt x="42" y="52"/>
                  </a:lnTo>
                  <a:lnTo>
                    <a:pt x="58" y="54"/>
                  </a:lnTo>
                  <a:lnTo>
                    <a:pt x="58" y="56"/>
                  </a:lnTo>
                  <a:lnTo>
                    <a:pt x="69" y="79"/>
                  </a:lnTo>
                  <a:lnTo>
                    <a:pt x="79" y="82"/>
                  </a:lnTo>
                  <a:lnTo>
                    <a:pt x="88" y="104"/>
                  </a:lnTo>
                  <a:lnTo>
                    <a:pt x="92" y="111"/>
                  </a:lnTo>
                  <a:lnTo>
                    <a:pt x="109" y="113"/>
                  </a:lnTo>
                  <a:lnTo>
                    <a:pt x="108" y="127"/>
                  </a:lnTo>
                  <a:lnTo>
                    <a:pt x="100" y="132"/>
                  </a:lnTo>
                  <a:lnTo>
                    <a:pt x="106" y="142"/>
                  </a:lnTo>
                  <a:lnTo>
                    <a:pt x="92" y="150"/>
                  </a:lnTo>
                  <a:lnTo>
                    <a:pt x="73" y="150"/>
                  </a:lnTo>
                  <a:lnTo>
                    <a:pt x="50" y="155"/>
                  </a:lnTo>
                  <a:lnTo>
                    <a:pt x="44" y="151"/>
                  </a:lnTo>
                  <a:lnTo>
                    <a:pt x="35" y="161"/>
                  </a:lnTo>
                  <a:lnTo>
                    <a:pt x="21" y="159"/>
                  </a:lnTo>
                  <a:lnTo>
                    <a:pt x="12" y="167"/>
                  </a:lnTo>
                  <a:lnTo>
                    <a:pt x="6" y="163"/>
                  </a:lnTo>
                  <a:lnTo>
                    <a:pt x="25" y="142"/>
                  </a:lnTo>
                  <a:lnTo>
                    <a:pt x="37" y="138"/>
                  </a:lnTo>
                  <a:lnTo>
                    <a:pt x="15" y="136"/>
                  </a:lnTo>
                  <a:lnTo>
                    <a:pt x="12" y="128"/>
                  </a:lnTo>
                  <a:lnTo>
                    <a:pt x="27" y="123"/>
                  </a:lnTo>
                  <a:lnTo>
                    <a:pt x="19" y="111"/>
                  </a:lnTo>
                  <a:lnTo>
                    <a:pt x="21" y="102"/>
                  </a:lnTo>
                  <a:lnTo>
                    <a:pt x="42" y="102"/>
                  </a:lnTo>
                  <a:lnTo>
                    <a:pt x="44" y="90"/>
                  </a:lnTo>
                  <a:lnTo>
                    <a:pt x="35" y="79"/>
                  </a:lnTo>
                  <a:lnTo>
                    <a:pt x="19" y="75"/>
                  </a:lnTo>
                  <a:lnTo>
                    <a:pt x="15" y="71"/>
                  </a:lnTo>
                  <a:lnTo>
                    <a:pt x="21" y="63"/>
                  </a:lnTo>
                  <a:lnTo>
                    <a:pt x="15" y="57"/>
                  </a:lnTo>
                  <a:lnTo>
                    <a:pt x="8" y="65"/>
                  </a:lnTo>
                  <a:lnTo>
                    <a:pt x="8" y="46"/>
                  </a:lnTo>
                  <a:lnTo>
                    <a:pt x="0" y="36"/>
                  </a:lnTo>
                  <a:lnTo>
                    <a:pt x="6" y="15"/>
                  </a:lnTo>
                  <a:lnTo>
                    <a:pt x="15" y="0"/>
                  </a:lnTo>
                  <a:lnTo>
                    <a:pt x="27" y="2"/>
                  </a:lnTo>
                  <a:lnTo>
                    <a:pt x="44" y="0"/>
                  </a:lnTo>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3" name="Freeform 161">
              <a:extLst>
                <a:ext uri="{FF2B5EF4-FFF2-40B4-BE49-F238E27FC236}">
                  <a16:creationId xmlns:a16="http://schemas.microsoft.com/office/drawing/2014/main" id="{1A020BCE-9C81-4F25-A961-138AFBDEA424}"/>
                </a:ext>
              </a:extLst>
            </p:cNvPr>
            <p:cNvSpPr>
              <a:spLocks/>
            </p:cNvSpPr>
            <p:nvPr/>
          </p:nvSpPr>
          <p:spPr bwMode="auto">
            <a:xfrm>
              <a:off x="2590801" y="2903867"/>
              <a:ext cx="23813" cy="28588"/>
            </a:xfrm>
            <a:custGeom>
              <a:avLst/>
              <a:gdLst>
                <a:gd name="T0" fmla="*/ 7 w 15"/>
                <a:gd name="T1" fmla="*/ 0 h 18"/>
                <a:gd name="T2" fmla="*/ 11 w 15"/>
                <a:gd name="T3" fmla="*/ 2 h 18"/>
                <a:gd name="T4" fmla="*/ 15 w 15"/>
                <a:gd name="T5" fmla="*/ 6 h 18"/>
                <a:gd name="T6" fmla="*/ 9 w 15"/>
                <a:gd name="T7" fmla="*/ 18 h 18"/>
                <a:gd name="T8" fmla="*/ 4 w 15"/>
                <a:gd name="T9" fmla="*/ 16 h 18"/>
                <a:gd name="T10" fmla="*/ 0 w 15"/>
                <a:gd name="T11" fmla="*/ 10 h 18"/>
                <a:gd name="T12" fmla="*/ 0 w 15"/>
                <a:gd name="T13" fmla="*/ 8 h 18"/>
                <a:gd name="T14" fmla="*/ 7 w 15"/>
                <a:gd name="T15" fmla="*/ 0 h 1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 h="18">
                  <a:moveTo>
                    <a:pt x="7" y="0"/>
                  </a:moveTo>
                  <a:lnTo>
                    <a:pt x="11" y="2"/>
                  </a:lnTo>
                  <a:lnTo>
                    <a:pt x="15" y="6"/>
                  </a:lnTo>
                  <a:lnTo>
                    <a:pt x="9" y="18"/>
                  </a:lnTo>
                  <a:lnTo>
                    <a:pt x="4" y="16"/>
                  </a:lnTo>
                  <a:lnTo>
                    <a:pt x="0" y="10"/>
                  </a:lnTo>
                  <a:lnTo>
                    <a:pt x="0" y="8"/>
                  </a:lnTo>
                  <a:lnTo>
                    <a:pt x="7" y="0"/>
                  </a:lnTo>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4" name="Freeform 163">
              <a:extLst>
                <a:ext uri="{FF2B5EF4-FFF2-40B4-BE49-F238E27FC236}">
                  <a16:creationId xmlns:a16="http://schemas.microsoft.com/office/drawing/2014/main" id="{70233644-0091-4120-8A2C-95E335BBCD49}"/>
                </a:ext>
              </a:extLst>
            </p:cNvPr>
            <p:cNvSpPr>
              <a:spLocks/>
            </p:cNvSpPr>
            <p:nvPr/>
          </p:nvSpPr>
          <p:spPr bwMode="auto">
            <a:xfrm>
              <a:off x="2511427" y="2889574"/>
              <a:ext cx="46038" cy="23824"/>
            </a:xfrm>
            <a:custGeom>
              <a:avLst/>
              <a:gdLst>
                <a:gd name="T0" fmla="*/ 9 w 29"/>
                <a:gd name="T1" fmla="*/ 0 h 15"/>
                <a:gd name="T2" fmla="*/ 29 w 29"/>
                <a:gd name="T3" fmla="*/ 0 h 15"/>
                <a:gd name="T4" fmla="*/ 29 w 29"/>
                <a:gd name="T5" fmla="*/ 4 h 15"/>
                <a:gd name="T6" fmla="*/ 11 w 29"/>
                <a:gd name="T7" fmla="*/ 15 h 15"/>
                <a:gd name="T8" fmla="*/ 4 w 29"/>
                <a:gd name="T9" fmla="*/ 15 h 15"/>
                <a:gd name="T10" fmla="*/ 0 w 29"/>
                <a:gd name="T11" fmla="*/ 9 h 15"/>
                <a:gd name="T12" fmla="*/ 9 w 29"/>
                <a:gd name="T13" fmla="*/ 0 h 15"/>
              </a:gdLst>
              <a:ahLst/>
              <a:cxnLst>
                <a:cxn ang="0">
                  <a:pos x="T0" y="T1"/>
                </a:cxn>
                <a:cxn ang="0">
                  <a:pos x="T2" y="T3"/>
                </a:cxn>
                <a:cxn ang="0">
                  <a:pos x="T4" y="T5"/>
                </a:cxn>
                <a:cxn ang="0">
                  <a:pos x="T6" y="T7"/>
                </a:cxn>
                <a:cxn ang="0">
                  <a:pos x="T8" y="T9"/>
                </a:cxn>
                <a:cxn ang="0">
                  <a:pos x="T10" y="T11"/>
                </a:cxn>
                <a:cxn ang="0">
                  <a:pos x="T12" y="T13"/>
                </a:cxn>
              </a:cxnLst>
              <a:rect l="0" t="0" r="r" b="b"/>
              <a:pathLst>
                <a:path w="29" h="15">
                  <a:moveTo>
                    <a:pt x="9" y="0"/>
                  </a:moveTo>
                  <a:lnTo>
                    <a:pt x="29" y="0"/>
                  </a:lnTo>
                  <a:lnTo>
                    <a:pt x="29" y="4"/>
                  </a:lnTo>
                  <a:lnTo>
                    <a:pt x="11" y="15"/>
                  </a:lnTo>
                  <a:lnTo>
                    <a:pt x="4" y="15"/>
                  </a:lnTo>
                  <a:lnTo>
                    <a:pt x="0" y="9"/>
                  </a:lnTo>
                  <a:lnTo>
                    <a:pt x="9" y="0"/>
                  </a:lnTo>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5" name="Freeform 165">
              <a:extLst>
                <a:ext uri="{FF2B5EF4-FFF2-40B4-BE49-F238E27FC236}">
                  <a16:creationId xmlns:a16="http://schemas.microsoft.com/office/drawing/2014/main" id="{E2FDBB79-E536-4759-9D39-582827AB469E}"/>
                </a:ext>
              </a:extLst>
            </p:cNvPr>
            <p:cNvSpPr>
              <a:spLocks/>
            </p:cNvSpPr>
            <p:nvPr/>
          </p:nvSpPr>
          <p:spPr bwMode="auto">
            <a:xfrm>
              <a:off x="2441577" y="2787928"/>
              <a:ext cx="155575" cy="95293"/>
            </a:xfrm>
            <a:custGeom>
              <a:avLst/>
              <a:gdLst>
                <a:gd name="T0" fmla="*/ 17 w 98"/>
                <a:gd name="T1" fmla="*/ 0 h 60"/>
                <a:gd name="T2" fmla="*/ 27 w 98"/>
                <a:gd name="T3" fmla="*/ 2 h 60"/>
                <a:gd name="T4" fmla="*/ 30 w 98"/>
                <a:gd name="T5" fmla="*/ 12 h 60"/>
                <a:gd name="T6" fmla="*/ 38 w 98"/>
                <a:gd name="T7" fmla="*/ 8 h 60"/>
                <a:gd name="T8" fmla="*/ 46 w 98"/>
                <a:gd name="T9" fmla="*/ 14 h 60"/>
                <a:gd name="T10" fmla="*/ 61 w 98"/>
                <a:gd name="T11" fmla="*/ 21 h 60"/>
                <a:gd name="T12" fmla="*/ 77 w 98"/>
                <a:gd name="T13" fmla="*/ 29 h 60"/>
                <a:gd name="T14" fmla="*/ 77 w 98"/>
                <a:gd name="T15" fmla="*/ 41 h 60"/>
                <a:gd name="T16" fmla="*/ 86 w 98"/>
                <a:gd name="T17" fmla="*/ 39 h 60"/>
                <a:gd name="T18" fmla="*/ 98 w 98"/>
                <a:gd name="T19" fmla="*/ 46 h 60"/>
                <a:gd name="T20" fmla="*/ 86 w 98"/>
                <a:gd name="T21" fmla="*/ 52 h 60"/>
                <a:gd name="T22" fmla="*/ 63 w 98"/>
                <a:gd name="T23" fmla="*/ 46 h 60"/>
                <a:gd name="T24" fmla="*/ 55 w 98"/>
                <a:gd name="T25" fmla="*/ 37 h 60"/>
                <a:gd name="T26" fmla="*/ 42 w 98"/>
                <a:gd name="T27" fmla="*/ 48 h 60"/>
                <a:gd name="T28" fmla="*/ 21 w 98"/>
                <a:gd name="T29" fmla="*/ 60 h 60"/>
                <a:gd name="T30" fmla="*/ 17 w 98"/>
                <a:gd name="T31" fmla="*/ 46 h 60"/>
                <a:gd name="T32" fmla="*/ 0 w 98"/>
                <a:gd name="T33" fmla="*/ 48 h 60"/>
                <a:gd name="T34" fmla="*/ 9 w 98"/>
                <a:gd name="T35" fmla="*/ 39 h 60"/>
                <a:gd name="T36" fmla="*/ 11 w 98"/>
                <a:gd name="T37" fmla="*/ 20 h 60"/>
                <a:gd name="T38" fmla="*/ 17 w 98"/>
                <a:gd name="T39" fmla="*/ 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8" h="60">
                  <a:moveTo>
                    <a:pt x="17" y="0"/>
                  </a:moveTo>
                  <a:lnTo>
                    <a:pt x="27" y="2"/>
                  </a:lnTo>
                  <a:lnTo>
                    <a:pt x="30" y="12"/>
                  </a:lnTo>
                  <a:lnTo>
                    <a:pt x="38" y="8"/>
                  </a:lnTo>
                  <a:lnTo>
                    <a:pt x="46" y="14"/>
                  </a:lnTo>
                  <a:lnTo>
                    <a:pt x="61" y="21"/>
                  </a:lnTo>
                  <a:lnTo>
                    <a:pt x="77" y="29"/>
                  </a:lnTo>
                  <a:lnTo>
                    <a:pt x="77" y="41"/>
                  </a:lnTo>
                  <a:lnTo>
                    <a:pt x="86" y="39"/>
                  </a:lnTo>
                  <a:lnTo>
                    <a:pt x="98" y="46"/>
                  </a:lnTo>
                  <a:lnTo>
                    <a:pt x="86" y="52"/>
                  </a:lnTo>
                  <a:lnTo>
                    <a:pt x="63" y="46"/>
                  </a:lnTo>
                  <a:lnTo>
                    <a:pt x="55" y="37"/>
                  </a:lnTo>
                  <a:lnTo>
                    <a:pt x="42" y="48"/>
                  </a:lnTo>
                  <a:lnTo>
                    <a:pt x="21" y="60"/>
                  </a:lnTo>
                  <a:lnTo>
                    <a:pt x="17" y="46"/>
                  </a:lnTo>
                  <a:lnTo>
                    <a:pt x="0" y="48"/>
                  </a:lnTo>
                  <a:lnTo>
                    <a:pt x="9" y="39"/>
                  </a:lnTo>
                  <a:lnTo>
                    <a:pt x="11" y="20"/>
                  </a:lnTo>
                  <a:lnTo>
                    <a:pt x="17" y="0"/>
                  </a:lnTo>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6" name="Freeform 167">
              <a:extLst>
                <a:ext uri="{FF2B5EF4-FFF2-40B4-BE49-F238E27FC236}">
                  <a16:creationId xmlns:a16="http://schemas.microsoft.com/office/drawing/2014/main" id="{6142F183-880B-4F7B-917A-4A4EE1D73DB3}"/>
                </a:ext>
              </a:extLst>
            </p:cNvPr>
            <p:cNvSpPr>
              <a:spLocks/>
            </p:cNvSpPr>
            <p:nvPr/>
          </p:nvSpPr>
          <p:spPr bwMode="auto">
            <a:xfrm>
              <a:off x="3830638" y="2757751"/>
              <a:ext cx="236538" cy="109588"/>
            </a:xfrm>
            <a:custGeom>
              <a:avLst/>
              <a:gdLst>
                <a:gd name="T0" fmla="*/ 113 w 149"/>
                <a:gd name="T1" fmla="*/ 0 h 69"/>
                <a:gd name="T2" fmla="*/ 136 w 149"/>
                <a:gd name="T3" fmla="*/ 2 h 69"/>
                <a:gd name="T4" fmla="*/ 132 w 149"/>
                <a:gd name="T5" fmla="*/ 17 h 69"/>
                <a:gd name="T6" fmla="*/ 149 w 149"/>
                <a:gd name="T7" fmla="*/ 33 h 69"/>
                <a:gd name="T8" fmla="*/ 132 w 149"/>
                <a:gd name="T9" fmla="*/ 50 h 69"/>
                <a:gd name="T10" fmla="*/ 92 w 149"/>
                <a:gd name="T11" fmla="*/ 65 h 69"/>
                <a:gd name="T12" fmla="*/ 78 w 149"/>
                <a:gd name="T13" fmla="*/ 69 h 69"/>
                <a:gd name="T14" fmla="*/ 61 w 149"/>
                <a:gd name="T15" fmla="*/ 65 h 69"/>
                <a:gd name="T16" fmla="*/ 21 w 149"/>
                <a:gd name="T17" fmla="*/ 60 h 69"/>
                <a:gd name="T18" fmla="*/ 36 w 149"/>
                <a:gd name="T19" fmla="*/ 50 h 69"/>
                <a:gd name="T20" fmla="*/ 4 w 149"/>
                <a:gd name="T21" fmla="*/ 37 h 69"/>
                <a:gd name="T22" fmla="*/ 29 w 149"/>
                <a:gd name="T23" fmla="*/ 35 h 69"/>
                <a:gd name="T24" fmla="*/ 29 w 149"/>
                <a:gd name="T25" fmla="*/ 27 h 69"/>
                <a:gd name="T26" fmla="*/ 0 w 149"/>
                <a:gd name="T27" fmla="*/ 23 h 69"/>
                <a:gd name="T28" fmla="*/ 9 w 149"/>
                <a:gd name="T29" fmla="*/ 8 h 69"/>
                <a:gd name="T30" fmla="*/ 30 w 149"/>
                <a:gd name="T31" fmla="*/ 4 h 69"/>
                <a:gd name="T32" fmla="*/ 53 w 149"/>
                <a:gd name="T33" fmla="*/ 19 h 69"/>
                <a:gd name="T34" fmla="*/ 73 w 149"/>
                <a:gd name="T35" fmla="*/ 6 h 69"/>
                <a:gd name="T36" fmla="*/ 92 w 149"/>
                <a:gd name="T37" fmla="*/ 12 h 69"/>
                <a:gd name="T38" fmla="*/ 113 w 149"/>
                <a:gd name="T39" fmla="*/ 0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9" h="69">
                  <a:moveTo>
                    <a:pt x="113" y="0"/>
                  </a:moveTo>
                  <a:lnTo>
                    <a:pt x="136" y="2"/>
                  </a:lnTo>
                  <a:lnTo>
                    <a:pt x="132" y="17"/>
                  </a:lnTo>
                  <a:lnTo>
                    <a:pt x="149" y="33"/>
                  </a:lnTo>
                  <a:lnTo>
                    <a:pt x="132" y="50"/>
                  </a:lnTo>
                  <a:lnTo>
                    <a:pt x="92" y="65"/>
                  </a:lnTo>
                  <a:lnTo>
                    <a:pt x="78" y="69"/>
                  </a:lnTo>
                  <a:lnTo>
                    <a:pt x="61" y="65"/>
                  </a:lnTo>
                  <a:lnTo>
                    <a:pt x="21" y="60"/>
                  </a:lnTo>
                  <a:lnTo>
                    <a:pt x="36" y="50"/>
                  </a:lnTo>
                  <a:lnTo>
                    <a:pt x="4" y="37"/>
                  </a:lnTo>
                  <a:lnTo>
                    <a:pt x="29" y="35"/>
                  </a:lnTo>
                  <a:lnTo>
                    <a:pt x="29" y="27"/>
                  </a:lnTo>
                  <a:lnTo>
                    <a:pt x="0" y="23"/>
                  </a:lnTo>
                  <a:lnTo>
                    <a:pt x="9" y="8"/>
                  </a:lnTo>
                  <a:lnTo>
                    <a:pt x="30" y="4"/>
                  </a:lnTo>
                  <a:lnTo>
                    <a:pt x="53" y="19"/>
                  </a:lnTo>
                  <a:lnTo>
                    <a:pt x="73" y="6"/>
                  </a:lnTo>
                  <a:lnTo>
                    <a:pt x="92" y="12"/>
                  </a:lnTo>
                  <a:lnTo>
                    <a:pt x="113" y="0"/>
                  </a:lnTo>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7" name="Freeform 169">
              <a:extLst>
                <a:ext uri="{FF2B5EF4-FFF2-40B4-BE49-F238E27FC236}">
                  <a16:creationId xmlns:a16="http://schemas.microsoft.com/office/drawing/2014/main" id="{5D7E0446-3028-4393-8FE5-8A86923C0CCA}"/>
                </a:ext>
              </a:extLst>
            </p:cNvPr>
            <p:cNvSpPr>
              <a:spLocks/>
            </p:cNvSpPr>
            <p:nvPr/>
          </p:nvSpPr>
          <p:spPr bwMode="auto">
            <a:xfrm>
              <a:off x="2660651" y="2694222"/>
              <a:ext cx="46038" cy="46059"/>
            </a:xfrm>
            <a:custGeom>
              <a:avLst/>
              <a:gdLst>
                <a:gd name="T0" fmla="*/ 17 w 29"/>
                <a:gd name="T1" fmla="*/ 0 h 29"/>
                <a:gd name="T2" fmla="*/ 29 w 29"/>
                <a:gd name="T3" fmla="*/ 6 h 29"/>
                <a:gd name="T4" fmla="*/ 29 w 29"/>
                <a:gd name="T5" fmla="*/ 11 h 29"/>
                <a:gd name="T6" fmla="*/ 29 w 29"/>
                <a:gd name="T7" fmla="*/ 15 h 29"/>
                <a:gd name="T8" fmla="*/ 27 w 29"/>
                <a:gd name="T9" fmla="*/ 19 h 29"/>
                <a:gd name="T10" fmla="*/ 17 w 29"/>
                <a:gd name="T11" fmla="*/ 27 h 29"/>
                <a:gd name="T12" fmla="*/ 4 w 29"/>
                <a:gd name="T13" fmla="*/ 29 h 29"/>
                <a:gd name="T14" fmla="*/ 0 w 29"/>
                <a:gd name="T15" fmla="*/ 15 h 29"/>
                <a:gd name="T16" fmla="*/ 4 w 29"/>
                <a:gd name="T17" fmla="*/ 2 h 29"/>
                <a:gd name="T18" fmla="*/ 17 w 29"/>
                <a:gd name="T19"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9" h="29">
                  <a:moveTo>
                    <a:pt x="17" y="0"/>
                  </a:moveTo>
                  <a:lnTo>
                    <a:pt x="29" y="6"/>
                  </a:lnTo>
                  <a:lnTo>
                    <a:pt x="29" y="11"/>
                  </a:lnTo>
                  <a:lnTo>
                    <a:pt x="29" y="15"/>
                  </a:lnTo>
                  <a:lnTo>
                    <a:pt x="27" y="19"/>
                  </a:lnTo>
                  <a:lnTo>
                    <a:pt x="17" y="27"/>
                  </a:lnTo>
                  <a:lnTo>
                    <a:pt x="4" y="29"/>
                  </a:lnTo>
                  <a:lnTo>
                    <a:pt x="0" y="15"/>
                  </a:lnTo>
                  <a:lnTo>
                    <a:pt x="4" y="2"/>
                  </a:lnTo>
                  <a:lnTo>
                    <a:pt x="17" y="0"/>
                  </a:lnTo>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8" name="Freeform 171">
              <a:extLst>
                <a:ext uri="{FF2B5EF4-FFF2-40B4-BE49-F238E27FC236}">
                  <a16:creationId xmlns:a16="http://schemas.microsoft.com/office/drawing/2014/main" id="{A919673F-3E5A-4D2D-9ABA-6FD6C6A5471B}"/>
                </a:ext>
              </a:extLst>
            </p:cNvPr>
            <p:cNvSpPr>
              <a:spLocks/>
            </p:cNvSpPr>
            <p:nvPr/>
          </p:nvSpPr>
          <p:spPr bwMode="auto">
            <a:xfrm>
              <a:off x="2160589" y="2621164"/>
              <a:ext cx="92075" cy="53999"/>
            </a:xfrm>
            <a:custGeom>
              <a:avLst/>
              <a:gdLst>
                <a:gd name="T0" fmla="*/ 21 w 58"/>
                <a:gd name="T1" fmla="*/ 0 h 34"/>
                <a:gd name="T2" fmla="*/ 37 w 58"/>
                <a:gd name="T3" fmla="*/ 7 h 34"/>
                <a:gd name="T4" fmla="*/ 44 w 58"/>
                <a:gd name="T5" fmla="*/ 11 h 34"/>
                <a:gd name="T6" fmla="*/ 50 w 58"/>
                <a:gd name="T7" fmla="*/ 17 h 34"/>
                <a:gd name="T8" fmla="*/ 58 w 58"/>
                <a:gd name="T9" fmla="*/ 25 h 34"/>
                <a:gd name="T10" fmla="*/ 50 w 58"/>
                <a:gd name="T11" fmla="*/ 34 h 34"/>
                <a:gd name="T12" fmla="*/ 31 w 58"/>
                <a:gd name="T13" fmla="*/ 27 h 34"/>
                <a:gd name="T14" fmla="*/ 19 w 58"/>
                <a:gd name="T15" fmla="*/ 29 h 34"/>
                <a:gd name="T16" fmla="*/ 0 w 58"/>
                <a:gd name="T17" fmla="*/ 19 h 34"/>
                <a:gd name="T18" fmla="*/ 12 w 58"/>
                <a:gd name="T19" fmla="*/ 9 h 34"/>
                <a:gd name="T20" fmla="*/ 21 w 58"/>
                <a:gd name="T21"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8" h="34">
                  <a:moveTo>
                    <a:pt x="21" y="0"/>
                  </a:moveTo>
                  <a:lnTo>
                    <a:pt x="37" y="7"/>
                  </a:lnTo>
                  <a:lnTo>
                    <a:pt x="44" y="11"/>
                  </a:lnTo>
                  <a:lnTo>
                    <a:pt x="50" y="17"/>
                  </a:lnTo>
                  <a:lnTo>
                    <a:pt x="58" y="25"/>
                  </a:lnTo>
                  <a:lnTo>
                    <a:pt x="50" y="34"/>
                  </a:lnTo>
                  <a:lnTo>
                    <a:pt x="31" y="27"/>
                  </a:lnTo>
                  <a:lnTo>
                    <a:pt x="19" y="29"/>
                  </a:lnTo>
                  <a:lnTo>
                    <a:pt x="0" y="19"/>
                  </a:lnTo>
                  <a:lnTo>
                    <a:pt x="12" y="9"/>
                  </a:lnTo>
                  <a:lnTo>
                    <a:pt x="21" y="0"/>
                  </a:lnTo>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9" name="Freeform 173">
              <a:extLst>
                <a:ext uri="{FF2B5EF4-FFF2-40B4-BE49-F238E27FC236}">
                  <a16:creationId xmlns:a16="http://schemas.microsoft.com/office/drawing/2014/main" id="{D52997DA-CB80-4F9E-AA78-52A63301CD16}"/>
                </a:ext>
              </a:extLst>
            </p:cNvPr>
            <p:cNvSpPr>
              <a:spLocks/>
            </p:cNvSpPr>
            <p:nvPr/>
          </p:nvSpPr>
          <p:spPr bwMode="auto">
            <a:xfrm>
              <a:off x="8320087" y="2562401"/>
              <a:ext cx="82550" cy="31764"/>
            </a:xfrm>
            <a:custGeom>
              <a:avLst/>
              <a:gdLst>
                <a:gd name="T0" fmla="*/ 19 w 52"/>
                <a:gd name="T1" fmla="*/ 0 h 20"/>
                <a:gd name="T2" fmla="*/ 33 w 52"/>
                <a:gd name="T3" fmla="*/ 0 h 20"/>
                <a:gd name="T4" fmla="*/ 52 w 52"/>
                <a:gd name="T5" fmla="*/ 10 h 20"/>
                <a:gd name="T6" fmla="*/ 50 w 52"/>
                <a:gd name="T7" fmla="*/ 12 h 20"/>
                <a:gd name="T8" fmla="*/ 37 w 52"/>
                <a:gd name="T9" fmla="*/ 18 h 20"/>
                <a:gd name="T10" fmla="*/ 19 w 52"/>
                <a:gd name="T11" fmla="*/ 20 h 20"/>
                <a:gd name="T12" fmla="*/ 4 w 52"/>
                <a:gd name="T13" fmla="*/ 20 h 20"/>
                <a:gd name="T14" fmla="*/ 0 w 52"/>
                <a:gd name="T15" fmla="*/ 12 h 20"/>
                <a:gd name="T16" fmla="*/ 19 w 52"/>
                <a:gd name="T17" fmla="*/ 2 h 20"/>
                <a:gd name="T18" fmla="*/ 19 w 52"/>
                <a:gd name="T1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2" h="20">
                  <a:moveTo>
                    <a:pt x="19" y="0"/>
                  </a:moveTo>
                  <a:lnTo>
                    <a:pt x="33" y="0"/>
                  </a:lnTo>
                  <a:lnTo>
                    <a:pt x="52" y="10"/>
                  </a:lnTo>
                  <a:lnTo>
                    <a:pt x="50" y="12"/>
                  </a:lnTo>
                  <a:lnTo>
                    <a:pt x="37" y="18"/>
                  </a:lnTo>
                  <a:lnTo>
                    <a:pt x="19" y="20"/>
                  </a:lnTo>
                  <a:lnTo>
                    <a:pt x="4" y="20"/>
                  </a:lnTo>
                  <a:lnTo>
                    <a:pt x="0" y="12"/>
                  </a:lnTo>
                  <a:lnTo>
                    <a:pt x="19" y="2"/>
                  </a:lnTo>
                  <a:lnTo>
                    <a:pt x="19" y="0"/>
                  </a:lnTo>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0" name="Freeform 175">
              <a:extLst>
                <a:ext uri="{FF2B5EF4-FFF2-40B4-BE49-F238E27FC236}">
                  <a16:creationId xmlns:a16="http://schemas.microsoft.com/office/drawing/2014/main" id="{AAEA2BAD-FEF1-45B6-8E07-4175D95DE49F}"/>
                </a:ext>
              </a:extLst>
            </p:cNvPr>
            <p:cNvSpPr>
              <a:spLocks/>
            </p:cNvSpPr>
            <p:nvPr/>
          </p:nvSpPr>
          <p:spPr bwMode="auto">
            <a:xfrm>
              <a:off x="649289" y="2548106"/>
              <a:ext cx="2952749" cy="3276493"/>
            </a:xfrm>
            <a:custGeom>
              <a:avLst/>
              <a:gdLst>
                <a:gd name="T0" fmla="*/ 1221 w 1860"/>
                <a:gd name="T1" fmla="*/ 1128 h 2063"/>
                <a:gd name="T2" fmla="*/ 1173 w 1860"/>
                <a:gd name="T3" fmla="*/ 1101 h 2063"/>
                <a:gd name="T4" fmla="*/ 1138 w 1860"/>
                <a:gd name="T5" fmla="*/ 1067 h 2063"/>
                <a:gd name="T6" fmla="*/ 1081 w 1860"/>
                <a:gd name="T7" fmla="*/ 1036 h 2063"/>
                <a:gd name="T8" fmla="*/ 927 w 1860"/>
                <a:gd name="T9" fmla="*/ 982 h 2063"/>
                <a:gd name="T10" fmla="*/ 864 w 1860"/>
                <a:gd name="T11" fmla="*/ 908 h 2063"/>
                <a:gd name="T12" fmla="*/ 766 w 1860"/>
                <a:gd name="T13" fmla="*/ 789 h 2063"/>
                <a:gd name="T14" fmla="*/ 778 w 1860"/>
                <a:gd name="T15" fmla="*/ 838 h 2063"/>
                <a:gd name="T16" fmla="*/ 787 w 1860"/>
                <a:gd name="T17" fmla="*/ 883 h 2063"/>
                <a:gd name="T18" fmla="*/ 733 w 1860"/>
                <a:gd name="T19" fmla="*/ 806 h 2063"/>
                <a:gd name="T20" fmla="*/ 636 w 1860"/>
                <a:gd name="T21" fmla="*/ 683 h 2063"/>
                <a:gd name="T22" fmla="*/ 607 w 1860"/>
                <a:gd name="T23" fmla="*/ 499 h 2063"/>
                <a:gd name="T24" fmla="*/ 524 w 1860"/>
                <a:gd name="T25" fmla="*/ 380 h 2063"/>
                <a:gd name="T26" fmla="*/ 279 w 1860"/>
                <a:gd name="T27" fmla="*/ 263 h 2063"/>
                <a:gd name="T28" fmla="*/ 179 w 1860"/>
                <a:gd name="T29" fmla="*/ 322 h 2063"/>
                <a:gd name="T30" fmla="*/ 106 w 1860"/>
                <a:gd name="T31" fmla="*/ 357 h 2063"/>
                <a:gd name="T32" fmla="*/ 87 w 1860"/>
                <a:gd name="T33" fmla="*/ 291 h 2063"/>
                <a:gd name="T34" fmla="*/ 104 w 1860"/>
                <a:gd name="T35" fmla="*/ 195 h 2063"/>
                <a:gd name="T36" fmla="*/ 60 w 1860"/>
                <a:gd name="T37" fmla="*/ 142 h 2063"/>
                <a:gd name="T38" fmla="*/ 162 w 1860"/>
                <a:gd name="T39" fmla="*/ 17 h 2063"/>
                <a:gd name="T40" fmla="*/ 426 w 1860"/>
                <a:gd name="T41" fmla="*/ 75 h 2063"/>
                <a:gd name="T42" fmla="*/ 634 w 1860"/>
                <a:gd name="T43" fmla="*/ 53 h 2063"/>
                <a:gd name="T44" fmla="*/ 854 w 1860"/>
                <a:gd name="T45" fmla="*/ 80 h 2063"/>
                <a:gd name="T46" fmla="*/ 1029 w 1860"/>
                <a:gd name="T47" fmla="*/ 73 h 2063"/>
                <a:gd name="T48" fmla="*/ 1127 w 1860"/>
                <a:gd name="T49" fmla="*/ 119 h 2063"/>
                <a:gd name="T50" fmla="*/ 1129 w 1860"/>
                <a:gd name="T51" fmla="*/ 163 h 2063"/>
                <a:gd name="T52" fmla="*/ 1102 w 1860"/>
                <a:gd name="T53" fmla="*/ 339 h 2063"/>
                <a:gd name="T54" fmla="*/ 1253 w 1860"/>
                <a:gd name="T55" fmla="*/ 374 h 2063"/>
                <a:gd name="T56" fmla="*/ 1348 w 1860"/>
                <a:gd name="T57" fmla="*/ 251 h 2063"/>
                <a:gd name="T58" fmla="*/ 1536 w 1860"/>
                <a:gd name="T59" fmla="*/ 378 h 2063"/>
                <a:gd name="T60" fmla="*/ 1388 w 1860"/>
                <a:gd name="T61" fmla="*/ 487 h 2063"/>
                <a:gd name="T62" fmla="*/ 1511 w 1860"/>
                <a:gd name="T63" fmla="*/ 543 h 2063"/>
                <a:gd name="T64" fmla="*/ 1355 w 1860"/>
                <a:gd name="T65" fmla="*/ 595 h 2063"/>
                <a:gd name="T66" fmla="*/ 1340 w 1860"/>
                <a:gd name="T67" fmla="*/ 627 h 2063"/>
                <a:gd name="T68" fmla="*/ 1284 w 1860"/>
                <a:gd name="T69" fmla="*/ 689 h 2063"/>
                <a:gd name="T70" fmla="*/ 1253 w 1860"/>
                <a:gd name="T71" fmla="*/ 739 h 2063"/>
                <a:gd name="T72" fmla="*/ 1227 w 1860"/>
                <a:gd name="T73" fmla="*/ 863 h 2063"/>
                <a:gd name="T74" fmla="*/ 1148 w 1860"/>
                <a:gd name="T75" fmla="*/ 798 h 2063"/>
                <a:gd name="T76" fmla="*/ 1044 w 1860"/>
                <a:gd name="T77" fmla="*/ 804 h 2063"/>
                <a:gd name="T78" fmla="*/ 985 w 1860"/>
                <a:gd name="T79" fmla="*/ 929 h 2063"/>
                <a:gd name="T80" fmla="*/ 1094 w 1860"/>
                <a:gd name="T81" fmla="*/ 931 h 2063"/>
                <a:gd name="T82" fmla="*/ 1113 w 1860"/>
                <a:gd name="T83" fmla="*/ 975 h 2063"/>
                <a:gd name="T84" fmla="*/ 1123 w 1860"/>
                <a:gd name="T85" fmla="*/ 1007 h 2063"/>
                <a:gd name="T86" fmla="*/ 1181 w 1860"/>
                <a:gd name="T87" fmla="*/ 1015 h 2063"/>
                <a:gd name="T88" fmla="*/ 1177 w 1860"/>
                <a:gd name="T89" fmla="*/ 1078 h 2063"/>
                <a:gd name="T90" fmla="*/ 1248 w 1860"/>
                <a:gd name="T91" fmla="*/ 1099 h 2063"/>
                <a:gd name="T92" fmla="*/ 1344 w 1860"/>
                <a:gd name="T93" fmla="*/ 1055 h 2063"/>
                <a:gd name="T94" fmla="*/ 1363 w 1860"/>
                <a:gd name="T95" fmla="*/ 1065 h 2063"/>
                <a:gd name="T96" fmla="*/ 1474 w 1860"/>
                <a:gd name="T97" fmla="*/ 1090 h 2063"/>
                <a:gd name="T98" fmla="*/ 1591 w 1860"/>
                <a:gd name="T99" fmla="*/ 1151 h 2063"/>
                <a:gd name="T100" fmla="*/ 1693 w 1860"/>
                <a:gd name="T101" fmla="*/ 1243 h 2063"/>
                <a:gd name="T102" fmla="*/ 1846 w 1860"/>
                <a:gd name="T103" fmla="*/ 1364 h 2063"/>
                <a:gd name="T104" fmla="*/ 1743 w 1860"/>
                <a:gd name="T105" fmla="*/ 1556 h 2063"/>
                <a:gd name="T106" fmla="*/ 1601 w 1860"/>
                <a:gd name="T107" fmla="*/ 1719 h 2063"/>
                <a:gd name="T108" fmla="*/ 1490 w 1860"/>
                <a:gd name="T109" fmla="*/ 1802 h 2063"/>
                <a:gd name="T110" fmla="*/ 1434 w 1860"/>
                <a:gd name="T111" fmla="*/ 1892 h 2063"/>
                <a:gd name="T112" fmla="*/ 1376 w 1860"/>
                <a:gd name="T113" fmla="*/ 2032 h 2063"/>
                <a:gd name="T114" fmla="*/ 1301 w 1860"/>
                <a:gd name="T115" fmla="*/ 1915 h 2063"/>
                <a:gd name="T116" fmla="*/ 1348 w 1860"/>
                <a:gd name="T117" fmla="*/ 1698 h 2063"/>
                <a:gd name="T118" fmla="*/ 1278 w 1860"/>
                <a:gd name="T119" fmla="*/ 1424 h 2063"/>
                <a:gd name="T120" fmla="*/ 1223 w 1860"/>
                <a:gd name="T121" fmla="*/ 1268 h 2063"/>
                <a:gd name="T122" fmla="*/ 1263 w 1860"/>
                <a:gd name="T123" fmla="*/ 1184 h 20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60" h="2063">
                  <a:moveTo>
                    <a:pt x="1257" y="1128"/>
                  </a:moveTo>
                  <a:lnTo>
                    <a:pt x="1253" y="1126"/>
                  </a:lnTo>
                  <a:lnTo>
                    <a:pt x="1250" y="1117"/>
                  </a:lnTo>
                  <a:lnTo>
                    <a:pt x="1253" y="1115"/>
                  </a:lnTo>
                  <a:lnTo>
                    <a:pt x="1250" y="1115"/>
                  </a:lnTo>
                  <a:lnTo>
                    <a:pt x="1246" y="1109"/>
                  </a:lnTo>
                  <a:lnTo>
                    <a:pt x="1240" y="1105"/>
                  </a:lnTo>
                  <a:lnTo>
                    <a:pt x="1234" y="1105"/>
                  </a:lnTo>
                  <a:lnTo>
                    <a:pt x="1232" y="1111"/>
                  </a:lnTo>
                  <a:lnTo>
                    <a:pt x="1227" y="1115"/>
                  </a:lnTo>
                  <a:lnTo>
                    <a:pt x="1223" y="1115"/>
                  </a:lnTo>
                  <a:lnTo>
                    <a:pt x="1221" y="1117"/>
                  </a:lnTo>
                  <a:lnTo>
                    <a:pt x="1229" y="1126"/>
                  </a:lnTo>
                  <a:lnTo>
                    <a:pt x="1225" y="1128"/>
                  </a:lnTo>
                  <a:lnTo>
                    <a:pt x="1221" y="1128"/>
                  </a:lnTo>
                  <a:lnTo>
                    <a:pt x="1215" y="1128"/>
                  </a:lnTo>
                  <a:lnTo>
                    <a:pt x="1213" y="1121"/>
                  </a:lnTo>
                  <a:lnTo>
                    <a:pt x="1211" y="1124"/>
                  </a:lnTo>
                  <a:lnTo>
                    <a:pt x="1206" y="1122"/>
                  </a:lnTo>
                  <a:lnTo>
                    <a:pt x="1206" y="1117"/>
                  </a:lnTo>
                  <a:lnTo>
                    <a:pt x="1198" y="1115"/>
                  </a:lnTo>
                  <a:lnTo>
                    <a:pt x="1194" y="1115"/>
                  </a:lnTo>
                  <a:lnTo>
                    <a:pt x="1188" y="1115"/>
                  </a:lnTo>
                  <a:lnTo>
                    <a:pt x="1188" y="1117"/>
                  </a:lnTo>
                  <a:lnTo>
                    <a:pt x="1186" y="1115"/>
                  </a:lnTo>
                  <a:lnTo>
                    <a:pt x="1179" y="1113"/>
                  </a:lnTo>
                  <a:lnTo>
                    <a:pt x="1177" y="1109"/>
                  </a:lnTo>
                  <a:lnTo>
                    <a:pt x="1177" y="1107"/>
                  </a:lnTo>
                  <a:lnTo>
                    <a:pt x="1177" y="1105"/>
                  </a:lnTo>
                  <a:lnTo>
                    <a:pt x="1173" y="1101"/>
                  </a:lnTo>
                  <a:lnTo>
                    <a:pt x="1167" y="1098"/>
                  </a:lnTo>
                  <a:lnTo>
                    <a:pt x="1163" y="1096"/>
                  </a:lnTo>
                  <a:lnTo>
                    <a:pt x="1163" y="1092"/>
                  </a:lnTo>
                  <a:lnTo>
                    <a:pt x="1159" y="1088"/>
                  </a:lnTo>
                  <a:lnTo>
                    <a:pt x="1159" y="1094"/>
                  </a:lnTo>
                  <a:lnTo>
                    <a:pt x="1156" y="1098"/>
                  </a:lnTo>
                  <a:lnTo>
                    <a:pt x="1154" y="1092"/>
                  </a:lnTo>
                  <a:lnTo>
                    <a:pt x="1148" y="1092"/>
                  </a:lnTo>
                  <a:lnTo>
                    <a:pt x="1148" y="1088"/>
                  </a:lnTo>
                  <a:lnTo>
                    <a:pt x="1148" y="1084"/>
                  </a:lnTo>
                  <a:lnTo>
                    <a:pt x="1148" y="1080"/>
                  </a:lnTo>
                  <a:lnTo>
                    <a:pt x="1144" y="1078"/>
                  </a:lnTo>
                  <a:lnTo>
                    <a:pt x="1148" y="1076"/>
                  </a:lnTo>
                  <a:lnTo>
                    <a:pt x="1144" y="1071"/>
                  </a:lnTo>
                  <a:lnTo>
                    <a:pt x="1138" y="1067"/>
                  </a:lnTo>
                  <a:lnTo>
                    <a:pt x="1135" y="1061"/>
                  </a:lnTo>
                  <a:lnTo>
                    <a:pt x="1129" y="1055"/>
                  </a:lnTo>
                  <a:lnTo>
                    <a:pt x="1121" y="1050"/>
                  </a:lnTo>
                  <a:lnTo>
                    <a:pt x="1123" y="1048"/>
                  </a:lnTo>
                  <a:lnTo>
                    <a:pt x="1125" y="1050"/>
                  </a:lnTo>
                  <a:lnTo>
                    <a:pt x="1127" y="1050"/>
                  </a:lnTo>
                  <a:lnTo>
                    <a:pt x="1125" y="1044"/>
                  </a:lnTo>
                  <a:lnTo>
                    <a:pt x="1119" y="1042"/>
                  </a:lnTo>
                  <a:lnTo>
                    <a:pt x="1117" y="1046"/>
                  </a:lnTo>
                  <a:lnTo>
                    <a:pt x="1110" y="1046"/>
                  </a:lnTo>
                  <a:lnTo>
                    <a:pt x="1104" y="1046"/>
                  </a:lnTo>
                  <a:lnTo>
                    <a:pt x="1100" y="1042"/>
                  </a:lnTo>
                  <a:lnTo>
                    <a:pt x="1090" y="1040"/>
                  </a:lnTo>
                  <a:lnTo>
                    <a:pt x="1087" y="1038"/>
                  </a:lnTo>
                  <a:lnTo>
                    <a:pt x="1081" y="1036"/>
                  </a:lnTo>
                  <a:lnTo>
                    <a:pt x="1071" y="1036"/>
                  </a:lnTo>
                  <a:lnTo>
                    <a:pt x="1065" y="1032"/>
                  </a:lnTo>
                  <a:lnTo>
                    <a:pt x="1058" y="1026"/>
                  </a:lnTo>
                  <a:lnTo>
                    <a:pt x="1042" y="1011"/>
                  </a:lnTo>
                  <a:lnTo>
                    <a:pt x="1035" y="1007"/>
                  </a:lnTo>
                  <a:lnTo>
                    <a:pt x="1025" y="1003"/>
                  </a:lnTo>
                  <a:lnTo>
                    <a:pt x="1016" y="1003"/>
                  </a:lnTo>
                  <a:lnTo>
                    <a:pt x="1004" y="1009"/>
                  </a:lnTo>
                  <a:lnTo>
                    <a:pt x="996" y="1011"/>
                  </a:lnTo>
                  <a:lnTo>
                    <a:pt x="987" y="1007"/>
                  </a:lnTo>
                  <a:lnTo>
                    <a:pt x="977" y="1003"/>
                  </a:lnTo>
                  <a:lnTo>
                    <a:pt x="964" y="998"/>
                  </a:lnTo>
                  <a:lnTo>
                    <a:pt x="954" y="996"/>
                  </a:lnTo>
                  <a:lnTo>
                    <a:pt x="939" y="988"/>
                  </a:lnTo>
                  <a:lnTo>
                    <a:pt x="927" y="982"/>
                  </a:lnTo>
                  <a:lnTo>
                    <a:pt x="922" y="979"/>
                  </a:lnTo>
                  <a:lnTo>
                    <a:pt x="916" y="977"/>
                  </a:lnTo>
                  <a:lnTo>
                    <a:pt x="900" y="973"/>
                  </a:lnTo>
                  <a:lnTo>
                    <a:pt x="895" y="967"/>
                  </a:lnTo>
                  <a:lnTo>
                    <a:pt x="881" y="959"/>
                  </a:lnTo>
                  <a:lnTo>
                    <a:pt x="874" y="948"/>
                  </a:lnTo>
                  <a:lnTo>
                    <a:pt x="870" y="942"/>
                  </a:lnTo>
                  <a:lnTo>
                    <a:pt x="875" y="940"/>
                  </a:lnTo>
                  <a:lnTo>
                    <a:pt x="874" y="936"/>
                  </a:lnTo>
                  <a:lnTo>
                    <a:pt x="877" y="934"/>
                  </a:lnTo>
                  <a:lnTo>
                    <a:pt x="877" y="931"/>
                  </a:lnTo>
                  <a:lnTo>
                    <a:pt x="877" y="927"/>
                  </a:lnTo>
                  <a:lnTo>
                    <a:pt x="872" y="923"/>
                  </a:lnTo>
                  <a:lnTo>
                    <a:pt x="870" y="915"/>
                  </a:lnTo>
                  <a:lnTo>
                    <a:pt x="864" y="908"/>
                  </a:lnTo>
                  <a:lnTo>
                    <a:pt x="854" y="894"/>
                  </a:lnTo>
                  <a:lnTo>
                    <a:pt x="839" y="883"/>
                  </a:lnTo>
                  <a:lnTo>
                    <a:pt x="833" y="873"/>
                  </a:lnTo>
                  <a:lnTo>
                    <a:pt x="820" y="867"/>
                  </a:lnTo>
                  <a:lnTo>
                    <a:pt x="818" y="863"/>
                  </a:lnTo>
                  <a:lnTo>
                    <a:pt x="820" y="854"/>
                  </a:lnTo>
                  <a:lnTo>
                    <a:pt x="814" y="850"/>
                  </a:lnTo>
                  <a:lnTo>
                    <a:pt x="804" y="842"/>
                  </a:lnTo>
                  <a:lnTo>
                    <a:pt x="801" y="833"/>
                  </a:lnTo>
                  <a:lnTo>
                    <a:pt x="793" y="831"/>
                  </a:lnTo>
                  <a:lnTo>
                    <a:pt x="787" y="823"/>
                  </a:lnTo>
                  <a:lnTo>
                    <a:pt x="780" y="817"/>
                  </a:lnTo>
                  <a:lnTo>
                    <a:pt x="778" y="812"/>
                  </a:lnTo>
                  <a:lnTo>
                    <a:pt x="772" y="800"/>
                  </a:lnTo>
                  <a:lnTo>
                    <a:pt x="766" y="789"/>
                  </a:lnTo>
                  <a:lnTo>
                    <a:pt x="766" y="781"/>
                  </a:lnTo>
                  <a:lnTo>
                    <a:pt x="757" y="777"/>
                  </a:lnTo>
                  <a:lnTo>
                    <a:pt x="751" y="777"/>
                  </a:lnTo>
                  <a:lnTo>
                    <a:pt x="743" y="773"/>
                  </a:lnTo>
                  <a:lnTo>
                    <a:pt x="741" y="779"/>
                  </a:lnTo>
                  <a:lnTo>
                    <a:pt x="743" y="787"/>
                  </a:lnTo>
                  <a:lnTo>
                    <a:pt x="745" y="798"/>
                  </a:lnTo>
                  <a:lnTo>
                    <a:pt x="751" y="804"/>
                  </a:lnTo>
                  <a:lnTo>
                    <a:pt x="760" y="815"/>
                  </a:lnTo>
                  <a:lnTo>
                    <a:pt x="762" y="819"/>
                  </a:lnTo>
                  <a:lnTo>
                    <a:pt x="764" y="819"/>
                  </a:lnTo>
                  <a:lnTo>
                    <a:pt x="766" y="825"/>
                  </a:lnTo>
                  <a:lnTo>
                    <a:pt x="770" y="823"/>
                  </a:lnTo>
                  <a:lnTo>
                    <a:pt x="772" y="833"/>
                  </a:lnTo>
                  <a:lnTo>
                    <a:pt x="778" y="838"/>
                  </a:lnTo>
                  <a:lnTo>
                    <a:pt x="780" y="842"/>
                  </a:lnTo>
                  <a:lnTo>
                    <a:pt x="787" y="850"/>
                  </a:lnTo>
                  <a:lnTo>
                    <a:pt x="793" y="865"/>
                  </a:lnTo>
                  <a:lnTo>
                    <a:pt x="797" y="869"/>
                  </a:lnTo>
                  <a:lnTo>
                    <a:pt x="799" y="879"/>
                  </a:lnTo>
                  <a:lnTo>
                    <a:pt x="801" y="884"/>
                  </a:lnTo>
                  <a:lnTo>
                    <a:pt x="808" y="886"/>
                  </a:lnTo>
                  <a:lnTo>
                    <a:pt x="814" y="894"/>
                  </a:lnTo>
                  <a:lnTo>
                    <a:pt x="818" y="898"/>
                  </a:lnTo>
                  <a:lnTo>
                    <a:pt x="818" y="902"/>
                  </a:lnTo>
                  <a:lnTo>
                    <a:pt x="812" y="908"/>
                  </a:lnTo>
                  <a:lnTo>
                    <a:pt x="810" y="908"/>
                  </a:lnTo>
                  <a:lnTo>
                    <a:pt x="806" y="898"/>
                  </a:lnTo>
                  <a:lnTo>
                    <a:pt x="797" y="890"/>
                  </a:lnTo>
                  <a:lnTo>
                    <a:pt x="787" y="883"/>
                  </a:lnTo>
                  <a:lnTo>
                    <a:pt x="780" y="879"/>
                  </a:lnTo>
                  <a:lnTo>
                    <a:pt x="780" y="869"/>
                  </a:lnTo>
                  <a:lnTo>
                    <a:pt x="778" y="860"/>
                  </a:lnTo>
                  <a:lnTo>
                    <a:pt x="772" y="856"/>
                  </a:lnTo>
                  <a:lnTo>
                    <a:pt x="760" y="848"/>
                  </a:lnTo>
                  <a:lnTo>
                    <a:pt x="760" y="850"/>
                  </a:lnTo>
                  <a:lnTo>
                    <a:pt x="757" y="846"/>
                  </a:lnTo>
                  <a:lnTo>
                    <a:pt x="749" y="842"/>
                  </a:lnTo>
                  <a:lnTo>
                    <a:pt x="739" y="835"/>
                  </a:lnTo>
                  <a:lnTo>
                    <a:pt x="741" y="833"/>
                  </a:lnTo>
                  <a:lnTo>
                    <a:pt x="747" y="835"/>
                  </a:lnTo>
                  <a:lnTo>
                    <a:pt x="751" y="829"/>
                  </a:lnTo>
                  <a:lnTo>
                    <a:pt x="753" y="821"/>
                  </a:lnTo>
                  <a:lnTo>
                    <a:pt x="741" y="812"/>
                  </a:lnTo>
                  <a:lnTo>
                    <a:pt x="733" y="806"/>
                  </a:lnTo>
                  <a:lnTo>
                    <a:pt x="728" y="798"/>
                  </a:lnTo>
                  <a:lnTo>
                    <a:pt x="722" y="789"/>
                  </a:lnTo>
                  <a:lnTo>
                    <a:pt x="716" y="775"/>
                  </a:lnTo>
                  <a:lnTo>
                    <a:pt x="712" y="762"/>
                  </a:lnTo>
                  <a:lnTo>
                    <a:pt x="709" y="754"/>
                  </a:lnTo>
                  <a:lnTo>
                    <a:pt x="699" y="744"/>
                  </a:lnTo>
                  <a:lnTo>
                    <a:pt x="693" y="742"/>
                  </a:lnTo>
                  <a:lnTo>
                    <a:pt x="691" y="739"/>
                  </a:lnTo>
                  <a:lnTo>
                    <a:pt x="684" y="739"/>
                  </a:lnTo>
                  <a:lnTo>
                    <a:pt x="680" y="733"/>
                  </a:lnTo>
                  <a:lnTo>
                    <a:pt x="666" y="731"/>
                  </a:lnTo>
                  <a:lnTo>
                    <a:pt x="662" y="729"/>
                  </a:lnTo>
                  <a:lnTo>
                    <a:pt x="661" y="719"/>
                  </a:lnTo>
                  <a:lnTo>
                    <a:pt x="647" y="704"/>
                  </a:lnTo>
                  <a:lnTo>
                    <a:pt x="636" y="683"/>
                  </a:lnTo>
                  <a:lnTo>
                    <a:pt x="636" y="677"/>
                  </a:lnTo>
                  <a:lnTo>
                    <a:pt x="630" y="673"/>
                  </a:lnTo>
                  <a:lnTo>
                    <a:pt x="618" y="660"/>
                  </a:lnTo>
                  <a:lnTo>
                    <a:pt x="616" y="646"/>
                  </a:lnTo>
                  <a:lnTo>
                    <a:pt x="609" y="637"/>
                  </a:lnTo>
                  <a:lnTo>
                    <a:pt x="613" y="623"/>
                  </a:lnTo>
                  <a:lnTo>
                    <a:pt x="613" y="610"/>
                  </a:lnTo>
                  <a:lnTo>
                    <a:pt x="607" y="595"/>
                  </a:lnTo>
                  <a:lnTo>
                    <a:pt x="613" y="581"/>
                  </a:lnTo>
                  <a:lnTo>
                    <a:pt x="616" y="564"/>
                  </a:lnTo>
                  <a:lnTo>
                    <a:pt x="616" y="549"/>
                  </a:lnTo>
                  <a:lnTo>
                    <a:pt x="615" y="526"/>
                  </a:lnTo>
                  <a:lnTo>
                    <a:pt x="609" y="510"/>
                  </a:lnTo>
                  <a:lnTo>
                    <a:pt x="607" y="503"/>
                  </a:lnTo>
                  <a:lnTo>
                    <a:pt x="607" y="499"/>
                  </a:lnTo>
                  <a:lnTo>
                    <a:pt x="628" y="506"/>
                  </a:lnTo>
                  <a:lnTo>
                    <a:pt x="634" y="522"/>
                  </a:lnTo>
                  <a:lnTo>
                    <a:pt x="638" y="518"/>
                  </a:lnTo>
                  <a:lnTo>
                    <a:pt x="636" y="503"/>
                  </a:lnTo>
                  <a:lnTo>
                    <a:pt x="632" y="489"/>
                  </a:lnTo>
                  <a:lnTo>
                    <a:pt x="630" y="487"/>
                  </a:lnTo>
                  <a:lnTo>
                    <a:pt x="603" y="472"/>
                  </a:lnTo>
                  <a:lnTo>
                    <a:pt x="591" y="462"/>
                  </a:lnTo>
                  <a:lnTo>
                    <a:pt x="568" y="455"/>
                  </a:lnTo>
                  <a:lnTo>
                    <a:pt x="559" y="439"/>
                  </a:lnTo>
                  <a:lnTo>
                    <a:pt x="563" y="428"/>
                  </a:lnTo>
                  <a:lnTo>
                    <a:pt x="544" y="418"/>
                  </a:lnTo>
                  <a:lnTo>
                    <a:pt x="542" y="405"/>
                  </a:lnTo>
                  <a:lnTo>
                    <a:pt x="524" y="389"/>
                  </a:lnTo>
                  <a:lnTo>
                    <a:pt x="524" y="380"/>
                  </a:lnTo>
                  <a:lnTo>
                    <a:pt x="517" y="374"/>
                  </a:lnTo>
                  <a:lnTo>
                    <a:pt x="503" y="368"/>
                  </a:lnTo>
                  <a:lnTo>
                    <a:pt x="501" y="349"/>
                  </a:lnTo>
                  <a:lnTo>
                    <a:pt x="482" y="334"/>
                  </a:lnTo>
                  <a:lnTo>
                    <a:pt x="474" y="314"/>
                  </a:lnTo>
                  <a:lnTo>
                    <a:pt x="463" y="313"/>
                  </a:lnTo>
                  <a:lnTo>
                    <a:pt x="440" y="313"/>
                  </a:lnTo>
                  <a:lnTo>
                    <a:pt x="425" y="307"/>
                  </a:lnTo>
                  <a:lnTo>
                    <a:pt x="396" y="286"/>
                  </a:lnTo>
                  <a:lnTo>
                    <a:pt x="382" y="282"/>
                  </a:lnTo>
                  <a:lnTo>
                    <a:pt x="357" y="274"/>
                  </a:lnTo>
                  <a:lnTo>
                    <a:pt x="338" y="276"/>
                  </a:lnTo>
                  <a:lnTo>
                    <a:pt x="309" y="266"/>
                  </a:lnTo>
                  <a:lnTo>
                    <a:pt x="294" y="259"/>
                  </a:lnTo>
                  <a:lnTo>
                    <a:pt x="279" y="263"/>
                  </a:lnTo>
                  <a:lnTo>
                    <a:pt x="283" y="276"/>
                  </a:lnTo>
                  <a:lnTo>
                    <a:pt x="273" y="278"/>
                  </a:lnTo>
                  <a:lnTo>
                    <a:pt x="258" y="282"/>
                  </a:lnTo>
                  <a:lnTo>
                    <a:pt x="244" y="290"/>
                  </a:lnTo>
                  <a:lnTo>
                    <a:pt x="229" y="293"/>
                  </a:lnTo>
                  <a:lnTo>
                    <a:pt x="229" y="282"/>
                  </a:lnTo>
                  <a:lnTo>
                    <a:pt x="235" y="263"/>
                  </a:lnTo>
                  <a:lnTo>
                    <a:pt x="248" y="255"/>
                  </a:lnTo>
                  <a:lnTo>
                    <a:pt x="244" y="249"/>
                  </a:lnTo>
                  <a:lnTo>
                    <a:pt x="227" y="263"/>
                  </a:lnTo>
                  <a:lnTo>
                    <a:pt x="219" y="274"/>
                  </a:lnTo>
                  <a:lnTo>
                    <a:pt x="198" y="290"/>
                  </a:lnTo>
                  <a:lnTo>
                    <a:pt x="208" y="301"/>
                  </a:lnTo>
                  <a:lnTo>
                    <a:pt x="194" y="313"/>
                  </a:lnTo>
                  <a:lnTo>
                    <a:pt x="179" y="322"/>
                  </a:lnTo>
                  <a:lnTo>
                    <a:pt x="166" y="328"/>
                  </a:lnTo>
                  <a:lnTo>
                    <a:pt x="162" y="338"/>
                  </a:lnTo>
                  <a:lnTo>
                    <a:pt x="141" y="349"/>
                  </a:lnTo>
                  <a:lnTo>
                    <a:pt x="137" y="357"/>
                  </a:lnTo>
                  <a:lnTo>
                    <a:pt x="119" y="366"/>
                  </a:lnTo>
                  <a:lnTo>
                    <a:pt x="112" y="364"/>
                  </a:lnTo>
                  <a:lnTo>
                    <a:pt x="96" y="368"/>
                  </a:lnTo>
                  <a:lnTo>
                    <a:pt x="83" y="376"/>
                  </a:lnTo>
                  <a:lnTo>
                    <a:pt x="71" y="382"/>
                  </a:lnTo>
                  <a:lnTo>
                    <a:pt x="48" y="387"/>
                  </a:lnTo>
                  <a:lnTo>
                    <a:pt x="45" y="385"/>
                  </a:lnTo>
                  <a:lnTo>
                    <a:pt x="58" y="376"/>
                  </a:lnTo>
                  <a:lnTo>
                    <a:pt x="75" y="370"/>
                  </a:lnTo>
                  <a:lnTo>
                    <a:pt x="89" y="359"/>
                  </a:lnTo>
                  <a:lnTo>
                    <a:pt x="106" y="357"/>
                  </a:lnTo>
                  <a:lnTo>
                    <a:pt x="114" y="349"/>
                  </a:lnTo>
                  <a:lnTo>
                    <a:pt x="133" y="338"/>
                  </a:lnTo>
                  <a:lnTo>
                    <a:pt x="137" y="334"/>
                  </a:lnTo>
                  <a:lnTo>
                    <a:pt x="146" y="326"/>
                  </a:lnTo>
                  <a:lnTo>
                    <a:pt x="148" y="311"/>
                  </a:lnTo>
                  <a:lnTo>
                    <a:pt x="156" y="299"/>
                  </a:lnTo>
                  <a:lnTo>
                    <a:pt x="139" y="305"/>
                  </a:lnTo>
                  <a:lnTo>
                    <a:pt x="135" y="301"/>
                  </a:lnTo>
                  <a:lnTo>
                    <a:pt x="127" y="309"/>
                  </a:lnTo>
                  <a:lnTo>
                    <a:pt x="118" y="299"/>
                  </a:lnTo>
                  <a:lnTo>
                    <a:pt x="114" y="305"/>
                  </a:lnTo>
                  <a:lnTo>
                    <a:pt x="110" y="295"/>
                  </a:lnTo>
                  <a:lnTo>
                    <a:pt x="96" y="303"/>
                  </a:lnTo>
                  <a:lnTo>
                    <a:pt x="87" y="303"/>
                  </a:lnTo>
                  <a:lnTo>
                    <a:pt x="87" y="291"/>
                  </a:lnTo>
                  <a:lnTo>
                    <a:pt x="87" y="284"/>
                  </a:lnTo>
                  <a:lnTo>
                    <a:pt x="79" y="276"/>
                  </a:lnTo>
                  <a:lnTo>
                    <a:pt x="60" y="280"/>
                  </a:lnTo>
                  <a:lnTo>
                    <a:pt x="48" y="270"/>
                  </a:lnTo>
                  <a:lnTo>
                    <a:pt x="39" y="265"/>
                  </a:lnTo>
                  <a:lnTo>
                    <a:pt x="39" y="253"/>
                  </a:lnTo>
                  <a:lnTo>
                    <a:pt x="29" y="245"/>
                  </a:lnTo>
                  <a:lnTo>
                    <a:pt x="35" y="232"/>
                  </a:lnTo>
                  <a:lnTo>
                    <a:pt x="47" y="220"/>
                  </a:lnTo>
                  <a:lnTo>
                    <a:pt x="50" y="209"/>
                  </a:lnTo>
                  <a:lnTo>
                    <a:pt x="60" y="207"/>
                  </a:lnTo>
                  <a:lnTo>
                    <a:pt x="71" y="211"/>
                  </a:lnTo>
                  <a:lnTo>
                    <a:pt x="83" y="199"/>
                  </a:lnTo>
                  <a:lnTo>
                    <a:pt x="93" y="201"/>
                  </a:lnTo>
                  <a:lnTo>
                    <a:pt x="104" y="195"/>
                  </a:lnTo>
                  <a:lnTo>
                    <a:pt x="100" y="184"/>
                  </a:lnTo>
                  <a:lnTo>
                    <a:pt x="93" y="182"/>
                  </a:lnTo>
                  <a:lnTo>
                    <a:pt x="104" y="172"/>
                  </a:lnTo>
                  <a:lnTo>
                    <a:pt x="95" y="172"/>
                  </a:lnTo>
                  <a:lnTo>
                    <a:pt x="79" y="178"/>
                  </a:lnTo>
                  <a:lnTo>
                    <a:pt x="77" y="182"/>
                  </a:lnTo>
                  <a:lnTo>
                    <a:pt x="64" y="178"/>
                  </a:lnTo>
                  <a:lnTo>
                    <a:pt x="45" y="180"/>
                  </a:lnTo>
                  <a:lnTo>
                    <a:pt x="24" y="174"/>
                  </a:lnTo>
                  <a:lnTo>
                    <a:pt x="20" y="167"/>
                  </a:lnTo>
                  <a:lnTo>
                    <a:pt x="0" y="153"/>
                  </a:lnTo>
                  <a:lnTo>
                    <a:pt x="20" y="142"/>
                  </a:lnTo>
                  <a:lnTo>
                    <a:pt x="50" y="132"/>
                  </a:lnTo>
                  <a:lnTo>
                    <a:pt x="62" y="132"/>
                  </a:lnTo>
                  <a:lnTo>
                    <a:pt x="60" y="142"/>
                  </a:lnTo>
                  <a:lnTo>
                    <a:pt x="91" y="142"/>
                  </a:lnTo>
                  <a:lnTo>
                    <a:pt x="79" y="128"/>
                  </a:lnTo>
                  <a:lnTo>
                    <a:pt x="62" y="121"/>
                  </a:lnTo>
                  <a:lnTo>
                    <a:pt x="52" y="107"/>
                  </a:lnTo>
                  <a:lnTo>
                    <a:pt x="39" y="98"/>
                  </a:lnTo>
                  <a:lnTo>
                    <a:pt x="20" y="90"/>
                  </a:lnTo>
                  <a:lnTo>
                    <a:pt x="27" y="76"/>
                  </a:lnTo>
                  <a:lnTo>
                    <a:pt x="52" y="76"/>
                  </a:lnTo>
                  <a:lnTo>
                    <a:pt x="70" y="65"/>
                  </a:lnTo>
                  <a:lnTo>
                    <a:pt x="73" y="53"/>
                  </a:lnTo>
                  <a:lnTo>
                    <a:pt x="87" y="40"/>
                  </a:lnTo>
                  <a:lnTo>
                    <a:pt x="100" y="38"/>
                  </a:lnTo>
                  <a:lnTo>
                    <a:pt x="127" y="27"/>
                  </a:lnTo>
                  <a:lnTo>
                    <a:pt x="141" y="29"/>
                  </a:lnTo>
                  <a:lnTo>
                    <a:pt x="162" y="17"/>
                  </a:lnTo>
                  <a:lnTo>
                    <a:pt x="183" y="21"/>
                  </a:lnTo>
                  <a:lnTo>
                    <a:pt x="192" y="32"/>
                  </a:lnTo>
                  <a:lnTo>
                    <a:pt x="200" y="27"/>
                  </a:lnTo>
                  <a:lnTo>
                    <a:pt x="223" y="29"/>
                  </a:lnTo>
                  <a:lnTo>
                    <a:pt x="221" y="34"/>
                  </a:lnTo>
                  <a:lnTo>
                    <a:pt x="242" y="38"/>
                  </a:lnTo>
                  <a:lnTo>
                    <a:pt x="258" y="36"/>
                  </a:lnTo>
                  <a:lnTo>
                    <a:pt x="286" y="44"/>
                  </a:lnTo>
                  <a:lnTo>
                    <a:pt x="313" y="46"/>
                  </a:lnTo>
                  <a:lnTo>
                    <a:pt x="325" y="50"/>
                  </a:lnTo>
                  <a:lnTo>
                    <a:pt x="344" y="46"/>
                  </a:lnTo>
                  <a:lnTo>
                    <a:pt x="363" y="53"/>
                  </a:lnTo>
                  <a:lnTo>
                    <a:pt x="378" y="55"/>
                  </a:lnTo>
                  <a:lnTo>
                    <a:pt x="405" y="63"/>
                  </a:lnTo>
                  <a:lnTo>
                    <a:pt x="426" y="75"/>
                  </a:lnTo>
                  <a:lnTo>
                    <a:pt x="442" y="76"/>
                  </a:lnTo>
                  <a:lnTo>
                    <a:pt x="453" y="65"/>
                  </a:lnTo>
                  <a:lnTo>
                    <a:pt x="471" y="59"/>
                  </a:lnTo>
                  <a:lnTo>
                    <a:pt x="490" y="61"/>
                  </a:lnTo>
                  <a:lnTo>
                    <a:pt x="513" y="52"/>
                  </a:lnTo>
                  <a:lnTo>
                    <a:pt x="534" y="44"/>
                  </a:lnTo>
                  <a:lnTo>
                    <a:pt x="544" y="55"/>
                  </a:lnTo>
                  <a:lnTo>
                    <a:pt x="553" y="50"/>
                  </a:lnTo>
                  <a:lnTo>
                    <a:pt x="557" y="38"/>
                  </a:lnTo>
                  <a:lnTo>
                    <a:pt x="568" y="38"/>
                  </a:lnTo>
                  <a:lnTo>
                    <a:pt x="591" y="63"/>
                  </a:lnTo>
                  <a:lnTo>
                    <a:pt x="609" y="46"/>
                  </a:lnTo>
                  <a:lnTo>
                    <a:pt x="611" y="65"/>
                  </a:lnTo>
                  <a:lnTo>
                    <a:pt x="628" y="59"/>
                  </a:lnTo>
                  <a:lnTo>
                    <a:pt x="634" y="53"/>
                  </a:lnTo>
                  <a:lnTo>
                    <a:pt x="651" y="55"/>
                  </a:lnTo>
                  <a:lnTo>
                    <a:pt x="672" y="65"/>
                  </a:lnTo>
                  <a:lnTo>
                    <a:pt x="705" y="75"/>
                  </a:lnTo>
                  <a:lnTo>
                    <a:pt x="722" y="78"/>
                  </a:lnTo>
                  <a:lnTo>
                    <a:pt x="737" y="76"/>
                  </a:lnTo>
                  <a:lnTo>
                    <a:pt x="757" y="88"/>
                  </a:lnTo>
                  <a:lnTo>
                    <a:pt x="737" y="101"/>
                  </a:lnTo>
                  <a:lnTo>
                    <a:pt x="760" y="105"/>
                  </a:lnTo>
                  <a:lnTo>
                    <a:pt x="799" y="103"/>
                  </a:lnTo>
                  <a:lnTo>
                    <a:pt x="812" y="98"/>
                  </a:lnTo>
                  <a:lnTo>
                    <a:pt x="826" y="113"/>
                  </a:lnTo>
                  <a:lnTo>
                    <a:pt x="841" y="101"/>
                  </a:lnTo>
                  <a:lnTo>
                    <a:pt x="826" y="92"/>
                  </a:lnTo>
                  <a:lnTo>
                    <a:pt x="835" y="82"/>
                  </a:lnTo>
                  <a:lnTo>
                    <a:pt x="854" y="80"/>
                  </a:lnTo>
                  <a:lnTo>
                    <a:pt x="864" y="80"/>
                  </a:lnTo>
                  <a:lnTo>
                    <a:pt x="875" y="84"/>
                  </a:lnTo>
                  <a:lnTo>
                    <a:pt x="889" y="98"/>
                  </a:lnTo>
                  <a:lnTo>
                    <a:pt x="904" y="96"/>
                  </a:lnTo>
                  <a:lnTo>
                    <a:pt x="929" y="105"/>
                  </a:lnTo>
                  <a:lnTo>
                    <a:pt x="950" y="103"/>
                  </a:lnTo>
                  <a:lnTo>
                    <a:pt x="970" y="103"/>
                  </a:lnTo>
                  <a:lnTo>
                    <a:pt x="968" y="88"/>
                  </a:lnTo>
                  <a:lnTo>
                    <a:pt x="983" y="84"/>
                  </a:lnTo>
                  <a:lnTo>
                    <a:pt x="1004" y="94"/>
                  </a:lnTo>
                  <a:lnTo>
                    <a:pt x="1004" y="103"/>
                  </a:lnTo>
                  <a:lnTo>
                    <a:pt x="1004" y="115"/>
                  </a:lnTo>
                  <a:lnTo>
                    <a:pt x="1012" y="96"/>
                  </a:lnTo>
                  <a:lnTo>
                    <a:pt x="1025" y="96"/>
                  </a:lnTo>
                  <a:lnTo>
                    <a:pt x="1029" y="73"/>
                  </a:lnTo>
                  <a:lnTo>
                    <a:pt x="1016" y="57"/>
                  </a:lnTo>
                  <a:lnTo>
                    <a:pt x="998" y="48"/>
                  </a:lnTo>
                  <a:lnTo>
                    <a:pt x="1000" y="19"/>
                  </a:lnTo>
                  <a:lnTo>
                    <a:pt x="1016" y="0"/>
                  </a:lnTo>
                  <a:lnTo>
                    <a:pt x="1035" y="4"/>
                  </a:lnTo>
                  <a:lnTo>
                    <a:pt x="1048" y="17"/>
                  </a:lnTo>
                  <a:lnTo>
                    <a:pt x="1067" y="44"/>
                  </a:lnTo>
                  <a:lnTo>
                    <a:pt x="1056" y="55"/>
                  </a:lnTo>
                  <a:lnTo>
                    <a:pt x="1081" y="61"/>
                  </a:lnTo>
                  <a:lnTo>
                    <a:pt x="1081" y="75"/>
                  </a:lnTo>
                  <a:lnTo>
                    <a:pt x="1081" y="86"/>
                  </a:lnTo>
                  <a:lnTo>
                    <a:pt x="1100" y="67"/>
                  </a:lnTo>
                  <a:lnTo>
                    <a:pt x="1115" y="82"/>
                  </a:lnTo>
                  <a:lnTo>
                    <a:pt x="1111" y="101"/>
                  </a:lnTo>
                  <a:lnTo>
                    <a:pt x="1127" y="119"/>
                  </a:lnTo>
                  <a:lnTo>
                    <a:pt x="1138" y="100"/>
                  </a:lnTo>
                  <a:lnTo>
                    <a:pt x="1150" y="80"/>
                  </a:lnTo>
                  <a:lnTo>
                    <a:pt x="1150" y="53"/>
                  </a:lnTo>
                  <a:lnTo>
                    <a:pt x="1171" y="55"/>
                  </a:lnTo>
                  <a:lnTo>
                    <a:pt x="1190" y="57"/>
                  </a:lnTo>
                  <a:lnTo>
                    <a:pt x="1209" y="69"/>
                  </a:lnTo>
                  <a:lnTo>
                    <a:pt x="1211" y="82"/>
                  </a:lnTo>
                  <a:lnTo>
                    <a:pt x="1202" y="94"/>
                  </a:lnTo>
                  <a:lnTo>
                    <a:pt x="1209" y="107"/>
                  </a:lnTo>
                  <a:lnTo>
                    <a:pt x="1207" y="121"/>
                  </a:lnTo>
                  <a:lnTo>
                    <a:pt x="1181" y="136"/>
                  </a:lnTo>
                  <a:lnTo>
                    <a:pt x="1163" y="140"/>
                  </a:lnTo>
                  <a:lnTo>
                    <a:pt x="1148" y="132"/>
                  </a:lnTo>
                  <a:lnTo>
                    <a:pt x="1142" y="142"/>
                  </a:lnTo>
                  <a:lnTo>
                    <a:pt x="1129" y="163"/>
                  </a:lnTo>
                  <a:lnTo>
                    <a:pt x="1127" y="172"/>
                  </a:lnTo>
                  <a:lnTo>
                    <a:pt x="1110" y="188"/>
                  </a:lnTo>
                  <a:lnTo>
                    <a:pt x="1088" y="190"/>
                  </a:lnTo>
                  <a:lnTo>
                    <a:pt x="1079" y="197"/>
                  </a:lnTo>
                  <a:lnTo>
                    <a:pt x="1077" y="213"/>
                  </a:lnTo>
                  <a:lnTo>
                    <a:pt x="1064" y="217"/>
                  </a:lnTo>
                  <a:lnTo>
                    <a:pt x="1044" y="234"/>
                  </a:lnTo>
                  <a:lnTo>
                    <a:pt x="1029" y="257"/>
                  </a:lnTo>
                  <a:lnTo>
                    <a:pt x="1025" y="274"/>
                  </a:lnTo>
                  <a:lnTo>
                    <a:pt x="1025" y="299"/>
                  </a:lnTo>
                  <a:lnTo>
                    <a:pt x="1044" y="301"/>
                  </a:lnTo>
                  <a:lnTo>
                    <a:pt x="1050" y="320"/>
                  </a:lnTo>
                  <a:lnTo>
                    <a:pt x="1058" y="336"/>
                  </a:lnTo>
                  <a:lnTo>
                    <a:pt x="1075" y="332"/>
                  </a:lnTo>
                  <a:lnTo>
                    <a:pt x="1102" y="339"/>
                  </a:lnTo>
                  <a:lnTo>
                    <a:pt x="1115" y="347"/>
                  </a:lnTo>
                  <a:lnTo>
                    <a:pt x="1127" y="357"/>
                  </a:lnTo>
                  <a:lnTo>
                    <a:pt x="1142" y="362"/>
                  </a:lnTo>
                  <a:lnTo>
                    <a:pt x="1158" y="370"/>
                  </a:lnTo>
                  <a:lnTo>
                    <a:pt x="1181" y="372"/>
                  </a:lnTo>
                  <a:lnTo>
                    <a:pt x="1196" y="374"/>
                  </a:lnTo>
                  <a:lnTo>
                    <a:pt x="1194" y="389"/>
                  </a:lnTo>
                  <a:lnTo>
                    <a:pt x="1198" y="409"/>
                  </a:lnTo>
                  <a:lnTo>
                    <a:pt x="1207" y="430"/>
                  </a:lnTo>
                  <a:lnTo>
                    <a:pt x="1230" y="447"/>
                  </a:lnTo>
                  <a:lnTo>
                    <a:pt x="1240" y="443"/>
                  </a:lnTo>
                  <a:lnTo>
                    <a:pt x="1248" y="422"/>
                  </a:lnTo>
                  <a:lnTo>
                    <a:pt x="1240" y="393"/>
                  </a:lnTo>
                  <a:lnTo>
                    <a:pt x="1230" y="382"/>
                  </a:lnTo>
                  <a:lnTo>
                    <a:pt x="1253" y="374"/>
                  </a:lnTo>
                  <a:lnTo>
                    <a:pt x="1269" y="361"/>
                  </a:lnTo>
                  <a:lnTo>
                    <a:pt x="1277" y="347"/>
                  </a:lnTo>
                  <a:lnTo>
                    <a:pt x="1275" y="334"/>
                  </a:lnTo>
                  <a:lnTo>
                    <a:pt x="1265" y="316"/>
                  </a:lnTo>
                  <a:lnTo>
                    <a:pt x="1248" y="301"/>
                  </a:lnTo>
                  <a:lnTo>
                    <a:pt x="1265" y="280"/>
                  </a:lnTo>
                  <a:lnTo>
                    <a:pt x="1257" y="261"/>
                  </a:lnTo>
                  <a:lnTo>
                    <a:pt x="1253" y="226"/>
                  </a:lnTo>
                  <a:lnTo>
                    <a:pt x="1265" y="222"/>
                  </a:lnTo>
                  <a:lnTo>
                    <a:pt x="1288" y="228"/>
                  </a:lnTo>
                  <a:lnTo>
                    <a:pt x="1301" y="230"/>
                  </a:lnTo>
                  <a:lnTo>
                    <a:pt x="1313" y="224"/>
                  </a:lnTo>
                  <a:lnTo>
                    <a:pt x="1326" y="232"/>
                  </a:lnTo>
                  <a:lnTo>
                    <a:pt x="1344" y="243"/>
                  </a:lnTo>
                  <a:lnTo>
                    <a:pt x="1348" y="251"/>
                  </a:lnTo>
                  <a:lnTo>
                    <a:pt x="1374" y="253"/>
                  </a:lnTo>
                  <a:lnTo>
                    <a:pt x="1372" y="272"/>
                  </a:lnTo>
                  <a:lnTo>
                    <a:pt x="1376" y="299"/>
                  </a:lnTo>
                  <a:lnTo>
                    <a:pt x="1390" y="301"/>
                  </a:lnTo>
                  <a:lnTo>
                    <a:pt x="1399" y="313"/>
                  </a:lnTo>
                  <a:lnTo>
                    <a:pt x="1420" y="301"/>
                  </a:lnTo>
                  <a:lnTo>
                    <a:pt x="1434" y="278"/>
                  </a:lnTo>
                  <a:lnTo>
                    <a:pt x="1443" y="270"/>
                  </a:lnTo>
                  <a:lnTo>
                    <a:pt x="1455" y="288"/>
                  </a:lnTo>
                  <a:lnTo>
                    <a:pt x="1472" y="313"/>
                  </a:lnTo>
                  <a:lnTo>
                    <a:pt x="1488" y="339"/>
                  </a:lnTo>
                  <a:lnTo>
                    <a:pt x="1482" y="349"/>
                  </a:lnTo>
                  <a:lnTo>
                    <a:pt x="1501" y="362"/>
                  </a:lnTo>
                  <a:lnTo>
                    <a:pt x="1513" y="372"/>
                  </a:lnTo>
                  <a:lnTo>
                    <a:pt x="1536" y="378"/>
                  </a:lnTo>
                  <a:lnTo>
                    <a:pt x="1545" y="384"/>
                  </a:lnTo>
                  <a:lnTo>
                    <a:pt x="1549" y="401"/>
                  </a:lnTo>
                  <a:lnTo>
                    <a:pt x="1561" y="403"/>
                  </a:lnTo>
                  <a:lnTo>
                    <a:pt x="1566" y="409"/>
                  </a:lnTo>
                  <a:lnTo>
                    <a:pt x="1566" y="430"/>
                  </a:lnTo>
                  <a:lnTo>
                    <a:pt x="1557" y="437"/>
                  </a:lnTo>
                  <a:lnTo>
                    <a:pt x="1547" y="443"/>
                  </a:lnTo>
                  <a:lnTo>
                    <a:pt x="1524" y="451"/>
                  </a:lnTo>
                  <a:lnTo>
                    <a:pt x="1507" y="466"/>
                  </a:lnTo>
                  <a:lnTo>
                    <a:pt x="1482" y="470"/>
                  </a:lnTo>
                  <a:lnTo>
                    <a:pt x="1453" y="466"/>
                  </a:lnTo>
                  <a:lnTo>
                    <a:pt x="1434" y="464"/>
                  </a:lnTo>
                  <a:lnTo>
                    <a:pt x="1417" y="466"/>
                  </a:lnTo>
                  <a:lnTo>
                    <a:pt x="1405" y="480"/>
                  </a:lnTo>
                  <a:lnTo>
                    <a:pt x="1388" y="487"/>
                  </a:lnTo>
                  <a:lnTo>
                    <a:pt x="1369" y="510"/>
                  </a:lnTo>
                  <a:lnTo>
                    <a:pt x="1351" y="528"/>
                  </a:lnTo>
                  <a:lnTo>
                    <a:pt x="1363" y="524"/>
                  </a:lnTo>
                  <a:lnTo>
                    <a:pt x="1386" y="501"/>
                  </a:lnTo>
                  <a:lnTo>
                    <a:pt x="1415" y="485"/>
                  </a:lnTo>
                  <a:lnTo>
                    <a:pt x="1436" y="483"/>
                  </a:lnTo>
                  <a:lnTo>
                    <a:pt x="1449" y="491"/>
                  </a:lnTo>
                  <a:lnTo>
                    <a:pt x="1436" y="504"/>
                  </a:lnTo>
                  <a:lnTo>
                    <a:pt x="1440" y="524"/>
                  </a:lnTo>
                  <a:lnTo>
                    <a:pt x="1443" y="537"/>
                  </a:lnTo>
                  <a:lnTo>
                    <a:pt x="1463" y="547"/>
                  </a:lnTo>
                  <a:lnTo>
                    <a:pt x="1486" y="543"/>
                  </a:lnTo>
                  <a:lnTo>
                    <a:pt x="1501" y="524"/>
                  </a:lnTo>
                  <a:lnTo>
                    <a:pt x="1501" y="535"/>
                  </a:lnTo>
                  <a:lnTo>
                    <a:pt x="1511" y="543"/>
                  </a:lnTo>
                  <a:lnTo>
                    <a:pt x="1493" y="554"/>
                  </a:lnTo>
                  <a:lnTo>
                    <a:pt x="1461" y="564"/>
                  </a:lnTo>
                  <a:lnTo>
                    <a:pt x="1447" y="572"/>
                  </a:lnTo>
                  <a:lnTo>
                    <a:pt x="1434" y="583"/>
                  </a:lnTo>
                  <a:lnTo>
                    <a:pt x="1420" y="583"/>
                  </a:lnTo>
                  <a:lnTo>
                    <a:pt x="1420" y="568"/>
                  </a:lnTo>
                  <a:lnTo>
                    <a:pt x="1445" y="554"/>
                  </a:lnTo>
                  <a:lnTo>
                    <a:pt x="1422" y="554"/>
                  </a:lnTo>
                  <a:lnTo>
                    <a:pt x="1407" y="556"/>
                  </a:lnTo>
                  <a:lnTo>
                    <a:pt x="1409" y="560"/>
                  </a:lnTo>
                  <a:lnTo>
                    <a:pt x="1395" y="570"/>
                  </a:lnTo>
                  <a:lnTo>
                    <a:pt x="1380" y="575"/>
                  </a:lnTo>
                  <a:lnTo>
                    <a:pt x="1365" y="581"/>
                  </a:lnTo>
                  <a:lnTo>
                    <a:pt x="1357" y="591"/>
                  </a:lnTo>
                  <a:lnTo>
                    <a:pt x="1355" y="595"/>
                  </a:lnTo>
                  <a:lnTo>
                    <a:pt x="1355" y="599"/>
                  </a:lnTo>
                  <a:lnTo>
                    <a:pt x="1355" y="604"/>
                  </a:lnTo>
                  <a:lnTo>
                    <a:pt x="1359" y="614"/>
                  </a:lnTo>
                  <a:lnTo>
                    <a:pt x="1367" y="614"/>
                  </a:lnTo>
                  <a:lnTo>
                    <a:pt x="1365" y="608"/>
                  </a:lnTo>
                  <a:lnTo>
                    <a:pt x="1369" y="612"/>
                  </a:lnTo>
                  <a:lnTo>
                    <a:pt x="1367" y="616"/>
                  </a:lnTo>
                  <a:lnTo>
                    <a:pt x="1357" y="618"/>
                  </a:lnTo>
                  <a:lnTo>
                    <a:pt x="1351" y="618"/>
                  </a:lnTo>
                  <a:lnTo>
                    <a:pt x="1342" y="622"/>
                  </a:lnTo>
                  <a:lnTo>
                    <a:pt x="1334" y="622"/>
                  </a:lnTo>
                  <a:lnTo>
                    <a:pt x="1326" y="623"/>
                  </a:lnTo>
                  <a:lnTo>
                    <a:pt x="1315" y="627"/>
                  </a:lnTo>
                  <a:lnTo>
                    <a:pt x="1336" y="623"/>
                  </a:lnTo>
                  <a:lnTo>
                    <a:pt x="1340" y="627"/>
                  </a:lnTo>
                  <a:lnTo>
                    <a:pt x="1319" y="633"/>
                  </a:lnTo>
                  <a:lnTo>
                    <a:pt x="1311" y="633"/>
                  </a:lnTo>
                  <a:lnTo>
                    <a:pt x="1311" y="629"/>
                  </a:lnTo>
                  <a:lnTo>
                    <a:pt x="1309" y="635"/>
                  </a:lnTo>
                  <a:lnTo>
                    <a:pt x="1311" y="635"/>
                  </a:lnTo>
                  <a:lnTo>
                    <a:pt x="1309" y="648"/>
                  </a:lnTo>
                  <a:lnTo>
                    <a:pt x="1298" y="660"/>
                  </a:lnTo>
                  <a:lnTo>
                    <a:pt x="1298" y="656"/>
                  </a:lnTo>
                  <a:lnTo>
                    <a:pt x="1294" y="654"/>
                  </a:lnTo>
                  <a:lnTo>
                    <a:pt x="1290" y="652"/>
                  </a:lnTo>
                  <a:lnTo>
                    <a:pt x="1294" y="660"/>
                  </a:lnTo>
                  <a:lnTo>
                    <a:pt x="1296" y="662"/>
                  </a:lnTo>
                  <a:lnTo>
                    <a:pt x="1296" y="668"/>
                  </a:lnTo>
                  <a:lnTo>
                    <a:pt x="1292" y="675"/>
                  </a:lnTo>
                  <a:lnTo>
                    <a:pt x="1284" y="689"/>
                  </a:lnTo>
                  <a:lnTo>
                    <a:pt x="1282" y="687"/>
                  </a:lnTo>
                  <a:lnTo>
                    <a:pt x="1288" y="677"/>
                  </a:lnTo>
                  <a:lnTo>
                    <a:pt x="1280" y="670"/>
                  </a:lnTo>
                  <a:lnTo>
                    <a:pt x="1278" y="656"/>
                  </a:lnTo>
                  <a:lnTo>
                    <a:pt x="1277" y="662"/>
                  </a:lnTo>
                  <a:lnTo>
                    <a:pt x="1280" y="673"/>
                  </a:lnTo>
                  <a:lnTo>
                    <a:pt x="1271" y="671"/>
                  </a:lnTo>
                  <a:lnTo>
                    <a:pt x="1280" y="677"/>
                  </a:lnTo>
                  <a:lnTo>
                    <a:pt x="1280" y="691"/>
                  </a:lnTo>
                  <a:lnTo>
                    <a:pt x="1282" y="693"/>
                  </a:lnTo>
                  <a:lnTo>
                    <a:pt x="1284" y="698"/>
                  </a:lnTo>
                  <a:lnTo>
                    <a:pt x="1288" y="716"/>
                  </a:lnTo>
                  <a:lnTo>
                    <a:pt x="1278" y="727"/>
                  </a:lnTo>
                  <a:lnTo>
                    <a:pt x="1265" y="729"/>
                  </a:lnTo>
                  <a:lnTo>
                    <a:pt x="1253" y="739"/>
                  </a:lnTo>
                  <a:lnTo>
                    <a:pt x="1248" y="741"/>
                  </a:lnTo>
                  <a:lnTo>
                    <a:pt x="1242" y="746"/>
                  </a:lnTo>
                  <a:lnTo>
                    <a:pt x="1240" y="752"/>
                  </a:lnTo>
                  <a:lnTo>
                    <a:pt x="1223" y="762"/>
                  </a:lnTo>
                  <a:lnTo>
                    <a:pt x="1215" y="769"/>
                  </a:lnTo>
                  <a:lnTo>
                    <a:pt x="1209" y="779"/>
                  </a:lnTo>
                  <a:lnTo>
                    <a:pt x="1207" y="790"/>
                  </a:lnTo>
                  <a:lnTo>
                    <a:pt x="1209" y="800"/>
                  </a:lnTo>
                  <a:lnTo>
                    <a:pt x="1215" y="813"/>
                  </a:lnTo>
                  <a:lnTo>
                    <a:pt x="1219" y="823"/>
                  </a:lnTo>
                  <a:lnTo>
                    <a:pt x="1219" y="827"/>
                  </a:lnTo>
                  <a:lnTo>
                    <a:pt x="1221" y="831"/>
                  </a:lnTo>
                  <a:lnTo>
                    <a:pt x="1227" y="846"/>
                  </a:lnTo>
                  <a:lnTo>
                    <a:pt x="1227" y="858"/>
                  </a:lnTo>
                  <a:lnTo>
                    <a:pt x="1227" y="863"/>
                  </a:lnTo>
                  <a:lnTo>
                    <a:pt x="1223" y="871"/>
                  </a:lnTo>
                  <a:lnTo>
                    <a:pt x="1217" y="873"/>
                  </a:lnTo>
                  <a:lnTo>
                    <a:pt x="1211" y="871"/>
                  </a:lnTo>
                  <a:lnTo>
                    <a:pt x="1209" y="865"/>
                  </a:lnTo>
                  <a:lnTo>
                    <a:pt x="1206" y="861"/>
                  </a:lnTo>
                  <a:lnTo>
                    <a:pt x="1196" y="850"/>
                  </a:lnTo>
                  <a:lnTo>
                    <a:pt x="1190" y="838"/>
                  </a:lnTo>
                  <a:lnTo>
                    <a:pt x="1188" y="831"/>
                  </a:lnTo>
                  <a:lnTo>
                    <a:pt x="1190" y="821"/>
                  </a:lnTo>
                  <a:lnTo>
                    <a:pt x="1188" y="813"/>
                  </a:lnTo>
                  <a:lnTo>
                    <a:pt x="1177" y="802"/>
                  </a:lnTo>
                  <a:lnTo>
                    <a:pt x="1171" y="798"/>
                  </a:lnTo>
                  <a:lnTo>
                    <a:pt x="1156" y="804"/>
                  </a:lnTo>
                  <a:lnTo>
                    <a:pt x="1154" y="804"/>
                  </a:lnTo>
                  <a:lnTo>
                    <a:pt x="1148" y="798"/>
                  </a:lnTo>
                  <a:lnTo>
                    <a:pt x="1138" y="794"/>
                  </a:lnTo>
                  <a:lnTo>
                    <a:pt x="1123" y="796"/>
                  </a:lnTo>
                  <a:lnTo>
                    <a:pt x="1110" y="794"/>
                  </a:lnTo>
                  <a:lnTo>
                    <a:pt x="1100" y="794"/>
                  </a:lnTo>
                  <a:lnTo>
                    <a:pt x="1094" y="798"/>
                  </a:lnTo>
                  <a:lnTo>
                    <a:pt x="1098" y="802"/>
                  </a:lnTo>
                  <a:lnTo>
                    <a:pt x="1096" y="808"/>
                  </a:lnTo>
                  <a:lnTo>
                    <a:pt x="1100" y="812"/>
                  </a:lnTo>
                  <a:lnTo>
                    <a:pt x="1098" y="813"/>
                  </a:lnTo>
                  <a:lnTo>
                    <a:pt x="1092" y="810"/>
                  </a:lnTo>
                  <a:lnTo>
                    <a:pt x="1087" y="813"/>
                  </a:lnTo>
                  <a:lnTo>
                    <a:pt x="1075" y="813"/>
                  </a:lnTo>
                  <a:lnTo>
                    <a:pt x="1065" y="804"/>
                  </a:lnTo>
                  <a:lnTo>
                    <a:pt x="1054" y="806"/>
                  </a:lnTo>
                  <a:lnTo>
                    <a:pt x="1044" y="804"/>
                  </a:lnTo>
                  <a:lnTo>
                    <a:pt x="1035" y="804"/>
                  </a:lnTo>
                  <a:lnTo>
                    <a:pt x="1025" y="808"/>
                  </a:lnTo>
                  <a:lnTo>
                    <a:pt x="1010" y="821"/>
                  </a:lnTo>
                  <a:lnTo>
                    <a:pt x="996" y="827"/>
                  </a:lnTo>
                  <a:lnTo>
                    <a:pt x="989" y="833"/>
                  </a:lnTo>
                  <a:lnTo>
                    <a:pt x="985" y="840"/>
                  </a:lnTo>
                  <a:lnTo>
                    <a:pt x="985" y="850"/>
                  </a:lnTo>
                  <a:lnTo>
                    <a:pt x="987" y="858"/>
                  </a:lnTo>
                  <a:lnTo>
                    <a:pt x="989" y="861"/>
                  </a:lnTo>
                  <a:lnTo>
                    <a:pt x="985" y="875"/>
                  </a:lnTo>
                  <a:lnTo>
                    <a:pt x="983" y="886"/>
                  </a:lnTo>
                  <a:lnTo>
                    <a:pt x="981" y="906"/>
                  </a:lnTo>
                  <a:lnTo>
                    <a:pt x="979" y="913"/>
                  </a:lnTo>
                  <a:lnTo>
                    <a:pt x="983" y="921"/>
                  </a:lnTo>
                  <a:lnTo>
                    <a:pt x="985" y="929"/>
                  </a:lnTo>
                  <a:lnTo>
                    <a:pt x="989" y="938"/>
                  </a:lnTo>
                  <a:lnTo>
                    <a:pt x="996" y="950"/>
                  </a:lnTo>
                  <a:lnTo>
                    <a:pt x="1000" y="959"/>
                  </a:lnTo>
                  <a:lnTo>
                    <a:pt x="1006" y="965"/>
                  </a:lnTo>
                  <a:lnTo>
                    <a:pt x="1021" y="969"/>
                  </a:lnTo>
                  <a:lnTo>
                    <a:pt x="1027" y="975"/>
                  </a:lnTo>
                  <a:lnTo>
                    <a:pt x="1039" y="971"/>
                  </a:lnTo>
                  <a:lnTo>
                    <a:pt x="1050" y="971"/>
                  </a:lnTo>
                  <a:lnTo>
                    <a:pt x="1062" y="967"/>
                  </a:lnTo>
                  <a:lnTo>
                    <a:pt x="1069" y="965"/>
                  </a:lnTo>
                  <a:lnTo>
                    <a:pt x="1077" y="959"/>
                  </a:lnTo>
                  <a:lnTo>
                    <a:pt x="1081" y="950"/>
                  </a:lnTo>
                  <a:lnTo>
                    <a:pt x="1083" y="938"/>
                  </a:lnTo>
                  <a:lnTo>
                    <a:pt x="1085" y="934"/>
                  </a:lnTo>
                  <a:lnTo>
                    <a:pt x="1094" y="931"/>
                  </a:lnTo>
                  <a:lnTo>
                    <a:pt x="1110" y="927"/>
                  </a:lnTo>
                  <a:lnTo>
                    <a:pt x="1121" y="927"/>
                  </a:lnTo>
                  <a:lnTo>
                    <a:pt x="1129" y="925"/>
                  </a:lnTo>
                  <a:lnTo>
                    <a:pt x="1133" y="929"/>
                  </a:lnTo>
                  <a:lnTo>
                    <a:pt x="1133" y="936"/>
                  </a:lnTo>
                  <a:lnTo>
                    <a:pt x="1125" y="946"/>
                  </a:lnTo>
                  <a:lnTo>
                    <a:pt x="1123" y="954"/>
                  </a:lnTo>
                  <a:lnTo>
                    <a:pt x="1125" y="955"/>
                  </a:lnTo>
                  <a:lnTo>
                    <a:pt x="1123" y="963"/>
                  </a:lnTo>
                  <a:lnTo>
                    <a:pt x="1119" y="973"/>
                  </a:lnTo>
                  <a:lnTo>
                    <a:pt x="1115" y="971"/>
                  </a:lnTo>
                  <a:lnTo>
                    <a:pt x="1111" y="971"/>
                  </a:lnTo>
                  <a:lnTo>
                    <a:pt x="1111" y="973"/>
                  </a:lnTo>
                  <a:lnTo>
                    <a:pt x="1113" y="973"/>
                  </a:lnTo>
                  <a:lnTo>
                    <a:pt x="1113" y="975"/>
                  </a:lnTo>
                  <a:lnTo>
                    <a:pt x="1111" y="982"/>
                  </a:lnTo>
                  <a:lnTo>
                    <a:pt x="1113" y="984"/>
                  </a:lnTo>
                  <a:lnTo>
                    <a:pt x="1111" y="990"/>
                  </a:lnTo>
                  <a:lnTo>
                    <a:pt x="1110" y="1000"/>
                  </a:lnTo>
                  <a:lnTo>
                    <a:pt x="1110" y="1002"/>
                  </a:lnTo>
                  <a:lnTo>
                    <a:pt x="1106" y="1002"/>
                  </a:lnTo>
                  <a:lnTo>
                    <a:pt x="1104" y="1007"/>
                  </a:lnTo>
                  <a:lnTo>
                    <a:pt x="1108" y="1011"/>
                  </a:lnTo>
                  <a:lnTo>
                    <a:pt x="1110" y="1007"/>
                  </a:lnTo>
                  <a:lnTo>
                    <a:pt x="1111" y="1011"/>
                  </a:lnTo>
                  <a:lnTo>
                    <a:pt x="1098" y="1025"/>
                  </a:lnTo>
                  <a:lnTo>
                    <a:pt x="1111" y="1011"/>
                  </a:lnTo>
                  <a:lnTo>
                    <a:pt x="1113" y="1011"/>
                  </a:lnTo>
                  <a:lnTo>
                    <a:pt x="1117" y="1007"/>
                  </a:lnTo>
                  <a:lnTo>
                    <a:pt x="1123" y="1007"/>
                  </a:lnTo>
                  <a:lnTo>
                    <a:pt x="1123" y="1009"/>
                  </a:lnTo>
                  <a:lnTo>
                    <a:pt x="1127" y="1009"/>
                  </a:lnTo>
                  <a:lnTo>
                    <a:pt x="1131" y="1009"/>
                  </a:lnTo>
                  <a:lnTo>
                    <a:pt x="1138" y="1009"/>
                  </a:lnTo>
                  <a:lnTo>
                    <a:pt x="1142" y="1007"/>
                  </a:lnTo>
                  <a:lnTo>
                    <a:pt x="1144" y="1005"/>
                  </a:lnTo>
                  <a:lnTo>
                    <a:pt x="1148" y="1007"/>
                  </a:lnTo>
                  <a:lnTo>
                    <a:pt x="1152" y="1007"/>
                  </a:lnTo>
                  <a:lnTo>
                    <a:pt x="1156" y="1007"/>
                  </a:lnTo>
                  <a:lnTo>
                    <a:pt x="1158" y="1005"/>
                  </a:lnTo>
                  <a:lnTo>
                    <a:pt x="1165" y="1007"/>
                  </a:lnTo>
                  <a:lnTo>
                    <a:pt x="1167" y="1009"/>
                  </a:lnTo>
                  <a:lnTo>
                    <a:pt x="1171" y="1011"/>
                  </a:lnTo>
                  <a:lnTo>
                    <a:pt x="1177" y="1013"/>
                  </a:lnTo>
                  <a:lnTo>
                    <a:pt x="1181" y="1015"/>
                  </a:lnTo>
                  <a:lnTo>
                    <a:pt x="1184" y="1021"/>
                  </a:lnTo>
                  <a:lnTo>
                    <a:pt x="1182" y="1023"/>
                  </a:lnTo>
                  <a:lnTo>
                    <a:pt x="1182" y="1026"/>
                  </a:lnTo>
                  <a:lnTo>
                    <a:pt x="1182" y="1030"/>
                  </a:lnTo>
                  <a:lnTo>
                    <a:pt x="1181" y="1036"/>
                  </a:lnTo>
                  <a:lnTo>
                    <a:pt x="1179" y="1040"/>
                  </a:lnTo>
                  <a:lnTo>
                    <a:pt x="1177" y="1048"/>
                  </a:lnTo>
                  <a:lnTo>
                    <a:pt x="1179" y="1050"/>
                  </a:lnTo>
                  <a:lnTo>
                    <a:pt x="1179" y="1057"/>
                  </a:lnTo>
                  <a:lnTo>
                    <a:pt x="1177" y="1057"/>
                  </a:lnTo>
                  <a:lnTo>
                    <a:pt x="1177" y="1065"/>
                  </a:lnTo>
                  <a:lnTo>
                    <a:pt x="1177" y="1067"/>
                  </a:lnTo>
                  <a:lnTo>
                    <a:pt x="1175" y="1071"/>
                  </a:lnTo>
                  <a:lnTo>
                    <a:pt x="1175" y="1076"/>
                  </a:lnTo>
                  <a:lnTo>
                    <a:pt x="1177" y="1078"/>
                  </a:lnTo>
                  <a:lnTo>
                    <a:pt x="1181" y="1086"/>
                  </a:lnTo>
                  <a:lnTo>
                    <a:pt x="1186" y="1090"/>
                  </a:lnTo>
                  <a:lnTo>
                    <a:pt x="1192" y="1098"/>
                  </a:lnTo>
                  <a:lnTo>
                    <a:pt x="1198" y="1103"/>
                  </a:lnTo>
                  <a:lnTo>
                    <a:pt x="1198" y="1105"/>
                  </a:lnTo>
                  <a:lnTo>
                    <a:pt x="1204" y="1105"/>
                  </a:lnTo>
                  <a:lnTo>
                    <a:pt x="1206" y="1105"/>
                  </a:lnTo>
                  <a:lnTo>
                    <a:pt x="1207" y="1107"/>
                  </a:lnTo>
                  <a:lnTo>
                    <a:pt x="1215" y="1107"/>
                  </a:lnTo>
                  <a:lnTo>
                    <a:pt x="1221" y="1103"/>
                  </a:lnTo>
                  <a:lnTo>
                    <a:pt x="1230" y="1101"/>
                  </a:lnTo>
                  <a:lnTo>
                    <a:pt x="1234" y="1096"/>
                  </a:lnTo>
                  <a:lnTo>
                    <a:pt x="1242" y="1098"/>
                  </a:lnTo>
                  <a:lnTo>
                    <a:pt x="1242" y="1099"/>
                  </a:lnTo>
                  <a:lnTo>
                    <a:pt x="1248" y="1099"/>
                  </a:lnTo>
                  <a:lnTo>
                    <a:pt x="1253" y="1101"/>
                  </a:lnTo>
                  <a:lnTo>
                    <a:pt x="1259" y="1105"/>
                  </a:lnTo>
                  <a:lnTo>
                    <a:pt x="1265" y="1109"/>
                  </a:lnTo>
                  <a:lnTo>
                    <a:pt x="1271" y="1109"/>
                  </a:lnTo>
                  <a:lnTo>
                    <a:pt x="1282" y="1101"/>
                  </a:lnTo>
                  <a:lnTo>
                    <a:pt x="1288" y="1099"/>
                  </a:lnTo>
                  <a:lnTo>
                    <a:pt x="1288" y="1094"/>
                  </a:lnTo>
                  <a:lnTo>
                    <a:pt x="1292" y="1082"/>
                  </a:lnTo>
                  <a:lnTo>
                    <a:pt x="1298" y="1076"/>
                  </a:lnTo>
                  <a:lnTo>
                    <a:pt x="1309" y="1076"/>
                  </a:lnTo>
                  <a:lnTo>
                    <a:pt x="1309" y="1073"/>
                  </a:lnTo>
                  <a:lnTo>
                    <a:pt x="1319" y="1074"/>
                  </a:lnTo>
                  <a:lnTo>
                    <a:pt x="1330" y="1067"/>
                  </a:lnTo>
                  <a:lnTo>
                    <a:pt x="1336" y="1065"/>
                  </a:lnTo>
                  <a:lnTo>
                    <a:pt x="1344" y="1055"/>
                  </a:lnTo>
                  <a:lnTo>
                    <a:pt x="1348" y="1057"/>
                  </a:lnTo>
                  <a:lnTo>
                    <a:pt x="1351" y="1061"/>
                  </a:lnTo>
                  <a:lnTo>
                    <a:pt x="1348" y="1067"/>
                  </a:lnTo>
                  <a:lnTo>
                    <a:pt x="1348" y="1069"/>
                  </a:lnTo>
                  <a:lnTo>
                    <a:pt x="1340" y="1071"/>
                  </a:lnTo>
                  <a:lnTo>
                    <a:pt x="1346" y="1078"/>
                  </a:lnTo>
                  <a:lnTo>
                    <a:pt x="1346" y="1084"/>
                  </a:lnTo>
                  <a:lnTo>
                    <a:pt x="1338" y="1092"/>
                  </a:lnTo>
                  <a:lnTo>
                    <a:pt x="1344" y="1105"/>
                  </a:lnTo>
                  <a:lnTo>
                    <a:pt x="1349" y="1103"/>
                  </a:lnTo>
                  <a:lnTo>
                    <a:pt x="1353" y="1092"/>
                  </a:lnTo>
                  <a:lnTo>
                    <a:pt x="1348" y="1088"/>
                  </a:lnTo>
                  <a:lnTo>
                    <a:pt x="1348" y="1078"/>
                  </a:lnTo>
                  <a:lnTo>
                    <a:pt x="1365" y="1071"/>
                  </a:lnTo>
                  <a:lnTo>
                    <a:pt x="1363" y="1065"/>
                  </a:lnTo>
                  <a:lnTo>
                    <a:pt x="1369" y="1061"/>
                  </a:lnTo>
                  <a:lnTo>
                    <a:pt x="1374" y="1071"/>
                  </a:lnTo>
                  <a:lnTo>
                    <a:pt x="1382" y="1071"/>
                  </a:lnTo>
                  <a:lnTo>
                    <a:pt x="1392" y="1078"/>
                  </a:lnTo>
                  <a:lnTo>
                    <a:pt x="1392" y="1082"/>
                  </a:lnTo>
                  <a:lnTo>
                    <a:pt x="1405" y="1082"/>
                  </a:lnTo>
                  <a:lnTo>
                    <a:pt x="1420" y="1082"/>
                  </a:lnTo>
                  <a:lnTo>
                    <a:pt x="1428" y="1088"/>
                  </a:lnTo>
                  <a:lnTo>
                    <a:pt x="1440" y="1088"/>
                  </a:lnTo>
                  <a:lnTo>
                    <a:pt x="1445" y="1086"/>
                  </a:lnTo>
                  <a:lnTo>
                    <a:pt x="1445" y="1082"/>
                  </a:lnTo>
                  <a:lnTo>
                    <a:pt x="1465" y="1080"/>
                  </a:lnTo>
                  <a:lnTo>
                    <a:pt x="1482" y="1080"/>
                  </a:lnTo>
                  <a:lnTo>
                    <a:pt x="1470" y="1084"/>
                  </a:lnTo>
                  <a:lnTo>
                    <a:pt x="1474" y="1090"/>
                  </a:lnTo>
                  <a:lnTo>
                    <a:pt x="1484" y="1092"/>
                  </a:lnTo>
                  <a:lnTo>
                    <a:pt x="1497" y="1099"/>
                  </a:lnTo>
                  <a:lnTo>
                    <a:pt x="1499" y="1111"/>
                  </a:lnTo>
                  <a:lnTo>
                    <a:pt x="1505" y="1111"/>
                  </a:lnTo>
                  <a:lnTo>
                    <a:pt x="1511" y="1115"/>
                  </a:lnTo>
                  <a:lnTo>
                    <a:pt x="1520" y="1119"/>
                  </a:lnTo>
                  <a:lnTo>
                    <a:pt x="1528" y="1128"/>
                  </a:lnTo>
                  <a:lnTo>
                    <a:pt x="1528" y="1136"/>
                  </a:lnTo>
                  <a:lnTo>
                    <a:pt x="1534" y="1136"/>
                  </a:lnTo>
                  <a:lnTo>
                    <a:pt x="1541" y="1144"/>
                  </a:lnTo>
                  <a:lnTo>
                    <a:pt x="1547" y="1147"/>
                  </a:lnTo>
                  <a:lnTo>
                    <a:pt x="1562" y="1149"/>
                  </a:lnTo>
                  <a:lnTo>
                    <a:pt x="1564" y="1147"/>
                  </a:lnTo>
                  <a:lnTo>
                    <a:pt x="1576" y="1145"/>
                  </a:lnTo>
                  <a:lnTo>
                    <a:pt x="1591" y="1151"/>
                  </a:lnTo>
                  <a:lnTo>
                    <a:pt x="1597" y="1151"/>
                  </a:lnTo>
                  <a:lnTo>
                    <a:pt x="1607" y="1153"/>
                  </a:lnTo>
                  <a:lnTo>
                    <a:pt x="1622" y="1169"/>
                  </a:lnTo>
                  <a:lnTo>
                    <a:pt x="1624" y="1172"/>
                  </a:lnTo>
                  <a:lnTo>
                    <a:pt x="1628" y="1172"/>
                  </a:lnTo>
                  <a:lnTo>
                    <a:pt x="1632" y="1180"/>
                  </a:lnTo>
                  <a:lnTo>
                    <a:pt x="1639" y="1205"/>
                  </a:lnTo>
                  <a:lnTo>
                    <a:pt x="1647" y="1207"/>
                  </a:lnTo>
                  <a:lnTo>
                    <a:pt x="1647" y="1216"/>
                  </a:lnTo>
                  <a:lnTo>
                    <a:pt x="1637" y="1228"/>
                  </a:lnTo>
                  <a:lnTo>
                    <a:pt x="1641" y="1232"/>
                  </a:lnTo>
                  <a:lnTo>
                    <a:pt x="1666" y="1234"/>
                  </a:lnTo>
                  <a:lnTo>
                    <a:pt x="1666" y="1247"/>
                  </a:lnTo>
                  <a:lnTo>
                    <a:pt x="1678" y="1238"/>
                  </a:lnTo>
                  <a:lnTo>
                    <a:pt x="1693" y="1243"/>
                  </a:lnTo>
                  <a:lnTo>
                    <a:pt x="1718" y="1251"/>
                  </a:lnTo>
                  <a:lnTo>
                    <a:pt x="1724" y="1259"/>
                  </a:lnTo>
                  <a:lnTo>
                    <a:pt x="1722" y="1268"/>
                  </a:lnTo>
                  <a:lnTo>
                    <a:pt x="1737" y="1263"/>
                  </a:lnTo>
                  <a:lnTo>
                    <a:pt x="1766" y="1272"/>
                  </a:lnTo>
                  <a:lnTo>
                    <a:pt x="1785" y="1270"/>
                  </a:lnTo>
                  <a:lnTo>
                    <a:pt x="1806" y="1282"/>
                  </a:lnTo>
                  <a:lnTo>
                    <a:pt x="1823" y="1297"/>
                  </a:lnTo>
                  <a:lnTo>
                    <a:pt x="1833" y="1301"/>
                  </a:lnTo>
                  <a:lnTo>
                    <a:pt x="1848" y="1301"/>
                  </a:lnTo>
                  <a:lnTo>
                    <a:pt x="1852" y="1307"/>
                  </a:lnTo>
                  <a:lnTo>
                    <a:pt x="1856" y="1324"/>
                  </a:lnTo>
                  <a:lnTo>
                    <a:pt x="1860" y="1334"/>
                  </a:lnTo>
                  <a:lnTo>
                    <a:pt x="1852" y="1357"/>
                  </a:lnTo>
                  <a:lnTo>
                    <a:pt x="1846" y="1364"/>
                  </a:lnTo>
                  <a:lnTo>
                    <a:pt x="1827" y="1385"/>
                  </a:lnTo>
                  <a:lnTo>
                    <a:pt x="1818" y="1399"/>
                  </a:lnTo>
                  <a:lnTo>
                    <a:pt x="1808" y="1414"/>
                  </a:lnTo>
                  <a:lnTo>
                    <a:pt x="1804" y="1414"/>
                  </a:lnTo>
                  <a:lnTo>
                    <a:pt x="1800" y="1424"/>
                  </a:lnTo>
                  <a:lnTo>
                    <a:pt x="1800" y="1451"/>
                  </a:lnTo>
                  <a:lnTo>
                    <a:pt x="1797" y="1472"/>
                  </a:lnTo>
                  <a:lnTo>
                    <a:pt x="1795" y="1481"/>
                  </a:lnTo>
                  <a:lnTo>
                    <a:pt x="1791" y="1487"/>
                  </a:lnTo>
                  <a:lnTo>
                    <a:pt x="1789" y="1506"/>
                  </a:lnTo>
                  <a:lnTo>
                    <a:pt x="1773" y="1525"/>
                  </a:lnTo>
                  <a:lnTo>
                    <a:pt x="1772" y="1541"/>
                  </a:lnTo>
                  <a:lnTo>
                    <a:pt x="1760" y="1547"/>
                  </a:lnTo>
                  <a:lnTo>
                    <a:pt x="1756" y="1556"/>
                  </a:lnTo>
                  <a:lnTo>
                    <a:pt x="1743" y="1556"/>
                  </a:lnTo>
                  <a:lnTo>
                    <a:pt x="1720" y="1560"/>
                  </a:lnTo>
                  <a:lnTo>
                    <a:pt x="1710" y="1568"/>
                  </a:lnTo>
                  <a:lnTo>
                    <a:pt x="1695" y="1572"/>
                  </a:lnTo>
                  <a:lnTo>
                    <a:pt x="1679" y="1583"/>
                  </a:lnTo>
                  <a:lnTo>
                    <a:pt x="1666" y="1598"/>
                  </a:lnTo>
                  <a:lnTo>
                    <a:pt x="1666" y="1608"/>
                  </a:lnTo>
                  <a:lnTo>
                    <a:pt x="1666" y="1618"/>
                  </a:lnTo>
                  <a:lnTo>
                    <a:pt x="1666" y="1633"/>
                  </a:lnTo>
                  <a:lnTo>
                    <a:pt x="1662" y="1641"/>
                  </a:lnTo>
                  <a:lnTo>
                    <a:pt x="1653" y="1648"/>
                  </a:lnTo>
                  <a:lnTo>
                    <a:pt x="1637" y="1675"/>
                  </a:lnTo>
                  <a:lnTo>
                    <a:pt x="1624" y="1687"/>
                  </a:lnTo>
                  <a:lnTo>
                    <a:pt x="1614" y="1696"/>
                  </a:lnTo>
                  <a:lnTo>
                    <a:pt x="1608" y="1710"/>
                  </a:lnTo>
                  <a:lnTo>
                    <a:pt x="1601" y="1719"/>
                  </a:lnTo>
                  <a:lnTo>
                    <a:pt x="1593" y="1729"/>
                  </a:lnTo>
                  <a:lnTo>
                    <a:pt x="1578" y="1739"/>
                  </a:lnTo>
                  <a:lnTo>
                    <a:pt x="1566" y="1735"/>
                  </a:lnTo>
                  <a:lnTo>
                    <a:pt x="1561" y="1737"/>
                  </a:lnTo>
                  <a:lnTo>
                    <a:pt x="1547" y="1729"/>
                  </a:lnTo>
                  <a:lnTo>
                    <a:pt x="1537" y="1729"/>
                  </a:lnTo>
                  <a:lnTo>
                    <a:pt x="1530" y="1721"/>
                  </a:lnTo>
                  <a:lnTo>
                    <a:pt x="1528" y="1729"/>
                  </a:lnTo>
                  <a:lnTo>
                    <a:pt x="1547" y="1742"/>
                  </a:lnTo>
                  <a:lnTo>
                    <a:pt x="1543" y="1752"/>
                  </a:lnTo>
                  <a:lnTo>
                    <a:pt x="1553" y="1762"/>
                  </a:lnTo>
                  <a:lnTo>
                    <a:pt x="1551" y="1767"/>
                  </a:lnTo>
                  <a:lnTo>
                    <a:pt x="1537" y="1788"/>
                  </a:lnTo>
                  <a:lnTo>
                    <a:pt x="1518" y="1798"/>
                  </a:lnTo>
                  <a:lnTo>
                    <a:pt x="1490" y="1802"/>
                  </a:lnTo>
                  <a:lnTo>
                    <a:pt x="1474" y="1800"/>
                  </a:lnTo>
                  <a:lnTo>
                    <a:pt x="1478" y="1810"/>
                  </a:lnTo>
                  <a:lnTo>
                    <a:pt x="1474" y="1821"/>
                  </a:lnTo>
                  <a:lnTo>
                    <a:pt x="1478" y="1829"/>
                  </a:lnTo>
                  <a:lnTo>
                    <a:pt x="1470" y="1834"/>
                  </a:lnTo>
                  <a:lnTo>
                    <a:pt x="1455" y="1838"/>
                  </a:lnTo>
                  <a:lnTo>
                    <a:pt x="1442" y="1831"/>
                  </a:lnTo>
                  <a:lnTo>
                    <a:pt x="1436" y="1836"/>
                  </a:lnTo>
                  <a:lnTo>
                    <a:pt x="1438" y="1854"/>
                  </a:lnTo>
                  <a:lnTo>
                    <a:pt x="1447" y="1858"/>
                  </a:lnTo>
                  <a:lnTo>
                    <a:pt x="1455" y="1854"/>
                  </a:lnTo>
                  <a:lnTo>
                    <a:pt x="1459" y="1861"/>
                  </a:lnTo>
                  <a:lnTo>
                    <a:pt x="1445" y="1867"/>
                  </a:lnTo>
                  <a:lnTo>
                    <a:pt x="1434" y="1877"/>
                  </a:lnTo>
                  <a:lnTo>
                    <a:pt x="1434" y="1892"/>
                  </a:lnTo>
                  <a:lnTo>
                    <a:pt x="1430" y="1904"/>
                  </a:lnTo>
                  <a:lnTo>
                    <a:pt x="1415" y="1904"/>
                  </a:lnTo>
                  <a:lnTo>
                    <a:pt x="1405" y="1911"/>
                  </a:lnTo>
                  <a:lnTo>
                    <a:pt x="1399" y="1925"/>
                  </a:lnTo>
                  <a:lnTo>
                    <a:pt x="1415" y="1938"/>
                  </a:lnTo>
                  <a:lnTo>
                    <a:pt x="1428" y="1942"/>
                  </a:lnTo>
                  <a:lnTo>
                    <a:pt x="1424" y="1957"/>
                  </a:lnTo>
                  <a:lnTo>
                    <a:pt x="1407" y="1969"/>
                  </a:lnTo>
                  <a:lnTo>
                    <a:pt x="1395" y="1988"/>
                  </a:lnTo>
                  <a:lnTo>
                    <a:pt x="1386" y="1996"/>
                  </a:lnTo>
                  <a:lnTo>
                    <a:pt x="1378" y="2005"/>
                  </a:lnTo>
                  <a:lnTo>
                    <a:pt x="1384" y="2023"/>
                  </a:lnTo>
                  <a:lnTo>
                    <a:pt x="1394" y="2034"/>
                  </a:lnTo>
                  <a:lnTo>
                    <a:pt x="1386" y="2032"/>
                  </a:lnTo>
                  <a:lnTo>
                    <a:pt x="1376" y="2032"/>
                  </a:lnTo>
                  <a:lnTo>
                    <a:pt x="1369" y="2038"/>
                  </a:lnTo>
                  <a:lnTo>
                    <a:pt x="1355" y="2046"/>
                  </a:lnTo>
                  <a:lnTo>
                    <a:pt x="1353" y="2063"/>
                  </a:lnTo>
                  <a:lnTo>
                    <a:pt x="1348" y="2063"/>
                  </a:lnTo>
                  <a:lnTo>
                    <a:pt x="1332" y="2057"/>
                  </a:lnTo>
                  <a:lnTo>
                    <a:pt x="1315" y="2044"/>
                  </a:lnTo>
                  <a:lnTo>
                    <a:pt x="1298" y="2032"/>
                  </a:lnTo>
                  <a:lnTo>
                    <a:pt x="1294" y="2023"/>
                  </a:lnTo>
                  <a:lnTo>
                    <a:pt x="1298" y="2011"/>
                  </a:lnTo>
                  <a:lnTo>
                    <a:pt x="1292" y="1998"/>
                  </a:lnTo>
                  <a:lnTo>
                    <a:pt x="1290" y="1969"/>
                  </a:lnTo>
                  <a:lnTo>
                    <a:pt x="1294" y="1950"/>
                  </a:lnTo>
                  <a:lnTo>
                    <a:pt x="1309" y="1936"/>
                  </a:lnTo>
                  <a:lnTo>
                    <a:pt x="1288" y="1930"/>
                  </a:lnTo>
                  <a:lnTo>
                    <a:pt x="1301" y="1915"/>
                  </a:lnTo>
                  <a:lnTo>
                    <a:pt x="1307" y="1886"/>
                  </a:lnTo>
                  <a:lnTo>
                    <a:pt x="1321" y="1892"/>
                  </a:lnTo>
                  <a:lnTo>
                    <a:pt x="1330" y="1858"/>
                  </a:lnTo>
                  <a:lnTo>
                    <a:pt x="1319" y="1854"/>
                  </a:lnTo>
                  <a:lnTo>
                    <a:pt x="1315" y="1875"/>
                  </a:lnTo>
                  <a:lnTo>
                    <a:pt x="1307" y="1871"/>
                  </a:lnTo>
                  <a:lnTo>
                    <a:pt x="1311" y="1848"/>
                  </a:lnTo>
                  <a:lnTo>
                    <a:pt x="1317" y="1817"/>
                  </a:lnTo>
                  <a:lnTo>
                    <a:pt x="1321" y="1806"/>
                  </a:lnTo>
                  <a:lnTo>
                    <a:pt x="1319" y="1790"/>
                  </a:lnTo>
                  <a:lnTo>
                    <a:pt x="1317" y="1773"/>
                  </a:lnTo>
                  <a:lnTo>
                    <a:pt x="1323" y="1771"/>
                  </a:lnTo>
                  <a:lnTo>
                    <a:pt x="1332" y="1746"/>
                  </a:lnTo>
                  <a:lnTo>
                    <a:pt x="1342" y="1721"/>
                  </a:lnTo>
                  <a:lnTo>
                    <a:pt x="1348" y="1698"/>
                  </a:lnTo>
                  <a:lnTo>
                    <a:pt x="1344" y="1673"/>
                  </a:lnTo>
                  <a:lnTo>
                    <a:pt x="1348" y="1664"/>
                  </a:lnTo>
                  <a:lnTo>
                    <a:pt x="1348" y="1644"/>
                  </a:lnTo>
                  <a:lnTo>
                    <a:pt x="1355" y="1625"/>
                  </a:lnTo>
                  <a:lnTo>
                    <a:pt x="1357" y="1596"/>
                  </a:lnTo>
                  <a:lnTo>
                    <a:pt x="1361" y="1566"/>
                  </a:lnTo>
                  <a:lnTo>
                    <a:pt x="1365" y="1531"/>
                  </a:lnTo>
                  <a:lnTo>
                    <a:pt x="1365" y="1508"/>
                  </a:lnTo>
                  <a:lnTo>
                    <a:pt x="1361" y="1489"/>
                  </a:lnTo>
                  <a:lnTo>
                    <a:pt x="1348" y="1479"/>
                  </a:lnTo>
                  <a:lnTo>
                    <a:pt x="1348" y="1476"/>
                  </a:lnTo>
                  <a:lnTo>
                    <a:pt x="1319" y="1460"/>
                  </a:lnTo>
                  <a:lnTo>
                    <a:pt x="1294" y="1445"/>
                  </a:lnTo>
                  <a:lnTo>
                    <a:pt x="1282" y="1435"/>
                  </a:lnTo>
                  <a:lnTo>
                    <a:pt x="1278" y="1424"/>
                  </a:lnTo>
                  <a:lnTo>
                    <a:pt x="1280" y="1420"/>
                  </a:lnTo>
                  <a:lnTo>
                    <a:pt x="1269" y="1401"/>
                  </a:lnTo>
                  <a:lnTo>
                    <a:pt x="1253" y="1376"/>
                  </a:lnTo>
                  <a:lnTo>
                    <a:pt x="1242" y="1349"/>
                  </a:lnTo>
                  <a:lnTo>
                    <a:pt x="1236" y="1341"/>
                  </a:lnTo>
                  <a:lnTo>
                    <a:pt x="1232" y="1332"/>
                  </a:lnTo>
                  <a:lnTo>
                    <a:pt x="1219" y="1322"/>
                  </a:lnTo>
                  <a:lnTo>
                    <a:pt x="1211" y="1316"/>
                  </a:lnTo>
                  <a:lnTo>
                    <a:pt x="1215" y="1311"/>
                  </a:lnTo>
                  <a:lnTo>
                    <a:pt x="1207" y="1295"/>
                  </a:lnTo>
                  <a:lnTo>
                    <a:pt x="1213" y="1286"/>
                  </a:lnTo>
                  <a:lnTo>
                    <a:pt x="1223" y="1278"/>
                  </a:lnTo>
                  <a:lnTo>
                    <a:pt x="1232" y="1268"/>
                  </a:lnTo>
                  <a:lnTo>
                    <a:pt x="1229" y="1261"/>
                  </a:lnTo>
                  <a:lnTo>
                    <a:pt x="1223" y="1268"/>
                  </a:lnTo>
                  <a:lnTo>
                    <a:pt x="1215" y="1261"/>
                  </a:lnTo>
                  <a:lnTo>
                    <a:pt x="1217" y="1257"/>
                  </a:lnTo>
                  <a:lnTo>
                    <a:pt x="1215" y="1245"/>
                  </a:lnTo>
                  <a:lnTo>
                    <a:pt x="1219" y="1243"/>
                  </a:lnTo>
                  <a:lnTo>
                    <a:pt x="1223" y="1234"/>
                  </a:lnTo>
                  <a:lnTo>
                    <a:pt x="1229" y="1226"/>
                  </a:lnTo>
                  <a:lnTo>
                    <a:pt x="1227" y="1218"/>
                  </a:lnTo>
                  <a:lnTo>
                    <a:pt x="1234" y="1216"/>
                  </a:lnTo>
                  <a:lnTo>
                    <a:pt x="1244" y="1211"/>
                  </a:lnTo>
                  <a:lnTo>
                    <a:pt x="1242" y="1207"/>
                  </a:lnTo>
                  <a:lnTo>
                    <a:pt x="1246" y="1207"/>
                  </a:lnTo>
                  <a:lnTo>
                    <a:pt x="1246" y="1199"/>
                  </a:lnTo>
                  <a:lnTo>
                    <a:pt x="1250" y="1193"/>
                  </a:lnTo>
                  <a:lnTo>
                    <a:pt x="1255" y="1192"/>
                  </a:lnTo>
                  <a:lnTo>
                    <a:pt x="1263" y="1184"/>
                  </a:lnTo>
                  <a:lnTo>
                    <a:pt x="1269" y="1176"/>
                  </a:lnTo>
                  <a:lnTo>
                    <a:pt x="1263" y="1172"/>
                  </a:lnTo>
                  <a:lnTo>
                    <a:pt x="1265" y="1167"/>
                  </a:lnTo>
                  <a:lnTo>
                    <a:pt x="1261" y="1153"/>
                  </a:lnTo>
                  <a:lnTo>
                    <a:pt x="1265" y="1149"/>
                  </a:lnTo>
                  <a:lnTo>
                    <a:pt x="1263" y="1138"/>
                  </a:lnTo>
                  <a:lnTo>
                    <a:pt x="1257" y="1128"/>
                  </a:lnTo>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1" name="Freeform 177">
              <a:extLst>
                <a:ext uri="{FF2B5EF4-FFF2-40B4-BE49-F238E27FC236}">
                  <a16:creationId xmlns:a16="http://schemas.microsoft.com/office/drawing/2014/main" id="{6112A44A-335F-4B73-BAEA-4CACB1FB60FB}"/>
                </a:ext>
              </a:extLst>
            </p:cNvPr>
            <p:cNvSpPr>
              <a:spLocks/>
            </p:cNvSpPr>
            <p:nvPr/>
          </p:nvSpPr>
          <p:spPr bwMode="auto">
            <a:xfrm>
              <a:off x="1728789" y="2489343"/>
              <a:ext cx="404813" cy="192175"/>
            </a:xfrm>
            <a:custGeom>
              <a:avLst/>
              <a:gdLst>
                <a:gd name="T0" fmla="*/ 57 w 255"/>
                <a:gd name="T1" fmla="*/ 0 h 121"/>
                <a:gd name="T2" fmla="*/ 73 w 255"/>
                <a:gd name="T3" fmla="*/ 6 h 121"/>
                <a:gd name="T4" fmla="*/ 65 w 255"/>
                <a:gd name="T5" fmla="*/ 18 h 121"/>
                <a:gd name="T6" fmla="*/ 98 w 255"/>
                <a:gd name="T7" fmla="*/ 12 h 121"/>
                <a:gd name="T8" fmla="*/ 115 w 255"/>
                <a:gd name="T9" fmla="*/ 25 h 121"/>
                <a:gd name="T10" fmla="*/ 132 w 255"/>
                <a:gd name="T11" fmla="*/ 12 h 121"/>
                <a:gd name="T12" fmla="*/ 144 w 255"/>
                <a:gd name="T13" fmla="*/ 19 h 121"/>
                <a:gd name="T14" fmla="*/ 155 w 255"/>
                <a:gd name="T15" fmla="*/ 44 h 121"/>
                <a:gd name="T16" fmla="*/ 161 w 255"/>
                <a:gd name="T17" fmla="*/ 35 h 121"/>
                <a:gd name="T18" fmla="*/ 153 w 255"/>
                <a:gd name="T19" fmla="*/ 6 h 121"/>
                <a:gd name="T20" fmla="*/ 165 w 255"/>
                <a:gd name="T21" fmla="*/ 2 h 121"/>
                <a:gd name="T22" fmla="*/ 178 w 255"/>
                <a:gd name="T23" fmla="*/ 8 h 121"/>
                <a:gd name="T24" fmla="*/ 194 w 255"/>
                <a:gd name="T25" fmla="*/ 18 h 121"/>
                <a:gd name="T26" fmla="*/ 203 w 255"/>
                <a:gd name="T27" fmla="*/ 42 h 121"/>
                <a:gd name="T28" fmla="*/ 207 w 255"/>
                <a:gd name="T29" fmla="*/ 62 h 121"/>
                <a:gd name="T30" fmla="*/ 230 w 255"/>
                <a:gd name="T31" fmla="*/ 75 h 121"/>
                <a:gd name="T32" fmla="*/ 255 w 255"/>
                <a:gd name="T33" fmla="*/ 87 h 121"/>
                <a:gd name="T34" fmla="*/ 253 w 255"/>
                <a:gd name="T35" fmla="*/ 96 h 121"/>
                <a:gd name="T36" fmla="*/ 232 w 255"/>
                <a:gd name="T37" fmla="*/ 98 h 121"/>
                <a:gd name="T38" fmla="*/ 242 w 255"/>
                <a:gd name="T39" fmla="*/ 108 h 121"/>
                <a:gd name="T40" fmla="*/ 236 w 255"/>
                <a:gd name="T41" fmla="*/ 117 h 121"/>
                <a:gd name="T42" fmla="*/ 211 w 255"/>
                <a:gd name="T43" fmla="*/ 113 h 121"/>
                <a:gd name="T44" fmla="*/ 186 w 255"/>
                <a:gd name="T45" fmla="*/ 106 h 121"/>
                <a:gd name="T46" fmla="*/ 171 w 255"/>
                <a:gd name="T47" fmla="*/ 108 h 121"/>
                <a:gd name="T48" fmla="*/ 146 w 255"/>
                <a:gd name="T49" fmla="*/ 117 h 121"/>
                <a:gd name="T50" fmla="*/ 107 w 255"/>
                <a:gd name="T51" fmla="*/ 119 h 121"/>
                <a:gd name="T52" fmla="*/ 84 w 255"/>
                <a:gd name="T53" fmla="*/ 121 h 121"/>
                <a:gd name="T54" fmla="*/ 77 w 255"/>
                <a:gd name="T55" fmla="*/ 112 h 121"/>
                <a:gd name="T56" fmla="*/ 57 w 255"/>
                <a:gd name="T57" fmla="*/ 104 h 121"/>
                <a:gd name="T58" fmla="*/ 44 w 255"/>
                <a:gd name="T59" fmla="*/ 106 h 121"/>
                <a:gd name="T60" fmla="*/ 29 w 255"/>
                <a:gd name="T61" fmla="*/ 89 h 121"/>
                <a:gd name="T62" fmla="*/ 38 w 255"/>
                <a:gd name="T63" fmla="*/ 85 h 121"/>
                <a:gd name="T64" fmla="*/ 59 w 255"/>
                <a:gd name="T65" fmla="*/ 79 h 121"/>
                <a:gd name="T66" fmla="*/ 78 w 255"/>
                <a:gd name="T67" fmla="*/ 81 h 121"/>
                <a:gd name="T68" fmla="*/ 98 w 255"/>
                <a:gd name="T69" fmla="*/ 77 h 121"/>
                <a:gd name="T70" fmla="*/ 71 w 255"/>
                <a:gd name="T71" fmla="*/ 71 h 121"/>
                <a:gd name="T72" fmla="*/ 40 w 255"/>
                <a:gd name="T73" fmla="*/ 73 h 121"/>
                <a:gd name="T74" fmla="*/ 19 w 255"/>
                <a:gd name="T75" fmla="*/ 73 h 121"/>
                <a:gd name="T76" fmla="*/ 13 w 255"/>
                <a:gd name="T77" fmla="*/ 64 h 121"/>
                <a:gd name="T78" fmla="*/ 44 w 255"/>
                <a:gd name="T79" fmla="*/ 54 h 121"/>
                <a:gd name="T80" fmla="*/ 23 w 255"/>
                <a:gd name="T81" fmla="*/ 54 h 121"/>
                <a:gd name="T82" fmla="*/ 0 w 255"/>
                <a:gd name="T83" fmla="*/ 46 h 121"/>
                <a:gd name="T84" fmla="*/ 11 w 255"/>
                <a:gd name="T85" fmla="*/ 27 h 121"/>
                <a:gd name="T86" fmla="*/ 21 w 255"/>
                <a:gd name="T87" fmla="*/ 18 h 121"/>
                <a:gd name="T88" fmla="*/ 57 w 255"/>
                <a:gd name="T89" fmla="*/ 0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55" h="121">
                  <a:moveTo>
                    <a:pt x="57" y="0"/>
                  </a:moveTo>
                  <a:lnTo>
                    <a:pt x="73" y="6"/>
                  </a:lnTo>
                  <a:lnTo>
                    <a:pt x="65" y="18"/>
                  </a:lnTo>
                  <a:lnTo>
                    <a:pt x="98" y="12"/>
                  </a:lnTo>
                  <a:lnTo>
                    <a:pt x="115" y="25"/>
                  </a:lnTo>
                  <a:lnTo>
                    <a:pt x="132" y="12"/>
                  </a:lnTo>
                  <a:lnTo>
                    <a:pt x="144" y="19"/>
                  </a:lnTo>
                  <a:lnTo>
                    <a:pt x="155" y="44"/>
                  </a:lnTo>
                  <a:lnTo>
                    <a:pt x="161" y="35"/>
                  </a:lnTo>
                  <a:lnTo>
                    <a:pt x="153" y="6"/>
                  </a:lnTo>
                  <a:lnTo>
                    <a:pt x="165" y="2"/>
                  </a:lnTo>
                  <a:lnTo>
                    <a:pt x="178" y="8"/>
                  </a:lnTo>
                  <a:lnTo>
                    <a:pt x="194" y="18"/>
                  </a:lnTo>
                  <a:lnTo>
                    <a:pt x="203" y="42"/>
                  </a:lnTo>
                  <a:lnTo>
                    <a:pt x="207" y="62"/>
                  </a:lnTo>
                  <a:lnTo>
                    <a:pt x="230" y="75"/>
                  </a:lnTo>
                  <a:lnTo>
                    <a:pt x="255" y="87"/>
                  </a:lnTo>
                  <a:lnTo>
                    <a:pt x="253" y="96"/>
                  </a:lnTo>
                  <a:lnTo>
                    <a:pt x="232" y="98"/>
                  </a:lnTo>
                  <a:lnTo>
                    <a:pt x="242" y="108"/>
                  </a:lnTo>
                  <a:lnTo>
                    <a:pt x="236" y="117"/>
                  </a:lnTo>
                  <a:lnTo>
                    <a:pt x="211" y="113"/>
                  </a:lnTo>
                  <a:lnTo>
                    <a:pt x="186" y="106"/>
                  </a:lnTo>
                  <a:lnTo>
                    <a:pt x="171" y="108"/>
                  </a:lnTo>
                  <a:lnTo>
                    <a:pt x="146" y="117"/>
                  </a:lnTo>
                  <a:lnTo>
                    <a:pt x="107" y="119"/>
                  </a:lnTo>
                  <a:lnTo>
                    <a:pt x="84" y="121"/>
                  </a:lnTo>
                  <a:lnTo>
                    <a:pt x="77" y="112"/>
                  </a:lnTo>
                  <a:lnTo>
                    <a:pt x="57" y="104"/>
                  </a:lnTo>
                  <a:lnTo>
                    <a:pt x="44" y="106"/>
                  </a:lnTo>
                  <a:lnTo>
                    <a:pt x="29" y="89"/>
                  </a:lnTo>
                  <a:lnTo>
                    <a:pt x="38" y="85"/>
                  </a:lnTo>
                  <a:lnTo>
                    <a:pt x="59" y="79"/>
                  </a:lnTo>
                  <a:lnTo>
                    <a:pt x="78" y="81"/>
                  </a:lnTo>
                  <a:lnTo>
                    <a:pt x="98" y="77"/>
                  </a:lnTo>
                  <a:lnTo>
                    <a:pt x="71" y="71"/>
                  </a:lnTo>
                  <a:lnTo>
                    <a:pt x="40" y="73"/>
                  </a:lnTo>
                  <a:lnTo>
                    <a:pt x="19" y="73"/>
                  </a:lnTo>
                  <a:lnTo>
                    <a:pt x="13" y="64"/>
                  </a:lnTo>
                  <a:lnTo>
                    <a:pt x="44" y="54"/>
                  </a:lnTo>
                  <a:lnTo>
                    <a:pt x="23" y="54"/>
                  </a:lnTo>
                  <a:lnTo>
                    <a:pt x="0" y="46"/>
                  </a:lnTo>
                  <a:lnTo>
                    <a:pt x="11" y="27"/>
                  </a:lnTo>
                  <a:lnTo>
                    <a:pt x="21" y="18"/>
                  </a:lnTo>
                  <a:lnTo>
                    <a:pt x="57" y="0"/>
                  </a:lnTo>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2" name="Freeform 179">
              <a:extLst>
                <a:ext uri="{FF2B5EF4-FFF2-40B4-BE49-F238E27FC236}">
                  <a16:creationId xmlns:a16="http://schemas.microsoft.com/office/drawing/2014/main" id="{715656F8-4EEB-4023-9780-802C01877039}"/>
                </a:ext>
              </a:extLst>
            </p:cNvPr>
            <p:cNvSpPr>
              <a:spLocks/>
            </p:cNvSpPr>
            <p:nvPr/>
          </p:nvSpPr>
          <p:spPr bwMode="auto">
            <a:xfrm>
              <a:off x="2005014" y="2478225"/>
              <a:ext cx="52388" cy="36530"/>
            </a:xfrm>
            <a:custGeom>
              <a:avLst/>
              <a:gdLst>
                <a:gd name="T0" fmla="*/ 23 w 33"/>
                <a:gd name="T1" fmla="*/ 0 h 23"/>
                <a:gd name="T2" fmla="*/ 33 w 33"/>
                <a:gd name="T3" fmla="*/ 5 h 23"/>
                <a:gd name="T4" fmla="*/ 21 w 33"/>
                <a:gd name="T5" fmla="*/ 23 h 23"/>
                <a:gd name="T6" fmla="*/ 0 w 33"/>
                <a:gd name="T7" fmla="*/ 5 h 23"/>
                <a:gd name="T8" fmla="*/ 4 w 33"/>
                <a:gd name="T9" fmla="*/ 0 h 23"/>
                <a:gd name="T10" fmla="*/ 23 w 33"/>
                <a:gd name="T11" fmla="*/ 0 h 23"/>
              </a:gdLst>
              <a:ahLst/>
              <a:cxnLst>
                <a:cxn ang="0">
                  <a:pos x="T0" y="T1"/>
                </a:cxn>
                <a:cxn ang="0">
                  <a:pos x="T2" y="T3"/>
                </a:cxn>
                <a:cxn ang="0">
                  <a:pos x="T4" y="T5"/>
                </a:cxn>
                <a:cxn ang="0">
                  <a:pos x="T6" y="T7"/>
                </a:cxn>
                <a:cxn ang="0">
                  <a:pos x="T8" y="T9"/>
                </a:cxn>
                <a:cxn ang="0">
                  <a:pos x="T10" y="T11"/>
                </a:cxn>
              </a:cxnLst>
              <a:rect l="0" t="0" r="r" b="b"/>
              <a:pathLst>
                <a:path w="33" h="23">
                  <a:moveTo>
                    <a:pt x="23" y="0"/>
                  </a:moveTo>
                  <a:lnTo>
                    <a:pt x="33" y="5"/>
                  </a:lnTo>
                  <a:lnTo>
                    <a:pt x="21" y="23"/>
                  </a:lnTo>
                  <a:lnTo>
                    <a:pt x="0" y="5"/>
                  </a:lnTo>
                  <a:lnTo>
                    <a:pt x="4" y="0"/>
                  </a:lnTo>
                  <a:lnTo>
                    <a:pt x="23" y="0"/>
                  </a:lnTo>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3" name="Freeform 181">
              <a:extLst>
                <a:ext uri="{FF2B5EF4-FFF2-40B4-BE49-F238E27FC236}">
                  <a16:creationId xmlns:a16="http://schemas.microsoft.com/office/drawing/2014/main" id="{C6EC7315-601E-46FD-86BB-3EA57901B836}"/>
                </a:ext>
              </a:extLst>
            </p:cNvPr>
            <p:cNvSpPr>
              <a:spLocks/>
            </p:cNvSpPr>
            <p:nvPr/>
          </p:nvSpPr>
          <p:spPr bwMode="auto">
            <a:xfrm>
              <a:off x="2578101" y="2471872"/>
              <a:ext cx="103188" cy="42882"/>
            </a:xfrm>
            <a:custGeom>
              <a:avLst/>
              <a:gdLst>
                <a:gd name="T0" fmla="*/ 8 w 65"/>
                <a:gd name="T1" fmla="*/ 0 h 27"/>
                <a:gd name="T2" fmla="*/ 38 w 65"/>
                <a:gd name="T3" fmla="*/ 2 h 27"/>
                <a:gd name="T4" fmla="*/ 63 w 65"/>
                <a:gd name="T5" fmla="*/ 17 h 27"/>
                <a:gd name="T6" fmla="*/ 65 w 65"/>
                <a:gd name="T7" fmla="*/ 25 h 27"/>
                <a:gd name="T8" fmla="*/ 50 w 65"/>
                <a:gd name="T9" fmla="*/ 25 h 27"/>
                <a:gd name="T10" fmla="*/ 35 w 65"/>
                <a:gd name="T11" fmla="*/ 25 h 27"/>
                <a:gd name="T12" fmla="*/ 19 w 65"/>
                <a:gd name="T13" fmla="*/ 27 h 27"/>
                <a:gd name="T14" fmla="*/ 17 w 65"/>
                <a:gd name="T15" fmla="*/ 25 h 27"/>
                <a:gd name="T16" fmla="*/ 0 w 65"/>
                <a:gd name="T17" fmla="*/ 11 h 27"/>
                <a:gd name="T18" fmla="*/ 0 w 65"/>
                <a:gd name="T19" fmla="*/ 2 h 27"/>
                <a:gd name="T20" fmla="*/ 8 w 65"/>
                <a:gd name="T21" fmla="*/ 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5" h="27">
                  <a:moveTo>
                    <a:pt x="8" y="0"/>
                  </a:moveTo>
                  <a:lnTo>
                    <a:pt x="38" y="2"/>
                  </a:lnTo>
                  <a:lnTo>
                    <a:pt x="63" y="17"/>
                  </a:lnTo>
                  <a:lnTo>
                    <a:pt x="65" y="25"/>
                  </a:lnTo>
                  <a:lnTo>
                    <a:pt x="50" y="25"/>
                  </a:lnTo>
                  <a:lnTo>
                    <a:pt x="35" y="25"/>
                  </a:lnTo>
                  <a:lnTo>
                    <a:pt x="19" y="27"/>
                  </a:lnTo>
                  <a:lnTo>
                    <a:pt x="17" y="25"/>
                  </a:lnTo>
                  <a:lnTo>
                    <a:pt x="0" y="11"/>
                  </a:lnTo>
                  <a:lnTo>
                    <a:pt x="0" y="2"/>
                  </a:lnTo>
                  <a:lnTo>
                    <a:pt x="8" y="0"/>
                  </a:lnTo>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4" name="Freeform 183">
              <a:extLst>
                <a:ext uri="{FF2B5EF4-FFF2-40B4-BE49-F238E27FC236}">
                  <a16:creationId xmlns:a16="http://schemas.microsoft.com/office/drawing/2014/main" id="{8E91D79F-3901-44AD-8320-B0A898FFDA4D}"/>
                </a:ext>
              </a:extLst>
            </p:cNvPr>
            <p:cNvSpPr>
              <a:spLocks/>
            </p:cNvSpPr>
            <p:nvPr/>
          </p:nvSpPr>
          <p:spPr bwMode="auto">
            <a:xfrm>
              <a:off x="2374902" y="2471872"/>
              <a:ext cx="627063" cy="451054"/>
            </a:xfrm>
            <a:custGeom>
              <a:avLst/>
              <a:gdLst>
                <a:gd name="T0" fmla="*/ 49 w 395"/>
                <a:gd name="T1" fmla="*/ 15 h 284"/>
                <a:gd name="T2" fmla="*/ 74 w 395"/>
                <a:gd name="T3" fmla="*/ 9 h 284"/>
                <a:gd name="T4" fmla="*/ 132 w 395"/>
                <a:gd name="T5" fmla="*/ 27 h 284"/>
                <a:gd name="T6" fmla="*/ 157 w 395"/>
                <a:gd name="T7" fmla="*/ 38 h 284"/>
                <a:gd name="T8" fmla="*/ 203 w 395"/>
                <a:gd name="T9" fmla="*/ 40 h 284"/>
                <a:gd name="T10" fmla="*/ 222 w 395"/>
                <a:gd name="T11" fmla="*/ 65 h 284"/>
                <a:gd name="T12" fmla="*/ 262 w 395"/>
                <a:gd name="T13" fmla="*/ 75 h 284"/>
                <a:gd name="T14" fmla="*/ 308 w 395"/>
                <a:gd name="T15" fmla="*/ 94 h 284"/>
                <a:gd name="T16" fmla="*/ 297 w 395"/>
                <a:gd name="T17" fmla="*/ 128 h 284"/>
                <a:gd name="T18" fmla="*/ 353 w 395"/>
                <a:gd name="T19" fmla="*/ 149 h 284"/>
                <a:gd name="T20" fmla="*/ 395 w 395"/>
                <a:gd name="T21" fmla="*/ 172 h 284"/>
                <a:gd name="T22" fmla="*/ 366 w 395"/>
                <a:gd name="T23" fmla="*/ 217 h 284"/>
                <a:gd name="T24" fmla="*/ 326 w 395"/>
                <a:gd name="T25" fmla="*/ 184 h 284"/>
                <a:gd name="T26" fmla="*/ 307 w 395"/>
                <a:gd name="T27" fmla="*/ 201 h 284"/>
                <a:gd name="T28" fmla="*/ 341 w 395"/>
                <a:gd name="T29" fmla="*/ 224 h 284"/>
                <a:gd name="T30" fmla="*/ 356 w 395"/>
                <a:gd name="T31" fmla="*/ 251 h 284"/>
                <a:gd name="T32" fmla="*/ 332 w 395"/>
                <a:gd name="T33" fmla="*/ 261 h 284"/>
                <a:gd name="T34" fmla="*/ 316 w 395"/>
                <a:gd name="T35" fmla="*/ 263 h 284"/>
                <a:gd name="T36" fmla="*/ 333 w 395"/>
                <a:gd name="T37" fmla="*/ 284 h 284"/>
                <a:gd name="T38" fmla="*/ 266 w 395"/>
                <a:gd name="T39" fmla="*/ 263 h 284"/>
                <a:gd name="T40" fmla="*/ 253 w 395"/>
                <a:gd name="T41" fmla="*/ 245 h 284"/>
                <a:gd name="T42" fmla="*/ 213 w 395"/>
                <a:gd name="T43" fmla="*/ 222 h 284"/>
                <a:gd name="T44" fmla="*/ 172 w 395"/>
                <a:gd name="T45" fmla="*/ 232 h 284"/>
                <a:gd name="T46" fmla="*/ 168 w 395"/>
                <a:gd name="T47" fmla="*/ 209 h 284"/>
                <a:gd name="T48" fmla="*/ 224 w 395"/>
                <a:gd name="T49" fmla="*/ 207 h 284"/>
                <a:gd name="T50" fmla="*/ 224 w 395"/>
                <a:gd name="T51" fmla="*/ 186 h 284"/>
                <a:gd name="T52" fmla="*/ 239 w 395"/>
                <a:gd name="T53" fmla="*/ 151 h 284"/>
                <a:gd name="T54" fmla="*/ 213 w 395"/>
                <a:gd name="T55" fmla="*/ 132 h 284"/>
                <a:gd name="T56" fmla="*/ 193 w 395"/>
                <a:gd name="T57" fmla="*/ 119 h 284"/>
                <a:gd name="T58" fmla="*/ 166 w 395"/>
                <a:gd name="T59" fmla="*/ 103 h 284"/>
                <a:gd name="T60" fmla="*/ 147 w 395"/>
                <a:gd name="T61" fmla="*/ 101 h 284"/>
                <a:gd name="T62" fmla="*/ 72 w 395"/>
                <a:gd name="T63" fmla="*/ 100 h 284"/>
                <a:gd name="T64" fmla="*/ 21 w 395"/>
                <a:gd name="T65" fmla="*/ 86 h 284"/>
                <a:gd name="T66" fmla="*/ 23 w 395"/>
                <a:gd name="T67" fmla="*/ 67 h 284"/>
                <a:gd name="T68" fmla="*/ 0 w 395"/>
                <a:gd name="T69" fmla="*/ 40 h 284"/>
                <a:gd name="T70" fmla="*/ 23 w 395"/>
                <a:gd name="T71" fmla="*/ 6 h 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95" h="284">
                  <a:moveTo>
                    <a:pt x="59" y="0"/>
                  </a:moveTo>
                  <a:lnTo>
                    <a:pt x="49" y="15"/>
                  </a:lnTo>
                  <a:lnTo>
                    <a:pt x="61" y="32"/>
                  </a:lnTo>
                  <a:lnTo>
                    <a:pt x="74" y="9"/>
                  </a:lnTo>
                  <a:lnTo>
                    <a:pt x="109" y="0"/>
                  </a:lnTo>
                  <a:lnTo>
                    <a:pt x="132" y="27"/>
                  </a:lnTo>
                  <a:lnTo>
                    <a:pt x="130" y="46"/>
                  </a:lnTo>
                  <a:lnTo>
                    <a:pt x="157" y="38"/>
                  </a:lnTo>
                  <a:lnTo>
                    <a:pt x="170" y="27"/>
                  </a:lnTo>
                  <a:lnTo>
                    <a:pt x="203" y="40"/>
                  </a:lnTo>
                  <a:lnTo>
                    <a:pt x="222" y="52"/>
                  </a:lnTo>
                  <a:lnTo>
                    <a:pt x="222" y="65"/>
                  </a:lnTo>
                  <a:lnTo>
                    <a:pt x="249" y="57"/>
                  </a:lnTo>
                  <a:lnTo>
                    <a:pt x="262" y="75"/>
                  </a:lnTo>
                  <a:lnTo>
                    <a:pt x="297" y="84"/>
                  </a:lnTo>
                  <a:lnTo>
                    <a:pt x="308" y="94"/>
                  </a:lnTo>
                  <a:lnTo>
                    <a:pt x="322" y="117"/>
                  </a:lnTo>
                  <a:lnTo>
                    <a:pt x="297" y="128"/>
                  </a:lnTo>
                  <a:lnTo>
                    <a:pt x="330" y="144"/>
                  </a:lnTo>
                  <a:lnTo>
                    <a:pt x="353" y="149"/>
                  </a:lnTo>
                  <a:lnTo>
                    <a:pt x="372" y="171"/>
                  </a:lnTo>
                  <a:lnTo>
                    <a:pt x="395" y="172"/>
                  </a:lnTo>
                  <a:lnTo>
                    <a:pt x="389" y="190"/>
                  </a:lnTo>
                  <a:lnTo>
                    <a:pt x="366" y="217"/>
                  </a:lnTo>
                  <a:lnTo>
                    <a:pt x="349" y="207"/>
                  </a:lnTo>
                  <a:lnTo>
                    <a:pt x="326" y="184"/>
                  </a:lnTo>
                  <a:lnTo>
                    <a:pt x="308" y="188"/>
                  </a:lnTo>
                  <a:lnTo>
                    <a:pt x="307" y="201"/>
                  </a:lnTo>
                  <a:lnTo>
                    <a:pt x="320" y="213"/>
                  </a:lnTo>
                  <a:lnTo>
                    <a:pt x="341" y="224"/>
                  </a:lnTo>
                  <a:lnTo>
                    <a:pt x="347" y="230"/>
                  </a:lnTo>
                  <a:lnTo>
                    <a:pt x="356" y="251"/>
                  </a:lnTo>
                  <a:lnTo>
                    <a:pt x="351" y="268"/>
                  </a:lnTo>
                  <a:lnTo>
                    <a:pt x="332" y="261"/>
                  </a:lnTo>
                  <a:lnTo>
                    <a:pt x="297" y="245"/>
                  </a:lnTo>
                  <a:lnTo>
                    <a:pt x="316" y="263"/>
                  </a:lnTo>
                  <a:lnTo>
                    <a:pt x="332" y="276"/>
                  </a:lnTo>
                  <a:lnTo>
                    <a:pt x="333" y="284"/>
                  </a:lnTo>
                  <a:lnTo>
                    <a:pt x="297" y="274"/>
                  </a:lnTo>
                  <a:lnTo>
                    <a:pt x="266" y="263"/>
                  </a:lnTo>
                  <a:lnTo>
                    <a:pt x="249" y="251"/>
                  </a:lnTo>
                  <a:lnTo>
                    <a:pt x="253" y="245"/>
                  </a:lnTo>
                  <a:lnTo>
                    <a:pt x="232" y="234"/>
                  </a:lnTo>
                  <a:lnTo>
                    <a:pt x="213" y="222"/>
                  </a:lnTo>
                  <a:lnTo>
                    <a:pt x="213" y="230"/>
                  </a:lnTo>
                  <a:lnTo>
                    <a:pt x="172" y="232"/>
                  </a:lnTo>
                  <a:lnTo>
                    <a:pt x="161" y="226"/>
                  </a:lnTo>
                  <a:lnTo>
                    <a:pt x="168" y="209"/>
                  </a:lnTo>
                  <a:lnTo>
                    <a:pt x="195" y="207"/>
                  </a:lnTo>
                  <a:lnTo>
                    <a:pt x="224" y="207"/>
                  </a:lnTo>
                  <a:lnTo>
                    <a:pt x="220" y="197"/>
                  </a:lnTo>
                  <a:lnTo>
                    <a:pt x="224" y="186"/>
                  </a:lnTo>
                  <a:lnTo>
                    <a:pt x="243" y="163"/>
                  </a:lnTo>
                  <a:lnTo>
                    <a:pt x="239" y="151"/>
                  </a:lnTo>
                  <a:lnTo>
                    <a:pt x="234" y="144"/>
                  </a:lnTo>
                  <a:lnTo>
                    <a:pt x="213" y="132"/>
                  </a:lnTo>
                  <a:lnTo>
                    <a:pt x="184" y="124"/>
                  </a:lnTo>
                  <a:lnTo>
                    <a:pt x="193" y="119"/>
                  </a:lnTo>
                  <a:lnTo>
                    <a:pt x="180" y="103"/>
                  </a:lnTo>
                  <a:lnTo>
                    <a:pt x="166" y="103"/>
                  </a:lnTo>
                  <a:lnTo>
                    <a:pt x="157" y="94"/>
                  </a:lnTo>
                  <a:lnTo>
                    <a:pt x="147" y="101"/>
                  </a:lnTo>
                  <a:lnTo>
                    <a:pt x="122" y="103"/>
                  </a:lnTo>
                  <a:lnTo>
                    <a:pt x="72" y="100"/>
                  </a:lnTo>
                  <a:lnTo>
                    <a:pt x="42" y="90"/>
                  </a:lnTo>
                  <a:lnTo>
                    <a:pt x="21" y="86"/>
                  </a:lnTo>
                  <a:lnTo>
                    <a:pt x="9" y="78"/>
                  </a:lnTo>
                  <a:lnTo>
                    <a:pt x="23" y="67"/>
                  </a:lnTo>
                  <a:lnTo>
                    <a:pt x="3" y="67"/>
                  </a:lnTo>
                  <a:lnTo>
                    <a:pt x="0" y="40"/>
                  </a:lnTo>
                  <a:lnTo>
                    <a:pt x="9" y="17"/>
                  </a:lnTo>
                  <a:lnTo>
                    <a:pt x="23" y="6"/>
                  </a:lnTo>
                  <a:lnTo>
                    <a:pt x="59" y="0"/>
                  </a:lnTo>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5" name="Freeform 185">
              <a:extLst>
                <a:ext uri="{FF2B5EF4-FFF2-40B4-BE49-F238E27FC236}">
                  <a16:creationId xmlns:a16="http://schemas.microsoft.com/office/drawing/2014/main" id="{9D2524F4-8479-42FB-84D2-0D7FB71DC105}"/>
                </a:ext>
              </a:extLst>
            </p:cNvPr>
            <p:cNvSpPr>
              <a:spLocks/>
            </p:cNvSpPr>
            <p:nvPr/>
          </p:nvSpPr>
          <p:spPr bwMode="auto">
            <a:xfrm>
              <a:off x="2103439" y="2468695"/>
              <a:ext cx="127000" cy="109588"/>
            </a:xfrm>
            <a:custGeom>
              <a:avLst/>
              <a:gdLst>
                <a:gd name="T0" fmla="*/ 27 w 80"/>
                <a:gd name="T1" fmla="*/ 0 h 69"/>
                <a:gd name="T2" fmla="*/ 44 w 80"/>
                <a:gd name="T3" fmla="*/ 6 h 69"/>
                <a:gd name="T4" fmla="*/ 69 w 80"/>
                <a:gd name="T5" fmla="*/ 2 h 69"/>
                <a:gd name="T6" fmla="*/ 73 w 80"/>
                <a:gd name="T7" fmla="*/ 9 h 69"/>
                <a:gd name="T8" fmla="*/ 61 w 80"/>
                <a:gd name="T9" fmla="*/ 23 h 69"/>
                <a:gd name="T10" fmla="*/ 80 w 80"/>
                <a:gd name="T11" fmla="*/ 34 h 69"/>
                <a:gd name="T12" fmla="*/ 80 w 80"/>
                <a:gd name="T13" fmla="*/ 57 h 69"/>
                <a:gd name="T14" fmla="*/ 55 w 80"/>
                <a:gd name="T15" fmla="*/ 69 h 69"/>
                <a:gd name="T16" fmla="*/ 42 w 80"/>
                <a:gd name="T17" fmla="*/ 67 h 69"/>
                <a:gd name="T18" fmla="*/ 32 w 80"/>
                <a:gd name="T19" fmla="*/ 55 h 69"/>
                <a:gd name="T20" fmla="*/ 0 w 80"/>
                <a:gd name="T21" fmla="*/ 36 h 69"/>
                <a:gd name="T22" fmla="*/ 0 w 80"/>
                <a:gd name="T23" fmla="*/ 27 h 69"/>
                <a:gd name="T24" fmla="*/ 27 w 80"/>
                <a:gd name="T25" fmla="*/ 31 h 69"/>
                <a:gd name="T26" fmla="*/ 13 w 80"/>
                <a:gd name="T27" fmla="*/ 11 h 69"/>
                <a:gd name="T28" fmla="*/ 27 w 80"/>
                <a:gd name="T29" fmla="*/ 0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0" h="69">
                  <a:moveTo>
                    <a:pt x="27" y="0"/>
                  </a:moveTo>
                  <a:lnTo>
                    <a:pt x="44" y="6"/>
                  </a:lnTo>
                  <a:lnTo>
                    <a:pt x="69" y="2"/>
                  </a:lnTo>
                  <a:lnTo>
                    <a:pt x="73" y="9"/>
                  </a:lnTo>
                  <a:lnTo>
                    <a:pt x="61" y="23"/>
                  </a:lnTo>
                  <a:lnTo>
                    <a:pt x="80" y="34"/>
                  </a:lnTo>
                  <a:lnTo>
                    <a:pt x="80" y="57"/>
                  </a:lnTo>
                  <a:lnTo>
                    <a:pt x="55" y="69"/>
                  </a:lnTo>
                  <a:lnTo>
                    <a:pt x="42" y="67"/>
                  </a:lnTo>
                  <a:lnTo>
                    <a:pt x="32" y="55"/>
                  </a:lnTo>
                  <a:lnTo>
                    <a:pt x="0" y="36"/>
                  </a:lnTo>
                  <a:lnTo>
                    <a:pt x="0" y="27"/>
                  </a:lnTo>
                  <a:lnTo>
                    <a:pt x="27" y="31"/>
                  </a:lnTo>
                  <a:lnTo>
                    <a:pt x="13" y="11"/>
                  </a:lnTo>
                  <a:lnTo>
                    <a:pt x="27" y="0"/>
                  </a:lnTo>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6" name="Freeform 187">
              <a:extLst>
                <a:ext uri="{FF2B5EF4-FFF2-40B4-BE49-F238E27FC236}">
                  <a16:creationId xmlns:a16="http://schemas.microsoft.com/office/drawing/2014/main" id="{E98ECBA8-55B8-4823-B34F-2C0540EE350A}"/>
                </a:ext>
              </a:extLst>
            </p:cNvPr>
            <p:cNvSpPr>
              <a:spLocks/>
            </p:cNvSpPr>
            <p:nvPr/>
          </p:nvSpPr>
          <p:spPr bwMode="auto">
            <a:xfrm>
              <a:off x="7461250" y="2468695"/>
              <a:ext cx="82550" cy="27000"/>
            </a:xfrm>
            <a:custGeom>
              <a:avLst/>
              <a:gdLst>
                <a:gd name="T0" fmla="*/ 31 w 52"/>
                <a:gd name="T1" fmla="*/ 0 h 17"/>
                <a:gd name="T2" fmla="*/ 50 w 52"/>
                <a:gd name="T3" fmla="*/ 9 h 17"/>
                <a:gd name="T4" fmla="*/ 52 w 52"/>
                <a:gd name="T5" fmla="*/ 17 h 17"/>
                <a:gd name="T6" fmla="*/ 31 w 52"/>
                <a:gd name="T7" fmla="*/ 17 h 17"/>
                <a:gd name="T8" fmla="*/ 2 w 52"/>
                <a:gd name="T9" fmla="*/ 13 h 17"/>
                <a:gd name="T10" fmla="*/ 0 w 52"/>
                <a:gd name="T11" fmla="*/ 11 h 17"/>
                <a:gd name="T12" fmla="*/ 13 w 52"/>
                <a:gd name="T13" fmla="*/ 2 h 17"/>
                <a:gd name="T14" fmla="*/ 31 w 52"/>
                <a:gd name="T15" fmla="*/ 0 h 1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2" h="17">
                  <a:moveTo>
                    <a:pt x="31" y="0"/>
                  </a:moveTo>
                  <a:lnTo>
                    <a:pt x="50" y="9"/>
                  </a:lnTo>
                  <a:lnTo>
                    <a:pt x="52" y="17"/>
                  </a:lnTo>
                  <a:lnTo>
                    <a:pt x="31" y="17"/>
                  </a:lnTo>
                  <a:lnTo>
                    <a:pt x="2" y="13"/>
                  </a:lnTo>
                  <a:lnTo>
                    <a:pt x="0" y="11"/>
                  </a:lnTo>
                  <a:lnTo>
                    <a:pt x="13" y="2"/>
                  </a:lnTo>
                  <a:lnTo>
                    <a:pt x="31" y="0"/>
                  </a:lnTo>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7" name="Freeform 189">
              <a:extLst>
                <a:ext uri="{FF2B5EF4-FFF2-40B4-BE49-F238E27FC236}">
                  <a16:creationId xmlns:a16="http://schemas.microsoft.com/office/drawing/2014/main" id="{DE52EE6F-A916-4DA0-AF9A-45CA9DBD0737}"/>
                </a:ext>
              </a:extLst>
            </p:cNvPr>
            <p:cNvSpPr>
              <a:spLocks/>
            </p:cNvSpPr>
            <p:nvPr/>
          </p:nvSpPr>
          <p:spPr bwMode="auto">
            <a:xfrm>
              <a:off x="2243139" y="2455990"/>
              <a:ext cx="122238" cy="88940"/>
            </a:xfrm>
            <a:custGeom>
              <a:avLst/>
              <a:gdLst>
                <a:gd name="T0" fmla="*/ 21 w 77"/>
                <a:gd name="T1" fmla="*/ 0 h 56"/>
                <a:gd name="T2" fmla="*/ 52 w 77"/>
                <a:gd name="T3" fmla="*/ 0 h 56"/>
                <a:gd name="T4" fmla="*/ 77 w 77"/>
                <a:gd name="T5" fmla="*/ 8 h 56"/>
                <a:gd name="T6" fmla="*/ 58 w 77"/>
                <a:gd name="T7" fmla="*/ 31 h 56"/>
                <a:gd name="T8" fmla="*/ 40 w 77"/>
                <a:gd name="T9" fmla="*/ 37 h 56"/>
                <a:gd name="T10" fmla="*/ 25 w 77"/>
                <a:gd name="T11" fmla="*/ 56 h 56"/>
                <a:gd name="T12" fmla="*/ 10 w 77"/>
                <a:gd name="T13" fmla="*/ 56 h 56"/>
                <a:gd name="T14" fmla="*/ 0 w 77"/>
                <a:gd name="T15" fmla="*/ 33 h 56"/>
                <a:gd name="T16" fmla="*/ 0 w 77"/>
                <a:gd name="T17" fmla="*/ 25 h 56"/>
                <a:gd name="T18" fmla="*/ 2 w 77"/>
                <a:gd name="T19" fmla="*/ 19 h 56"/>
                <a:gd name="T20" fmla="*/ 8 w 77"/>
                <a:gd name="T21" fmla="*/ 8 h 56"/>
                <a:gd name="T22" fmla="*/ 21 w 77"/>
                <a:gd name="T23" fmla="*/ 0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7" h="56">
                  <a:moveTo>
                    <a:pt x="21" y="0"/>
                  </a:moveTo>
                  <a:lnTo>
                    <a:pt x="52" y="0"/>
                  </a:lnTo>
                  <a:lnTo>
                    <a:pt x="77" y="8"/>
                  </a:lnTo>
                  <a:lnTo>
                    <a:pt x="58" y="31"/>
                  </a:lnTo>
                  <a:lnTo>
                    <a:pt x="40" y="37"/>
                  </a:lnTo>
                  <a:lnTo>
                    <a:pt x="25" y="56"/>
                  </a:lnTo>
                  <a:lnTo>
                    <a:pt x="10" y="56"/>
                  </a:lnTo>
                  <a:lnTo>
                    <a:pt x="0" y="33"/>
                  </a:lnTo>
                  <a:lnTo>
                    <a:pt x="0" y="25"/>
                  </a:lnTo>
                  <a:lnTo>
                    <a:pt x="2" y="19"/>
                  </a:lnTo>
                  <a:lnTo>
                    <a:pt x="8" y="8"/>
                  </a:lnTo>
                  <a:lnTo>
                    <a:pt x="21" y="0"/>
                  </a:lnTo>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8" name="Freeform 191">
              <a:extLst>
                <a:ext uri="{FF2B5EF4-FFF2-40B4-BE49-F238E27FC236}">
                  <a16:creationId xmlns:a16="http://schemas.microsoft.com/office/drawing/2014/main" id="{735ABB14-CFAE-4FFA-97BD-6413E5A59946}"/>
                </a:ext>
              </a:extLst>
            </p:cNvPr>
            <p:cNvSpPr>
              <a:spLocks/>
            </p:cNvSpPr>
            <p:nvPr/>
          </p:nvSpPr>
          <p:spPr bwMode="auto">
            <a:xfrm>
              <a:off x="1585914" y="2441696"/>
              <a:ext cx="227013" cy="149292"/>
            </a:xfrm>
            <a:custGeom>
              <a:avLst/>
              <a:gdLst>
                <a:gd name="T0" fmla="*/ 59 w 143"/>
                <a:gd name="T1" fmla="*/ 0 h 94"/>
                <a:gd name="T2" fmla="*/ 80 w 143"/>
                <a:gd name="T3" fmla="*/ 5 h 94"/>
                <a:gd name="T4" fmla="*/ 115 w 143"/>
                <a:gd name="T5" fmla="*/ 7 h 94"/>
                <a:gd name="T6" fmla="*/ 128 w 143"/>
                <a:gd name="T7" fmla="*/ 17 h 94"/>
                <a:gd name="T8" fmla="*/ 143 w 143"/>
                <a:gd name="T9" fmla="*/ 26 h 94"/>
                <a:gd name="T10" fmla="*/ 126 w 143"/>
                <a:gd name="T11" fmla="*/ 32 h 94"/>
                <a:gd name="T12" fmla="*/ 92 w 143"/>
                <a:gd name="T13" fmla="*/ 51 h 94"/>
                <a:gd name="T14" fmla="*/ 74 w 143"/>
                <a:gd name="T15" fmla="*/ 69 h 94"/>
                <a:gd name="T16" fmla="*/ 74 w 143"/>
                <a:gd name="T17" fmla="*/ 82 h 94"/>
                <a:gd name="T18" fmla="*/ 38 w 143"/>
                <a:gd name="T19" fmla="*/ 94 h 94"/>
                <a:gd name="T20" fmla="*/ 30 w 143"/>
                <a:gd name="T21" fmla="*/ 84 h 94"/>
                <a:gd name="T22" fmla="*/ 0 w 143"/>
                <a:gd name="T23" fmla="*/ 69 h 94"/>
                <a:gd name="T24" fmla="*/ 3 w 143"/>
                <a:gd name="T25" fmla="*/ 57 h 94"/>
                <a:gd name="T26" fmla="*/ 15 w 143"/>
                <a:gd name="T27" fmla="*/ 40 h 94"/>
                <a:gd name="T28" fmla="*/ 26 w 143"/>
                <a:gd name="T29" fmla="*/ 21 h 94"/>
                <a:gd name="T30" fmla="*/ 13 w 143"/>
                <a:gd name="T31" fmla="*/ 3 h 94"/>
                <a:gd name="T32" fmla="*/ 59 w 143"/>
                <a:gd name="T33" fmla="*/ 0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3" h="94">
                  <a:moveTo>
                    <a:pt x="59" y="0"/>
                  </a:moveTo>
                  <a:lnTo>
                    <a:pt x="80" y="5"/>
                  </a:lnTo>
                  <a:lnTo>
                    <a:pt x="115" y="7"/>
                  </a:lnTo>
                  <a:lnTo>
                    <a:pt x="128" y="17"/>
                  </a:lnTo>
                  <a:lnTo>
                    <a:pt x="143" y="26"/>
                  </a:lnTo>
                  <a:lnTo>
                    <a:pt x="126" y="32"/>
                  </a:lnTo>
                  <a:lnTo>
                    <a:pt x="92" y="51"/>
                  </a:lnTo>
                  <a:lnTo>
                    <a:pt x="74" y="69"/>
                  </a:lnTo>
                  <a:lnTo>
                    <a:pt x="74" y="82"/>
                  </a:lnTo>
                  <a:lnTo>
                    <a:pt x="38" y="94"/>
                  </a:lnTo>
                  <a:lnTo>
                    <a:pt x="30" y="84"/>
                  </a:lnTo>
                  <a:lnTo>
                    <a:pt x="0" y="69"/>
                  </a:lnTo>
                  <a:lnTo>
                    <a:pt x="3" y="57"/>
                  </a:lnTo>
                  <a:lnTo>
                    <a:pt x="15" y="40"/>
                  </a:lnTo>
                  <a:lnTo>
                    <a:pt x="26" y="21"/>
                  </a:lnTo>
                  <a:lnTo>
                    <a:pt x="13" y="3"/>
                  </a:lnTo>
                  <a:lnTo>
                    <a:pt x="59" y="0"/>
                  </a:lnTo>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9" name="Freeform 193">
              <a:extLst>
                <a:ext uri="{FF2B5EF4-FFF2-40B4-BE49-F238E27FC236}">
                  <a16:creationId xmlns:a16="http://schemas.microsoft.com/office/drawing/2014/main" id="{1ADF7794-E522-4612-BA91-FFCB8B55227A}"/>
                </a:ext>
              </a:extLst>
            </p:cNvPr>
            <p:cNvSpPr>
              <a:spLocks/>
            </p:cNvSpPr>
            <p:nvPr/>
          </p:nvSpPr>
          <p:spPr bwMode="auto">
            <a:xfrm>
              <a:off x="7597775" y="2395637"/>
              <a:ext cx="104775" cy="36530"/>
            </a:xfrm>
            <a:custGeom>
              <a:avLst/>
              <a:gdLst>
                <a:gd name="T0" fmla="*/ 4 w 66"/>
                <a:gd name="T1" fmla="*/ 0 h 23"/>
                <a:gd name="T2" fmla="*/ 31 w 66"/>
                <a:gd name="T3" fmla="*/ 6 h 23"/>
                <a:gd name="T4" fmla="*/ 66 w 66"/>
                <a:gd name="T5" fmla="*/ 11 h 23"/>
                <a:gd name="T6" fmla="*/ 50 w 66"/>
                <a:gd name="T7" fmla="*/ 23 h 23"/>
                <a:gd name="T8" fmla="*/ 27 w 66"/>
                <a:gd name="T9" fmla="*/ 19 h 23"/>
                <a:gd name="T10" fmla="*/ 0 w 66"/>
                <a:gd name="T11" fmla="*/ 9 h 23"/>
                <a:gd name="T12" fmla="*/ 4 w 66"/>
                <a:gd name="T13" fmla="*/ 0 h 23"/>
              </a:gdLst>
              <a:ahLst/>
              <a:cxnLst>
                <a:cxn ang="0">
                  <a:pos x="T0" y="T1"/>
                </a:cxn>
                <a:cxn ang="0">
                  <a:pos x="T2" y="T3"/>
                </a:cxn>
                <a:cxn ang="0">
                  <a:pos x="T4" y="T5"/>
                </a:cxn>
                <a:cxn ang="0">
                  <a:pos x="T6" y="T7"/>
                </a:cxn>
                <a:cxn ang="0">
                  <a:pos x="T8" y="T9"/>
                </a:cxn>
                <a:cxn ang="0">
                  <a:pos x="T10" y="T11"/>
                </a:cxn>
                <a:cxn ang="0">
                  <a:pos x="T12" y="T13"/>
                </a:cxn>
              </a:cxnLst>
              <a:rect l="0" t="0" r="r" b="b"/>
              <a:pathLst>
                <a:path w="66" h="23">
                  <a:moveTo>
                    <a:pt x="4" y="0"/>
                  </a:moveTo>
                  <a:lnTo>
                    <a:pt x="31" y="6"/>
                  </a:lnTo>
                  <a:lnTo>
                    <a:pt x="66" y="11"/>
                  </a:lnTo>
                  <a:lnTo>
                    <a:pt x="50" y="23"/>
                  </a:lnTo>
                  <a:lnTo>
                    <a:pt x="27" y="19"/>
                  </a:lnTo>
                  <a:lnTo>
                    <a:pt x="0" y="9"/>
                  </a:lnTo>
                  <a:lnTo>
                    <a:pt x="4" y="0"/>
                  </a:lnTo>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00" name="Freeform 195">
              <a:extLst>
                <a:ext uri="{FF2B5EF4-FFF2-40B4-BE49-F238E27FC236}">
                  <a16:creationId xmlns:a16="http://schemas.microsoft.com/office/drawing/2014/main" id="{D2CCD40D-183A-4C03-9BE0-87F16EEE6D53}"/>
                </a:ext>
              </a:extLst>
            </p:cNvPr>
            <p:cNvSpPr>
              <a:spLocks/>
            </p:cNvSpPr>
            <p:nvPr/>
          </p:nvSpPr>
          <p:spPr bwMode="auto">
            <a:xfrm>
              <a:off x="2227264" y="2389285"/>
              <a:ext cx="71438" cy="46059"/>
            </a:xfrm>
            <a:custGeom>
              <a:avLst/>
              <a:gdLst>
                <a:gd name="T0" fmla="*/ 27 w 45"/>
                <a:gd name="T1" fmla="*/ 0 h 29"/>
                <a:gd name="T2" fmla="*/ 41 w 45"/>
                <a:gd name="T3" fmla="*/ 10 h 29"/>
                <a:gd name="T4" fmla="*/ 45 w 45"/>
                <a:gd name="T5" fmla="*/ 19 h 29"/>
                <a:gd name="T6" fmla="*/ 37 w 45"/>
                <a:gd name="T7" fmla="*/ 29 h 29"/>
                <a:gd name="T8" fmla="*/ 16 w 45"/>
                <a:gd name="T9" fmla="*/ 27 h 29"/>
                <a:gd name="T10" fmla="*/ 0 w 45"/>
                <a:gd name="T11" fmla="*/ 21 h 29"/>
                <a:gd name="T12" fmla="*/ 6 w 45"/>
                <a:gd name="T13" fmla="*/ 8 h 29"/>
                <a:gd name="T14" fmla="*/ 27 w 45"/>
                <a:gd name="T15" fmla="*/ 0 h 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5" h="29">
                  <a:moveTo>
                    <a:pt x="27" y="0"/>
                  </a:moveTo>
                  <a:lnTo>
                    <a:pt x="41" y="10"/>
                  </a:lnTo>
                  <a:lnTo>
                    <a:pt x="45" y="19"/>
                  </a:lnTo>
                  <a:lnTo>
                    <a:pt x="37" y="29"/>
                  </a:lnTo>
                  <a:lnTo>
                    <a:pt x="16" y="27"/>
                  </a:lnTo>
                  <a:lnTo>
                    <a:pt x="0" y="21"/>
                  </a:lnTo>
                  <a:lnTo>
                    <a:pt x="6" y="8"/>
                  </a:lnTo>
                  <a:lnTo>
                    <a:pt x="27" y="0"/>
                  </a:lnTo>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01" name="Freeform 197">
              <a:extLst>
                <a:ext uri="{FF2B5EF4-FFF2-40B4-BE49-F238E27FC236}">
                  <a16:creationId xmlns:a16="http://schemas.microsoft.com/office/drawing/2014/main" id="{AF0F44B0-BAE2-4A86-9326-F0EF27D97A13}"/>
                </a:ext>
              </a:extLst>
            </p:cNvPr>
            <p:cNvSpPr>
              <a:spLocks/>
            </p:cNvSpPr>
            <p:nvPr/>
          </p:nvSpPr>
          <p:spPr bwMode="auto">
            <a:xfrm>
              <a:off x="7397750" y="2367049"/>
              <a:ext cx="179388" cy="68294"/>
            </a:xfrm>
            <a:custGeom>
              <a:avLst/>
              <a:gdLst>
                <a:gd name="T0" fmla="*/ 25 w 113"/>
                <a:gd name="T1" fmla="*/ 0 h 43"/>
                <a:gd name="T2" fmla="*/ 61 w 113"/>
                <a:gd name="T3" fmla="*/ 0 h 43"/>
                <a:gd name="T4" fmla="*/ 113 w 113"/>
                <a:gd name="T5" fmla="*/ 16 h 43"/>
                <a:gd name="T6" fmla="*/ 101 w 113"/>
                <a:gd name="T7" fmla="*/ 37 h 43"/>
                <a:gd name="T8" fmla="*/ 50 w 113"/>
                <a:gd name="T9" fmla="*/ 37 h 43"/>
                <a:gd name="T10" fmla="*/ 27 w 113"/>
                <a:gd name="T11" fmla="*/ 43 h 43"/>
                <a:gd name="T12" fmla="*/ 0 w 113"/>
                <a:gd name="T13" fmla="*/ 25 h 43"/>
                <a:gd name="T14" fmla="*/ 7 w 113"/>
                <a:gd name="T15" fmla="*/ 4 h 43"/>
                <a:gd name="T16" fmla="*/ 25 w 113"/>
                <a:gd name="T17"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3" h="43">
                  <a:moveTo>
                    <a:pt x="25" y="0"/>
                  </a:moveTo>
                  <a:lnTo>
                    <a:pt x="61" y="0"/>
                  </a:lnTo>
                  <a:lnTo>
                    <a:pt x="113" y="16"/>
                  </a:lnTo>
                  <a:lnTo>
                    <a:pt x="101" y="37"/>
                  </a:lnTo>
                  <a:lnTo>
                    <a:pt x="50" y="37"/>
                  </a:lnTo>
                  <a:lnTo>
                    <a:pt x="27" y="43"/>
                  </a:lnTo>
                  <a:lnTo>
                    <a:pt x="0" y="25"/>
                  </a:lnTo>
                  <a:lnTo>
                    <a:pt x="7" y="4"/>
                  </a:lnTo>
                  <a:lnTo>
                    <a:pt x="25" y="0"/>
                  </a:lnTo>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02" name="Freeform 199">
              <a:extLst>
                <a:ext uri="{FF2B5EF4-FFF2-40B4-BE49-F238E27FC236}">
                  <a16:creationId xmlns:a16="http://schemas.microsoft.com/office/drawing/2014/main" id="{72C70C40-A0C6-4798-AB2D-C5EFC9FA9297}"/>
                </a:ext>
              </a:extLst>
            </p:cNvPr>
            <p:cNvSpPr>
              <a:spLocks/>
            </p:cNvSpPr>
            <p:nvPr/>
          </p:nvSpPr>
          <p:spPr bwMode="auto">
            <a:xfrm>
              <a:off x="2100264" y="2340050"/>
              <a:ext cx="109538" cy="82587"/>
            </a:xfrm>
            <a:custGeom>
              <a:avLst/>
              <a:gdLst>
                <a:gd name="T0" fmla="*/ 56 w 69"/>
                <a:gd name="T1" fmla="*/ 0 h 52"/>
                <a:gd name="T2" fmla="*/ 67 w 69"/>
                <a:gd name="T3" fmla="*/ 14 h 52"/>
                <a:gd name="T4" fmla="*/ 69 w 69"/>
                <a:gd name="T5" fmla="*/ 27 h 52"/>
                <a:gd name="T6" fmla="*/ 61 w 69"/>
                <a:gd name="T7" fmla="*/ 48 h 52"/>
                <a:gd name="T8" fmla="*/ 38 w 69"/>
                <a:gd name="T9" fmla="*/ 52 h 52"/>
                <a:gd name="T10" fmla="*/ 23 w 69"/>
                <a:gd name="T11" fmla="*/ 46 h 52"/>
                <a:gd name="T12" fmla="*/ 23 w 69"/>
                <a:gd name="T13" fmla="*/ 31 h 52"/>
                <a:gd name="T14" fmla="*/ 2 w 69"/>
                <a:gd name="T15" fmla="*/ 33 h 52"/>
                <a:gd name="T16" fmla="*/ 0 w 69"/>
                <a:gd name="T17" fmla="*/ 12 h 52"/>
                <a:gd name="T18" fmla="*/ 15 w 69"/>
                <a:gd name="T19" fmla="*/ 12 h 52"/>
                <a:gd name="T20" fmla="*/ 36 w 69"/>
                <a:gd name="T21" fmla="*/ 2 h 52"/>
                <a:gd name="T22" fmla="*/ 54 w 69"/>
                <a:gd name="T23" fmla="*/ 4 h 52"/>
                <a:gd name="T24" fmla="*/ 56 w 69"/>
                <a:gd name="T25"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52">
                  <a:moveTo>
                    <a:pt x="56" y="0"/>
                  </a:moveTo>
                  <a:lnTo>
                    <a:pt x="67" y="14"/>
                  </a:lnTo>
                  <a:lnTo>
                    <a:pt x="69" y="27"/>
                  </a:lnTo>
                  <a:lnTo>
                    <a:pt x="61" y="48"/>
                  </a:lnTo>
                  <a:lnTo>
                    <a:pt x="38" y="52"/>
                  </a:lnTo>
                  <a:lnTo>
                    <a:pt x="23" y="46"/>
                  </a:lnTo>
                  <a:lnTo>
                    <a:pt x="23" y="31"/>
                  </a:lnTo>
                  <a:lnTo>
                    <a:pt x="2" y="33"/>
                  </a:lnTo>
                  <a:lnTo>
                    <a:pt x="0" y="12"/>
                  </a:lnTo>
                  <a:lnTo>
                    <a:pt x="15" y="12"/>
                  </a:lnTo>
                  <a:lnTo>
                    <a:pt x="36" y="2"/>
                  </a:lnTo>
                  <a:lnTo>
                    <a:pt x="54" y="4"/>
                  </a:lnTo>
                  <a:lnTo>
                    <a:pt x="56" y="0"/>
                  </a:lnTo>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03" name="Freeform 201">
              <a:extLst>
                <a:ext uri="{FF2B5EF4-FFF2-40B4-BE49-F238E27FC236}">
                  <a16:creationId xmlns:a16="http://schemas.microsoft.com/office/drawing/2014/main" id="{8C56CAD5-6EE1-4261-A7E5-294EEE36D4E4}"/>
                </a:ext>
              </a:extLst>
            </p:cNvPr>
            <p:cNvSpPr>
              <a:spLocks/>
            </p:cNvSpPr>
            <p:nvPr/>
          </p:nvSpPr>
          <p:spPr bwMode="auto">
            <a:xfrm>
              <a:off x="1765302" y="2336874"/>
              <a:ext cx="265113" cy="106411"/>
            </a:xfrm>
            <a:custGeom>
              <a:avLst/>
              <a:gdLst>
                <a:gd name="T0" fmla="*/ 113 w 167"/>
                <a:gd name="T1" fmla="*/ 0 h 67"/>
                <a:gd name="T2" fmla="*/ 126 w 167"/>
                <a:gd name="T3" fmla="*/ 4 h 67"/>
                <a:gd name="T4" fmla="*/ 132 w 167"/>
                <a:gd name="T5" fmla="*/ 18 h 67"/>
                <a:gd name="T6" fmla="*/ 136 w 167"/>
                <a:gd name="T7" fmla="*/ 27 h 67"/>
                <a:gd name="T8" fmla="*/ 151 w 167"/>
                <a:gd name="T9" fmla="*/ 21 h 67"/>
                <a:gd name="T10" fmla="*/ 165 w 167"/>
                <a:gd name="T11" fmla="*/ 23 h 67"/>
                <a:gd name="T12" fmla="*/ 167 w 167"/>
                <a:gd name="T13" fmla="*/ 37 h 67"/>
                <a:gd name="T14" fmla="*/ 159 w 167"/>
                <a:gd name="T15" fmla="*/ 50 h 67"/>
                <a:gd name="T16" fmla="*/ 113 w 167"/>
                <a:gd name="T17" fmla="*/ 56 h 67"/>
                <a:gd name="T18" fmla="*/ 77 w 167"/>
                <a:gd name="T19" fmla="*/ 67 h 67"/>
                <a:gd name="T20" fmla="*/ 55 w 167"/>
                <a:gd name="T21" fmla="*/ 67 h 67"/>
                <a:gd name="T22" fmla="*/ 54 w 167"/>
                <a:gd name="T23" fmla="*/ 58 h 67"/>
                <a:gd name="T24" fmla="*/ 82 w 167"/>
                <a:gd name="T25" fmla="*/ 46 h 67"/>
                <a:gd name="T26" fmla="*/ 19 w 167"/>
                <a:gd name="T27" fmla="*/ 50 h 67"/>
                <a:gd name="T28" fmla="*/ 0 w 167"/>
                <a:gd name="T29" fmla="*/ 46 h 67"/>
                <a:gd name="T30" fmla="*/ 19 w 167"/>
                <a:gd name="T31" fmla="*/ 18 h 67"/>
                <a:gd name="T32" fmla="*/ 32 w 167"/>
                <a:gd name="T33" fmla="*/ 8 h 67"/>
                <a:gd name="T34" fmla="*/ 73 w 167"/>
                <a:gd name="T35" fmla="*/ 19 h 67"/>
                <a:gd name="T36" fmla="*/ 96 w 167"/>
                <a:gd name="T37" fmla="*/ 35 h 67"/>
                <a:gd name="T38" fmla="*/ 121 w 167"/>
                <a:gd name="T39" fmla="*/ 37 h 67"/>
                <a:gd name="T40" fmla="*/ 100 w 167"/>
                <a:gd name="T41" fmla="*/ 10 h 67"/>
                <a:gd name="T42" fmla="*/ 113 w 167"/>
                <a:gd name="T43" fmla="*/ 0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67" h="67">
                  <a:moveTo>
                    <a:pt x="113" y="0"/>
                  </a:moveTo>
                  <a:lnTo>
                    <a:pt x="126" y="4"/>
                  </a:lnTo>
                  <a:lnTo>
                    <a:pt x="132" y="18"/>
                  </a:lnTo>
                  <a:lnTo>
                    <a:pt x="136" y="27"/>
                  </a:lnTo>
                  <a:lnTo>
                    <a:pt x="151" y="21"/>
                  </a:lnTo>
                  <a:lnTo>
                    <a:pt x="165" y="23"/>
                  </a:lnTo>
                  <a:lnTo>
                    <a:pt x="167" y="37"/>
                  </a:lnTo>
                  <a:lnTo>
                    <a:pt x="159" y="50"/>
                  </a:lnTo>
                  <a:lnTo>
                    <a:pt x="113" y="56"/>
                  </a:lnTo>
                  <a:lnTo>
                    <a:pt x="77" y="67"/>
                  </a:lnTo>
                  <a:lnTo>
                    <a:pt x="55" y="67"/>
                  </a:lnTo>
                  <a:lnTo>
                    <a:pt x="54" y="58"/>
                  </a:lnTo>
                  <a:lnTo>
                    <a:pt x="82" y="46"/>
                  </a:lnTo>
                  <a:lnTo>
                    <a:pt x="19" y="50"/>
                  </a:lnTo>
                  <a:lnTo>
                    <a:pt x="0" y="46"/>
                  </a:lnTo>
                  <a:lnTo>
                    <a:pt x="19" y="18"/>
                  </a:lnTo>
                  <a:lnTo>
                    <a:pt x="32" y="8"/>
                  </a:lnTo>
                  <a:lnTo>
                    <a:pt x="73" y="19"/>
                  </a:lnTo>
                  <a:lnTo>
                    <a:pt x="96" y="35"/>
                  </a:lnTo>
                  <a:lnTo>
                    <a:pt x="121" y="37"/>
                  </a:lnTo>
                  <a:lnTo>
                    <a:pt x="100" y="10"/>
                  </a:lnTo>
                  <a:lnTo>
                    <a:pt x="113" y="0"/>
                  </a:lnTo>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04" name="Freeform 203">
              <a:extLst>
                <a:ext uri="{FF2B5EF4-FFF2-40B4-BE49-F238E27FC236}">
                  <a16:creationId xmlns:a16="http://schemas.microsoft.com/office/drawing/2014/main" id="{5651E49C-8CD8-4626-B972-04C76B2B8015}"/>
                </a:ext>
              </a:extLst>
            </p:cNvPr>
            <p:cNvSpPr>
              <a:spLocks/>
            </p:cNvSpPr>
            <p:nvPr/>
          </p:nvSpPr>
          <p:spPr bwMode="auto">
            <a:xfrm>
              <a:off x="5505451" y="2328932"/>
              <a:ext cx="387350" cy="273173"/>
            </a:xfrm>
            <a:custGeom>
              <a:avLst/>
              <a:gdLst>
                <a:gd name="T0" fmla="*/ 234 w 244"/>
                <a:gd name="T1" fmla="*/ 0 h 172"/>
                <a:gd name="T2" fmla="*/ 244 w 244"/>
                <a:gd name="T3" fmla="*/ 13 h 172"/>
                <a:gd name="T4" fmla="*/ 234 w 244"/>
                <a:gd name="T5" fmla="*/ 23 h 172"/>
                <a:gd name="T6" fmla="*/ 184 w 244"/>
                <a:gd name="T7" fmla="*/ 34 h 172"/>
                <a:gd name="T8" fmla="*/ 142 w 244"/>
                <a:gd name="T9" fmla="*/ 49 h 172"/>
                <a:gd name="T10" fmla="*/ 98 w 244"/>
                <a:gd name="T11" fmla="*/ 74 h 172"/>
                <a:gd name="T12" fmla="*/ 77 w 244"/>
                <a:gd name="T13" fmla="*/ 101 h 172"/>
                <a:gd name="T14" fmla="*/ 56 w 244"/>
                <a:gd name="T15" fmla="*/ 128 h 172"/>
                <a:gd name="T16" fmla="*/ 58 w 244"/>
                <a:gd name="T17" fmla="*/ 149 h 172"/>
                <a:gd name="T18" fmla="*/ 85 w 244"/>
                <a:gd name="T19" fmla="*/ 168 h 172"/>
                <a:gd name="T20" fmla="*/ 77 w 244"/>
                <a:gd name="T21" fmla="*/ 172 h 172"/>
                <a:gd name="T22" fmla="*/ 31 w 244"/>
                <a:gd name="T23" fmla="*/ 168 h 172"/>
                <a:gd name="T24" fmla="*/ 29 w 244"/>
                <a:gd name="T25" fmla="*/ 157 h 172"/>
                <a:gd name="T26" fmla="*/ 2 w 244"/>
                <a:gd name="T27" fmla="*/ 151 h 172"/>
                <a:gd name="T28" fmla="*/ 0 w 244"/>
                <a:gd name="T29" fmla="*/ 136 h 172"/>
                <a:gd name="T30" fmla="*/ 15 w 244"/>
                <a:gd name="T31" fmla="*/ 130 h 172"/>
                <a:gd name="T32" fmla="*/ 14 w 244"/>
                <a:gd name="T33" fmla="*/ 115 h 172"/>
                <a:gd name="T34" fmla="*/ 42 w 244"/>
                <a:gd name="T35" fmla="*/ 94 h 172"/>
                <a:gd name="T36" fmla="*/ 29 w 244"/>
                <a:gd name="T37" fmla="*/ 90 h 172"/>
                <a:gd name="T38" fmla="*/ 62 w 244"/>
                <a:gd name="T39" fmla="*/ 67 h 172"/>
                <a:gd name="T40" fmla="*/ 58 w 244"/>
                <a:gd name="T41" fmla="*/ 53 h 172"/>
                <a:gd name="T42" fmla="*/ 90 w 244"/>
                <a:gd name="T43" fmla="*/ 38 h 172"/>
                <a:gd name="T44" fmla="*/ 134 w 244"/>
                <a:gd name="T45" fmla="*/ 21 h 172"/>
                <a:gd name="T46" fmla="*/ 182 w 244"/>
                <a:gd name="T47" fmla="*/ 15 h 172"/>
                <a:gd name="T48" fmla="*/ 205 w 244"/>
                <a:gd name="T49" fmla="*/ 5 h 172"/>
                <a:gd name="T50" fmla="*/ 234 w 244"/>
                <a:gd name="T51" fmla="*/ 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44" h="172">
                  <a:moveTo>
                    <a:pt x="234" y="0"/>
                  </a:moveTo>
                  <a:lnTo>
                    <a:pt x="244" y="13"/>
                  </a:lnTo>
                  <a:lnTo>
                    <a:pt x="234" y="23"/>
                  </a:lnTo>
                  <a:lnTo>
                    <a:pt x="184" y="34"/>
                  </a:lnTo>
                  <a:lnTo>
                    <a:pt x="142" y="49"/>
                  </a:lnTo>
                  <a:lnTo>
                    <a:pt x="98" y="74"/>
                  </a:lnTo>
                  <a:lnTo>
                    <a:pt x="77" y="101"/>
                  </a:lnTo>
                  <a:lnTo>
                    <a:pt x="56" y="128"/>
                  </a:lnTo>
                  <a:lnTo>
                    <a:pt x="58" y="149"/>
                  </a:lnTo>
                  <a:lnTo>
                    <a:pt x="85" y="168"/>
                  </a:lnTo>
                  <a:lnTo>
                    <a:pt x="77" y="172"/>
                  </a:lnTo>
                  <a:lnTo>
                    <a:pt x="31" y="168"/>
                  </a:lnTo>
                  <a:lnTo>
                    <a:pt x="29" y="157"/>
                  </a:lnTo>
                  <a:lnTo>
                    <a:pt x="2" y="151"/>
                  </a:lnTo>
                  <a:lnTo>
                    <a:pt x="0" y="136"/>
                  </a:lnTo>
                  <a:lnTo>
                    <a:pt x="15" y="130"/>
                  </a:lnTo>
                  <a:lnTo>
                    <a:pt x="14" y="115"/>
                  </a:lnTo>
                  <a:lnTo>
                    <a:pt x="42" y="94"/>
                  </a:lnTo>
                  <a:lnTo>
                    <a:pt x="29" y="90"/>
                  </a:lnTo>
                  <a:lnTo>
                    <a:pt x="62" y="67"/>
                  </a:lnTo>
                  <a:lnTo>
                    <a:pt x="58" y="53"/>
                  </a:lnTo>
                  <a:lnTo>
                    <a:pt x="90" y="38"/>
                  </a:lnTo>
                  <a:lnTo>
                    <a:pt x="134" y="21"/>
                  </a:lnTo>
                  <a:lnTo>
                    <a:pt x="182" y="15"/>
                  </a:lnTo>
                  <a:lnTo>
                    <a:pt x="205" y="5"/>
                  </a:lnTo>
                  <a:lnTo>
                    <a:pt x="234" y="0"/>
                  </a:lnTo>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05" name="Freeform 205">
              <a:extLst>
                <a:ext uri="{FF2B5EF4-FFF2-40B4-BE49-F238E27FC236}">
                  <a16:creationId xmlns:a16="http://schemas.microsoft.com/office/drawing/2014/main" id="{21FCCF8F-91E0-46E5-820A-C5CDBCF09926}"/>
                </a:ext>
              </a:extLst>
            </p:cNvPr>
            <p:cNvSpPr>
              <a:spLocks/>
            </p:cNvSpPr>
            <p:nvPr/>
          </p:nvSpPr>
          <p:spPr bwMode="auto">
            <a:xfrm>
              <a:off x="2219327" y="2319403"/>
              <a:ext cx="382588" cy="123881"/>
            </a:xfrm>
            <a:custGeom>
              <a:avLst/>
              <a:gdLst>
                <a:gd name="T0" fmla="*/ 7 w 241"/>
                <a:gd name="T1" fmla="*/ 0 h 78"/>
                <a:gd name="T2" fmla="*/ 36 w 241"/>
                <a:gd name="T3" fmla="*/ 2 h 78"/>
                <a:gd name="T4" fmla="*/ 50 w 241"/>
                <a:gd name="T5" fmla="*/ 11 h 78"/>
                <a:gd name="T6" fmla="*/ 76 w 241"/>
                <a:gd name="T7" fmla="*/ 11 h 78"/>
                <a:gd name="T8" fmla="*/ 90 w 241"/>
                <a:gd name="T9" fmla="*/ 21 h 78"/>
                <a:gd name="T10" fmla="*/ 86 w 241"/>
                <a:gd name="T11" fmla="*/ 30 h 78"/>
                <a:gd name="T12" fmla="*/ 101 w 241"/>
                <a:gd name="T13" fmla="*/ 38 h 78"/>
                <a:gd name="T14" fmla="*/ 111 w 241"/>
                <a:gd name="T15" fmla="*/ 44 h 78"/>
                <a:gd name="T16" fmla="*/ 130 w 241"/>
                <a:gd name="T17" fmla="*/ 46 h 78"/>
                <a:gd name="T18" fmla="*/ 149 w 241"/>
                <a:gd name="T19" fmla="*/ 48 h 78"/>
                <a:gd name="T20" fmla="*/ 172 w 241"/>
                <a:gd name="T21" fmla="*/ 42 h 78"/>
                <a:gd name="T22" fmla="*/ 201 w 241"/>
                <a:gd name="T23" fmla="*/ 38 h 78"/>
                <a:gd name="T24" fmla="*/ 224 w 241"/>
                <a:gd name="T25" fmla="*/ 40 h 78"/>
                <a:gd name="T26" fmla="*/ 238 w 241"/>
                <a:gd name="T27" fmla="*/ 54 h 78"/>
                <a:gd name="T28" fmla="*/ 241 w 241"/>
                <a:gd name="T29" fmla="*/ 65 h 78"/>
                <a:gd name="T30" fmla="*/ 232 w 241"/>
                <a:gd name="T31" fmla="*/ 71 h 78"/>
                <a:gd name="T32" fmla="*/ 213 w 241"/>
                <a:gd name="T33" fmla="*/ 78 h 78"/>
                <a:gd name="T34" fmla="*/ 193 w 241"/>
                <a:gd name="T35" fmla="*/ 75 h 78"/>
                <a:gd name="T36" fmla="*/ 153 w 241"/>
                <a:gd name="T37" fmla="*/ 78 h 78"/>
                <a:gd name="T38" fmla="*/ 124 w 241"/>
                <a:gd name="T39" fmla="*/ 78 h 78"/>
                <a:gd name="T40" fmla="*/ 103 w 241"/>
                <a:gd name="T41" fmla="*/ 75 h 78"/>
                <a:gd name="T42" fmla="*/ 67 w 241"/>
                <a:gd name="T43" fmla="*/ 67 h 78"/>
                <a:gd name="T44" fmla="*/ 61 w 241"/>
                <a:gd name="T45" fmla="*/ 52 h 78"/>
                <a:gd name="T46" fmla="*/ 59 w 241"/>
                <a:gd name="T47" fmla="*/ 38 h 78"/>
                <a:gd name="T48" fmla="*/ 46 w 241"/>
                <a:gd name="T49" fmla="*/ 25 h 78"/>
                <a:gd name="T50" fmla="*/ 17 w 241"/>
                <a:gd name="T51" fmla="*/ 21 h 78"/>
                <a:gd name="T52" fmla="*/ 0 w 241"/>
                <a:gd name="T53" fmla="*/ 13 h 78"/>
                <a:gd name="T54" fmla="*/ 7 w 241"/>
                <a:gd name="T55" fmla="*/ 0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41" h="78">
                  <a:moveTo>
                    <a:pt x="7" y="0"/>
                  </a:moveTo>
                  <a:lnTo>
                    <a:pt x="36" y="2"/>
                  </a:lnTo>
                  <a:lnTo>
                    <a:pt x="50" y="11"/>
                  </a:lnTo>
                  <a:lnTo>
                    <a:pt x="76" y="11"/>
                  </a:lnTo>
                  <a:lnTo>
                    <a:pt x="90" y="21"/>
                  </a:lnTo>
                  <a:lnTo>
                    <a:pt x="86" y="30"/>
                  </a:lnTo>
                  <a:lnTo>
                    <a:pt x="101" y="38"/>
                  </a:lnTo>
                  <a:lnTo>
                    <a:pt x="111" y="44"/>
                  </a:lnTo>
                  <a:lnTo>
                    <a:pt x="130" y="46"/>
                  </a:lnTo>
                  <a:lnTo>
                    <a:pt x="149" y="48"/>
                  </a:lnTo>
                  <a:lnTo>
                    <a:pt x="172" y="42"/>
                  </a:lnTo>
                  <a:lnTo>
                    <a:pt x="201" y="38"/>
                  </a:lnTo>
                  <a:lnTo>
                    <a:pt x="224" y="40"/>
                  </a:lnTo>
                  <a:lnTo>
                    <a:pt x="238" y="54"/>
                  </a:lnTo>
                  <a:lnTo>
                    <a:pt x="241" y="65"/>
                  </a:lnTo>
                  <a:lnTo>
                    <a:pt x="232" y="71"/>
                  </a:lnTo>
                  <a:lnTo>
                    <a:pt x="213" y="78"/>
                  </a:lnTo>
                  <a:lnTo>
                    <a:pt x="193" y="75"/>
                  </a:lnTo>
                  <a:lnTo>
                    <a:pt x="153" y="78"/>
                  </a:lnTo>
                  <a:lnTo>
                    <a:pt x="124" y="78"/>
                  </a:lnTo>
                  <a:lnTo>
                    <a:pt x="103" y="75"/>
                  </a:lnTo>
                  <a:lnTo>
                    <a:pt x="67" y="67"/>
                  </a:lnTo>
                  <a:lnTo>
                    <a:pt x="61" y="52"/>
                  </a:lnTo>
                  <a:lnTo>
                    <a:pt x="59" y="38"/>
                  </a:lnTo>
                  <a:lnTo>
                    <a:pt x="46" y="25"/>
                  </a:lnTo>
                  <a:lnTo>
                    <a:pt x="17" y="21"/>
                  </a:lnTo>
                  <a:lnTo>
                    <a:pt x="0" y="13"/>
                  </a:lnTo>
                  <a:lnTo>
                    <a:pt x="7" y="0"/>
                  </a:lnTo>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06" name="Freeform 208">
              <a:extLst>
                <a:ext uri="{FF2B5EF4-FFF2-40B4-BE49-F238E27FC236}">
                  <a16:creationId xmlns:a16="http://schemas.microsoft.com/office/drawing/2014/main" id="{EC48CBA0-0CF8-4143-B7A9-A005C7200B11}"/>
                </a:ext>
              </a:extLst>
            </p:cNvPr>
            <p:cNvSpPr>
              <a:spLocks/>
            </p:cNvSpPr>
            <p:nvPr/>
          </p:nvSpPr>
          <p:spPr bwMode="auto">
            <a:xfrm>
              <a:off x="1652589" y="2293991"/>
              <a:ext cx="146050" cy="82587"/>
            </a:xfrm>
            <a:custGeom>
              <a:avLst/>
              <a:gdLst>
                <a:gd name="T0" fmla="*/ 92 w 92"/>
                <a:gd name="T1" fmla="*/ 0 h 52"/>
                <a:gd name="T2" fmla="*/ 90 w 92"/>
                <a:gd name="T3" fmla="*/ 23 h 52"/>
                <a:gd name="T4" fmla="*/ 80 w 92"/>
                <a:gd name="T5" fmla="*/ 35 h 52"/>
                <a:gd name="T6" fmla="*/ 65 w 92"/>
                <a:gd name="T7" fmla="*/ 35 h 52"/>
                <a:gd name="T8" fmla="*/ 42 w 92"/>
                <a:gd name="T9" fmla="*/ 48 h 52"/>
                <a:gd name="T10" fmla="*/ 17 w 92"/>
                <a:gd name="T11" fmla="*/ 52 h 52"/>
                <a:gd name="T12" fmla="*/ 0 w 92"/>
                <a:gd name="T13" fmla="*/ 46 h 52"/>
                <a:gd name="T14" fmla="*/ 23 w 92"/>
                <a:gd name="T15" fmla="*/ 25 h 52"/>
                <a:gd name="T16" fmla="*/ 52 w 92"/>
                <a:gd name="T17" fmla="*/ 6 h 52"/>
                <a:gd name="T18" fmla="*/ 73 w 92"/>
                <a:gd name="T19" fmla="*/ 6 h 52"/>
                <a:gd name="T20" fmla="*/ 92 w 92"/>
                <a:gd name="T21"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2" h="52">
                  <a:moveTo>
                    <a:pt x="92" y="0"/>
                  </a:moveTo>
                  <a:lnTo>
                    <a:pt x="90" y="23"/>
                  </a:lnTo>
                  <a:lnTo>
                    <a:pt x="80" y="35"/>
                  </a:lnTo>
                  <a:lnTo>
                    <a:pt x="65" y="35"/>
                  </a:lnTo>
                  <a:lnTo>
                    <a:pt x="42" y="48"/>
                  </a:lnTo>
                  <a:lnTo>
                    <a:pt x="17" y="52"/>
                  </a:lnTo>
                  <a:lnTo>
                    <a:pt x="0" y="46"/>
                  </a:lnTo>
                  <a:lnTo>
                    <a:pt x="23" y="25"/>
                  </a:lnTo>
                  <a:lnTo>
                    <a:pt x="52" y="6"/>
                  </a:lnTo>
                  <a:lnTo>
                    <a:pt x="73" y="6"/>
                  </a:lnTo>
                  <a:lnTo>
                    <a:pt x="92" y="0"/>
                  </a:lnTo>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07" name="Freeform 210">
              <a:extLst>
                <a:ext uri="{FF2B5EF4-FFF2-40B4-BE49-F238E27FC236}">
                  <a16:creationId xmlns:a16="http://schemas.microsoft.com/office/drawing/2014/main" id="{552F1385-1EAB-4C32-8F56-3DDE8417BF7A}"/>
                </a:ext>
              </a:extLst>
            </p:cNvPr>
            <p:cNvSpPr>
              <a:spLocks/>
            </p:cNvSpPr>
            <p:nvPr/>
          </p:nvSpPr>
          <p:spPr bwMode="auto">
            <a:xfrm>
              <a:off x="3979863" y="2292403"/>
              <a:ext cx="4592637" cy="3014437"/>
            </a:xfrm>
            <a:custGeom>
              <a:avLst/>
              <a:gdLst/>
              <a:ahLst/>
              <a:cxnLst/>
              <a:rect l="l" t="t" r="r" b="b"/>
              <a:pathLst>
                <a:path w="4592637" h="3014437">
                  <a:moveTo>
                    <a:pt x="1519229" y="1084753"/>
                  </a:moveTo>
                  <a:lnTo>
                    <a:pt x="1492251" y="1099040"/>
                  </a:lnTo>
                  <a:lnTo>
                    <a:pt x="1476374" y="1102218"/>
                  </a:lnTo>
                  <a:lnTo>
                    <a:pt x="1465255" y="1121287"/>
                  </a:lnTo>
                  <a:lnTo>
                    <a:pt x="1443035" y="1127643"/>
                  </a:lnTo>
                  <a:lnTo>
                    <a:pt x="1422400" y="1154642"/>
                  </a:lnTo>
                  <a:lnTo>
                    <a:pt x="1439863" y="1178463"/>
                  </a:lnTo>
                  <a:lnTo>
                    <a:pt x="1436691" y="1197504"/>
                  </a:lnTo>
                  <a:lnTo>
                    <a:pt x="1462083" y="1230859"/>
                  </a:lnTo>
                  <a:lnTo>
                    <a:pt x="1476374" y="1243571"/>
                  </a:lnTo>
                  <a:lnTo>
                    <a:pt x="1485907" y="1261037"/>
                  </a:lnTo>
                  <a:lnTo>
                    <a:pt x="1495423" y="1264215"/>
                  </a:lnTo>
                  <a:lnTo>
                    <a:pt x="1501784" y="1267393"/>
                  </a:lnTo>
                  <a:lnTo>
                    <a:pt x="1485907" y="1270571"/>
                  </a:lnTo>
                  <a:lnTo>
                    <a:pt x="1479546" y="1291214"/>
                  </a:lnTo>
                  <a:lnTo>
                    <a:pt x="1476374" y="1300748"/>
                  </a:lnTo>
                  <a:lnTo>
                    <a:pt x="1471617" y="1307104"/>
                  </a:lnTo>
                  <a:lnTo>
                    <a:pt x="1471617" y="1319816"/>
                  </a:lnTo>
                  <a:lnTo>
                    <a:pt x="1476374" y="1337282"/>
                  </a:lnTo>
                  <a:lnTo>
                    <a:pt x="1495423" y="1343638"/>
                  </a:lnTo>
                  <a:lnTo>
                    <a:pt x="1511300" y="1356350"/>
                  </a:lnTo>
                  <a:lnTo>
                    <a:pt x="1544639" y="1361103"/>
                  </a:lnTo>
                  <a:lnTo>
                    <a:pt x="1577979" y="1353172"/>
                  </a:lnTo>
                  <a:lnTo>
                    <a:pt x="1581151" y="1349994"/>
                  </a:lnTo>
                  <a:lnTo>
                    <a:pt x="1574807" y="1330926"/>
                  </a:lnTo>
                  <a:lnTo>
                    <a:pt x="1577979" y="1303926"/>
                  </a:lnTo>
                  <a:lnTo>
                    <a:pt x="1562102" y="1294392"/>
                  </a:lnTo>
                  <a:lnTo>
                    <a:pt x="1568446" y="1276927"/>
                  </a:lnTo>
                  <a:lnTo>
                    <a:pt x="1552569" y="1273749"/>
                  </a:lnTo>
                  <a:cubicBezTo>
                    <a:pt x="1553626" y="1266343"/>
                    <a:pt x="1554701" y="1258909"/>
                    <a:pt x="1555758" y="1251503"/>
                  </a:cubicBezTo>
                  <a:lnTo>
                    <a:pt x="1577979" y="1261037"/>
                  </a:lnTo>
                  <a:lnTo>
                    <a:pt x="1598613" y="1248352"/>
                  </a:lnTo>
                  <a:lnTo>
                    <a:pt x="1584322" y="1234037"/>
                  </a:lnTo>
                  <a:lnTo>
                    <a:pt x="1574807" y="1221353"/>
                  </a:lnTo>
                  <a:lnTo>
                    <a:pt x="1555758" y="1227681"/>
                  </a:lnTo>
                  <a:lnTo>
                    <a:pt x="1555758" y="1245174"/>
                  </a:lnTo>
                  <a:lnTo>
                    <a:pt x="1549397" y="1230859"/>
                  </a:lnTo>
                  <a:lnTo>
                    <a:pt x="1549397" y="1224503"/>
                  </a:lnTo>
                  <a:lnTo>
                    <a:pt x="1552569" y="1211819"/>
                  </a:lnTo>
                  <a:lnTo>
                    <a:pt x="1549397" y="1200682"/>
                  </a:lnTo>
                  <a:lnTo>
                    <a:pt x="1522419" y="1194354"/>
                  </a:lnTo>
                  <a:lnTo>
                    <a:pt x="1512886" y="1167354"/>
                  </a:lnTo>
                  <a:lnTo>
                    <a:pt x="1501784" y="1164176"/>
                  </a:lnTo>
                  <a:lnTo>
                    <a:pt x="1501784" y="1154642"/>
                  </a:lnTo>
                  <a:lnTo>
                    <a:pt x="1522419" y="1157820"/>
                  </a:lnTo>
                  <a:lnTo>
                    <a:pt x="1522419" y="1135574"/>
                  </a:lnTo>
                  <a:lnTo>
                    <a:pt x="1541467" y="1130821"/>
                  </a:lnTo>
                  <a:lnTo>
                    <a:pt x="1558930" y="1135574"/>
                  </a:lnTo>
                  <a:lnTo>
                    <a:pt x="1565274" y="1108574"/>
                  </a:lnTo>
                  <a:lnTo>
                    <a:pt x="1558930" y="1091109"/>
                  </a:lnTo>
                  <a:lnTo>
                    <a:pt x="1538296" y="1094287"/>
                  </a:lnTo>
                  <a:close/>
                  <a:moveTo>
                    <a:pt x="2695419" y="0"/>
                  </a:moveTo>
                  <a:cubicBezTo>
                    <a:pt x="2707819" y="5728"/>
                    <a:pt x="2719760" y="11756"/>
                    <a:pt x="2732160" y="17484"/>
                  </a:cubicBezTo>
                  <a:cubicBezTo>
                    <a:pt x="2722975" y="21704"/>
                    <a:pt x="2714249" y="25924"/>
                    <a:pt x="2705063" y="30144"/>
                  </a:cubicBezTo>
                  <a:lnTo>
                    <a:pt x="2752827" y="36475"/>
                  </a:lnTo>
                  <a:cubicBezTo>
                    <a:pt x="2755123" y="43408"/>
                    <a:pt x="2756960" y="50341"/>
                    <a:pt x="2759256" y="57274"/>
                  </a:cubicBezTo>
                  <a:cubicBezTo>
                    <a:pt x="2766605" y="53959"/>
                    <a:pt x="2773953" y="50944"/>
                    <a:pt x="2781301" y="47628"/>
                  </a:cubicBezTo>
                  <a:lnTo>
                    <a:pt x="2844679" y="47628"/>
                  </a:lnTo>
                  <a:lnTo>
                    <a:pt x="2893821" y="72950"/>
                  </a:lnTo>
                  <a:lnTo>
                    <a:pt x="2914488" y="87419"/>
                  </a:lnTo>
                  <a:cubicBezTo>
                    <a:pt x="2911273" y="95859"/>
                    <a:pt x="2908517" y="104300"/>
                    <a:pt x="2905302" y="112740"/>
                  </a:cubicBezTo>
                  <a:lnTo>
                    <a:pt x="2881421" y="123893"/>
                  </a:lnTo>
                  <a:lnTo>
                    <a:pt x="2824013" y="149215"/>
                  </a:lnTo>
                  <a:lnTo>
                    <a:pt x="2808398" y="160368"/>
                  </a:lnTo>
                  <a:lnTo>
                    <a:pt x="2832279" y="166698"/>
                  </a:lnTo>
                  <a:lnTo>
                    <a:pt x="2868561" y="179359"/>
                  </a:lnTo>
                  <a:cubicBezTo>
                    <a:pt x="2874991" y="176345"/>
                    <a:pt x="2881421" y="173029"/>
                    <a:pt x="2887850" y="170014"/>
                  </a:cubicBezTo>
                  <a:cubicBezTo>
                    <a:pt x="2891065" y="179058"/>
                    <a:pt x="2893821" y="187800"/>
                    <a:pt x="2897036" y="196843"/>
                  </a:cubicBezTo>
                  <a:cubicBezTo>
                    <a:pt x="2900710" y="193226"/>
                    <a:pt x="2904843" y="189307"/>
                    <a:pt x="2908517" y="185689"/>
                  </a:cubicBezTo>
                  <a:lnTo>
                    <a:pt x="2941584" y="179359"/>
                  </a:lnTo>
                  <a:lnTo>
                    <a:pt x="3014607" y="185689"/>
                  </a:lnTo>
                  <a:cubicBezTo>
                    <a:pt x="3015526" y="192623"/>
                    <a:pt x="3016903" y="199556"/>
                    <a:pt x="3017822" y="206489"/>
                  </a:cubicBezTo>
                  <a:lnTo>
                    <a:pt x="3112889" y="212819"/>
                  </a:lnTo>
                  <a:lnTo>
                    <a:pt x="3112889" y="179359"/>
                  </a:lnTo>
                  <a:lnTo>
                    <a:pt x="3162490" y="189005"/>
                  </a:lnTo>
                  <a:lnTo>
                    <a:pt x="3195557" y="189005"/>
                  </a:lnTo>
                  <a:lnTo>
                    <a:pt x="3232298" y="209504"/>
                  </a:lnTo>
                  <a:lnTo>
                    <a:pt x="3243320" y="236633"/>
                  </a:lnTo>
                  <a:cubicBezTo>
                    <a:pt x="3238728" y="242964"/>
                    <a:pt x="3233676" y="249294"/>
                    <a:pt x="3229083" y="255624"/>
                  </a:cubicBezTo>
                  <a:cubicBezTo>
                    <a:pt x="3238268" y="265572"/>
                    <a:pt x="3246995" y="275821"/>
                    <a:pt x="3256180" y="285769"/>
                  </a:cubicBezTo>
                  <a:cubicBezTo>
                    <a:pt x="3267202" y="291195"/>
                    <a:pt x="3278224" y="296319"/>
                    <a:pt x="3289247" y="301745"/>
                  </a:cubicBezTo>
                  <a:cubicBezTo>
                    <a:pt x="3296595" y="287577"/>
                    <a:pt x="3304402" y="273108"/>
                    <a:pt x="3311751" y="258940"/>
                  </a:cubicBezTo>
                  <a:cubicBezTo>
                    <a:pt x="3323692" y="265873"/>
                    <a:pt x="3336092" y="272505"/>
                    <a:pt x="3348033" y="279438"/>
                  </a:cubicBezTo>
                  <a:lnTo>
                    <a:pt x="3387529" y="266778"/>
                  </a:lnTo>
                  <a:cubicBezTo>
                    <a:pt x="3401307" y="272204"/>
                    <a:pt x="3415085" y="277328"/>
                    <a:pt x="3428863" y="282754"/>
                  </a:cubicBezTo>
                  <a:cubicBezTo>
                    <a:pt x="3434374" y="277328"/>
                    <a:pt x="3439426" y="272204"/>
                    <a:pt x="3444937" y="266778"/>
                  </a:cubicBezTo>
                  <a:cubicBezTo>
                    <a:pt x="3456878" y="270094"/>
                    <a:pt x="3469278" y="273108"/>
                    <a:pt x="3481219" y="276424"/>
                  </a:cubicBezTo>
                  <a:cubicBezTo>
                    <a:pt x="3476167" y="263160"/>
                    <a:pt x="3470656" y="249897"/>
                    <a:pt x="3465604" y="236633"/>
                  </a:cubicBezTo>
                  <a:cubicBezTo>
                    <a:pt x="3475249" y="230906"/>
                    <a:pt x="3484434" y="224877"/>
                    <a:pt x="3494078" y="219150"/>
                  </a:cubicBezTo>
                  <a:lnTo>
                    <a:pt x="3694317" y="242964"/>
                  </a:lnTo>
                  <a:cubicBezTo>
                    <a:pt x="3700747" y="252007"/>
                    <a:pt x="3706717" y="261050"/>
                    <a:pt x="3713147" y="270094"/>
                  </a:cubicBezTo>
                  <a:cubicBezTo>
                    <a:pt x="3731977" y="279740"/>
                    <a:pt x="3751266" y="289085"/>
                    <a:pt x="3770096" y="298731"/>
                  </a:cubicBezTo>
                  <a:lnTo>
                    <a:pt x="3859193" y="292099"/>
                  </a:lnTo>
                  <a:lnTo>
                    <a:pt x="3905119" y="298731"/>
                  </a:lnTo>
                  <a:cubicBezTo>
                    <a:pt x="3911090" y="304458"/>
                    <a:pt x="3916601" y="310186"/>
                    <a:pt x="3922571" y="315913"/>
                  </a:cubicBezTo>
                  <a:cubicBezTo>
                    <a:pt x="3921653" y="324956"/>
                    <a:pt x="3920275" y="334000"/>
                    <a:pt x="3919357" y="343043"/>
                  </a:cubicBezTo>
                  <a:lnTo>
                    <a:pt x="3948290" y="355704"/>
                  </a:lnTo>
                  <a:cubicBezTo>
                    <a:pt x="3958394" y="352689"/>
                    <a:pt x="3968039" y="349373"/>
                    <a:pt x="3978142" y="346359"/>
                  </a:cubicBezTo>
                  <a:lnTo>
                    <a:pt x="4018098" y="346359"/>
                  </a:lnTo>
                  <a:cubicBezTo>
                    <a:pt x="4032335" y="349373"/>
                    <a:pt x="4046573" y="352689"/>
                    <a:pt x="4060810" y="355704"/>
                  </a:cubicBezTo>
                  <a:lnTo>
                    <a:pt x="4100306" y="349373"/>
                  </a:lnTo>
                  <a:cubicBezTo>
                    <a:pt x="4113166" y="360527"/>
                    <a:pt x="4125566" y="371680"/>
                    <a:pt x="4138425" y="382834"/>
                  </a:cubicBezTo>
                  <a:lnTo>
                    <a:pt x="4164144" y="374695"/>
                  </a:lnTo>
                  <a:cubicBezTo>
                    <a:pt x="4158633" y="365350"/>
                    <a:pt x="4153581" y="355704"/>
                    <a:pt x="4148070" y="346359"/>
                  </a:cubicBezTo>
                  <a:lnTo>
                    <a:pt x="4157714" y="331890"/>
                  </a:lnTo>
                  <a:lnTo>
                    <a:pt x="4230737" y="343043"/>
                  </a:lnTo>
                  <a:cubicBezTo>
                    <a:pt x="4244975" y="342139"/>
                    <a:pt x="4259212" y="340933"/>
                    <a:pt x="4273449" y="340029"/>
                  </a:cubicBezTo>
                  <a:lnTo>
                    <a:pt x="4336827" y="359020"/>
                  </a:lnTo>
                  <a:lnTo>
                    <a:pt x="4370354" y="374695"/>
                  </a:lnTo>
                  <a:lnTo>
                    <a:pt x="4422709" y="405140"/>
                  </a:lnTo>
                  <a:cubicBezTo>
                    <a:pt x="4441999" y="417198"/>
                    <a:pt x="4460829" y="429557"/>
                    <a:pt x="4480117" y="441615"/>
                  </a:cubicBezTo>
                  <a:cubicBezTo>
                    <a:pt x="4479199" y="449453"/>
                    <a:pt x="4477821" y="457592"/>
                    <a:pt x="4476903" y="465429"/>
                  </a:cubicBezTo>
                  <a:lnTo>
                    <a:pt x="4492517" y="474774"/>
                  </a:lnTo>
                  <a:cubicBezTo>
                    <a:pt x="4491599" y="465731"/>
                    <a:pt x="4490221" y="456989"/>
                    <a:pt x="4489303" y="447945"/>
                  </a:cubicBezTo>
                  <a:lnTo>
                    <a:pt x="4551303" y="452769"/>
                  </a:lnTo>
                  <a:cubicBezTo>
                    <a:pt x="4565081" y="464223"/>
                    <a:pt x="4578859" y="475980"/>
                    <a:pt x="4592637" y="487435"/>
                  </a:cubicBezTo>
                  <a:cubicBezTo>
                    <a:pt x="4585748" y="493162"/>
                    <a:pt x="4578859" y="499191"/>
                    <a:pt x="4571970" y="504918"/>
                  </a:cubicBezTo>
                  <a:cubicBezTo>
                    <a:pt x="4560029" y="506124"/>
                    <a:pt x="4547629" y="507028"/>
                    <a:pt x="4535689" y="508234"/>
                  </a:cubicBezTo>
                  <a:lnTo>
                    <a:pt x="4535689" y="541694"/>
                  </a:lnTo>
                  <a:cubicBezTo>
                    <a:pt x="4531555" y="543805"/>
                    <a:pt x="4526963" y="545915"/>
                    <a:pt x="4522829" y="548025"/>
                  </a:cubicBezTo>
                  <a:lnTo>
                    <a:pt x="4505377" y="548025"/>
                  </a:lnTo>
                  <a:lnTo>
                    <a:pt x="4486088" y="535364"/>
                  </a:lnTo>
                  <a:lnTo>
                    <a:pt x="4459451" y="524211"/>
                  </a:lnTo>
                  <a:cubicBezTo>
                    <a:pt x="4457154" y="518785"/>
                    <a:pt x="4455317" y="513660"/>
                    <a:pt x="4453021" y="508234"/>
                  </a:cubicBezTo>
                  <a:cubicBezTo>
                    <a:pt x="4445213" y="507028"/>
                    <a:pt x="4436947" y="506124"/>
                    <a:pt x="4429139" y="504918"/>
                  </a:cubicBezTo>
                  <a:cubicBezTo>
                    <a:pt x="4420873" y="506124"/>
                    <a:pt x="4412147" y="507028"/>
                    <a:pt x="4403880" y="508234"/>
                  </a:cubicBezTo>
                  <a:cubicBezTo>
                    <a:pt x="4400206" y="504014"/>
                    <a:pt x="4396072" y="499794"/>
                    <a:pt x="4392398" y="495574"/>
                  </a:cubicBezTo>
                  <a:cubicBezTo>
                    <a:pt x="4394695" y="490750"/>
                    <a:pt x="4396532" y="485927"/>
                    <a:pt x="4398828" y="481104"/>
                  </a:cubicBezTo>
                  <a:lnTo>
                    <a:pt x="4370354" y="490750"/>
                  </a:lnTo>
                  <a:cubicBezTo>
                    <a:pt x="4374487" y="496478"/>
                    <a:pt x="4379080" y="502507"/>
                    <a:pt x="4383213" y="508234"/>
                  </a:cubicBezTo>
                  <a:cubicBezTo>
                    <a:pt x="4379080" y="513660"/>
                    <a:pt x="4374487" y="518785"/>
                    <a:pt x="4370354" y="524211"/>
                  </a:cubicBezTo>
                  <a:cubicBezTo>
                    <a:pt x="4360250" y="529034"/>
                    <a:pt x="4350146" y="533555"/>
                    <a:pt x="4340042" y="538379"/>
                  </a:cubicBezTo>
                  <a:cubicBezTo>
                    <a:pt x="4329938" y="537474"/>
                    <a:pt x="4320294" y="536268"/>
                    <a:pt x="4310190" y="535364"/>
                  </a:cubicBezTo>
                  <a:lnTo>
                    <a:pt x="4330857" y="554355"/>
                  </a:lnTo>
                  <a:cubicBezTo>
                    <a:pt x="4335909" y="564303"/>
                    <a:pt x="4341420" y="574552"/>
                    <a:pt x="4346472" y="584499"/>
                  </a:cubicBezTo>
                  <a:cubicBezTo>
                    <a:pt x="4349687" y="587514"/>
                    <a:pt x="4352902" y="590830"/>
                    <a:pt x="4356116" y="593844"/>
                  </a:cubicBezTo>
                  <a:cubicBezTo>
                    <a:pt x="4357035" y="598667"/>
                    <a:pt x="4358413" y="603490"/>
                    <a:pt x="4359331" y="608314"/>
                  </a:cubicBezTo>
                  <a:cubicBezTo>
                    <a:pt x="4357035" y="611629"/>
                    <a:pt x="4355198" y="614644"/>
                    <a:pt x="4352902" y="617960"/>
                  </a:cubicBezTo>
                  <a:cubicBezTo>
                    <a:pt x="4338664" y="615850"/>
                    <a:pt x="4324427" y="613438"/>
                    <a:pt x="4310190" y="611328"/>
                  </a:cubicBezTo>
                  <a:lnTo>
                    <a:pt x="4249567" y="633635"/>
                  </a:lnTo>
                  <a:cubicBezTo>
                    <a:pt x="4243138" y="635745"/>
                    <a:pt x="4237167" y="637855"/>
                    <a:pt x="4230737" y="639965"/>
                  </a:cubicBezTo>
                  <a:cubicBezTo>
                    <a:pt x="4218337" y="647803"/>
                    <a:pt x="4206397" y="655942"/>
                    <a:pt x="4193996" y="663779"/>
                  </a:cubicBezTo>
                  <a:cubicBezTo>
                    <a:pt x="4183892" y="670712"/>
                    <a:pt x="4174248" y="677646"/>
                    <a:pt x="4164144" y="684579"/>
                  </a:cubicBezTo>
                  <a:lnTo>
                    <a:pt x="4154500" y="697239"/>
                  </a:lnTo>
                  <a:lnTo>
                    <a:pt x="4124188" y="676440"/>
                  </a:lnTo>
                  <a:cubicBezTo>
                    <a:pt x="4104440" y="684277"/>
                    <a:pt x="4085151" y="692416"/>
                    <a:pt x="4065402" y="700254"/>
                  </a:cubicBezTo>
                  <a:cubicBezTo>
                    <a:pt x="4062647" y="697239"/>
                    <a:pt x="4060351" y="693924"/>
                    <a:pt x="4057595" y="690909"/>
                  </a:cubicBezTo>
                  <a:lnTo>
                    <a:pt x="4035550" y="703570"/>
                  </a:lnTo>
                  <a:lnTo>
                    <a:pt x="4005239" y="697239"/>
                  </a:lnTo>
                  <a:cubicBezTo>
                    <a:pt x="4002943" y="704173"/>
                    <a:pt x="4001106" y="710804"/>
                    <a:pt x="3998809" y="717738"/>
                  </a:cubicBezTo>
                  <a:cubicBezTo>
                    <a:pt x="3989624" y="728288"/>
                    <a:pt x="3980898" y="739140"/>
                    <a:pt x="3971713" y="749691"/>
                  </a:cubicBezTo>
                  <a:lnTo>
                    <a:pt x="3971713" y="763858"/>
                  </a:lnTo>
                  <a:lnTo>
                    <a:pt x="3998809" y="773505"/>
                  </a:lnTo>
                  <a:cubicBezTo>
                    <a:pt x="3997891" y="787673"/>
                    <a:pt x="3996513" y="802142"/>
                    <a:pt x="3995594" y="816310"/>
                  </a:cubicBezTo>
                  <a:cubicBezTo>
                    <a:pt x="3988705" y="817515"/>
                    <a:pt x="3981816" y="818420"/>
                    <a:pt x="3974927" y="819626"/>
                  </a:cubicBezTo>
                  <a:cubicBezTo>
                    <a:pt x="3970794" y="827463"/>
                    <a:pt x="3966661" y="835602"/>
                    <a:pt x="3962527" y="843440"/>
                  </a:cubicBezTo>
                  <a:lnTo>
                    <a:pt x="3974927" y="856100"/>
                  </a:lnTo>
                  <a:lnTo>
                    <a:pt x="3935431" y="870268"/>
                  </a:lnTo>
                  <a:cubicBezTo>
                    <a:pt x="3933134" y="882326"/>
                    <a:pt x="3931297" y="894685"/>
                    <a:pt x="3929001" y="906743"/>
                  </a:cubicBezTo>
                  <a:cubicBezTo>
                    <a:pt x="3917979" y="910059"/>
                    <a:pt x="3906956" y="913073"/>
                    <a:pt x="3895934" y="916389"/>
                  </a:cubicBezTo>
                  <a:cubicBezTo>
                    <a:pt x="3893638" y="925432"/>
                    <a:pt x="3891801" y="934476"/>
                    <a:pt x="3889504" y="943519"/>
                  </a:cubicBezTo>
                  <a:lnTo>
                    <a:pt x="3859193" y="975171"/>
                  </a:lnTo>
                  <a:cubicBezTo>
                    <a:pt x="3855978" y="967634"/>
                    <a:pt x="3852763" y="960400"/>
                    <a:pt x="3849548" y="952864"/>
                  </a:cubicBezTo>
                  <a:cubicBezTo>
                    <a:pt x="3845874" y="938696"/>
                    <a:pt x="3842200" y="924227"/>
                    <a:pt x="3838526" y="910059"/>
                  </a:cubicBezTo>
                  <a:cubicBezTo>
                    <a:pt x="3834393" y="886848"/>
                    <a:pt x="3829800" y="863335"/>
                    <a:pt x="3825667" y="840124"/>
                  </a:cubicBezTo>
                  <a:cubicBezTo>
                    <a:pt x="3829800" y="825956"/>
                    <a:pt x="3834393" y="811487"/>
                    <a:pt x="3838526" y="797319"/>
                  </a:cubicBezTo>
                  <a:cubicBezTo>
                    <a:pt x="3844497" y="791591"/>
                    <a:pt x="3850008" y="785562"/>
                    <a:pt x="3855978" y="779835"/>
                  </a:cubicBezTo>
                  <a:cubicBezTo>
                    <a:pt x="3856897" y="774409"/>
                    <a:pt x="3858274" y="769284"/>
                    <a:pt x="3859193" y="763858"/>
                  </a:cubicBezTo>
                  <a:lnTo>
                    <a:pt x="3892719" y="757528"/>
                  </a:lnTo>
                  <a:lnTo>
                    <a:pt x="3932216" y="716230"/>
                  </a:lnTo>
                  <a:lnTo>
                    <a:pt x="3968957" y="681263"/>
                  </a:lnTo>
                  <a:lnTo>
                    <a:pt x="4008454" y="654434"/>
                  </a:lnTo>
                  <a:cubicBezTo>
                    <a:pt x="4014883" y="639061"/>
                    <a:pt x="4020854" y="623687"/>
                    <a:pt x="4027284" y="608314"/>
                  </a:cubicBezTo>
                  <a:cubicBezTo>
                    <a:pt x="4017639" y="609218"/>
                    <a:pt x="4008454" y="610424"/>
                    <a:pt x="3998809" y="611328"/>
                  </a:cubicBezTo>
                  <a:cubicBezTo>
                    <a:pt x="3994217" y="620974"/>
                    <a:pt x="3989165" y="630319"/>
                    <a:pt x="3984572" y="639965"/>
                  </a:cubicBezTo>
                  <a:lnTo>
                    <a:pt x="3929001" y="676440"/>
                  </a:lnTo>
                  <a:cubicBezTo>
                    <a:pt x="3924408" y="662272"/>
                    <a:pt x="3919357" y="647803"/>
                    <a:pt x="3914764" y="633635"/>
                  </a:cubicBezTo>
                  <a:lnTo>
                    <a:pt x="3855978" y="644788"/>
                  </a:lnTo>
                  <a:cubicBezTo>
                    <a:pt x="3837148" y="664382"/>
                    <a:pt x="3817859" y="683976"/>
                    <a:pt x="3799029" y="703570"/>
                  </a:cubicBezTo>
                  <a:cubicBezTo>
                    <a:pt x="3805000" y="709297"/>
                    <a:pt x="3810511" y="715326"/>
                    <a:pt x="3816481" y="721053"/>
                  </a:cubicBezTo>
                  <a:lnTo>
                    <a:pt x="3767340" y="730700"/>
                  </a:lnTo>
                  <a:cubicBezTo>
                    <a:pt x="3757236" y="731604"/>
                    <a:pt x="3747133" y="732810"/>
                    <a:pt x="3737029" y="733714"/>
                  </a:cubicBezTo>
                  <a:lnTo>
                    <a:pt x="3737029" y="709900"/>
                  </a:lnTo>
                  <a:cubicBezTo>
                    <a:pt x="3724629" y="708996"/>
                    <a:pt x="3712688" y="707790"/>
                    <a:pt x="3700288" y="706886"/>
                  </a:cubicBezTo>
                  <a:cubicBezTo>
                    <a:pt x="3691562" y="711709"/>
                    <a:pt x="3682376" y="716230"/>
                    <a:pt x="3673650" y="721053"/>
                  </a:cubicBezTo>
                  <a:lnTo>
                    <a:pt x="3606598" y="716230"/>
                  </a:lnTo>
                  <a:lnTo>
                    <a:pt x="3533575" y="727384"/>
                  </a:lnTo>
                  <a:lnTo>
                    <a:pt x="3460552" y="789481"/>
                  </a:lnTo>
                  <a:lnTo>
                    <a:pt x="3375129" y="862431"/>
                  </a:lnTo>
                  <a:cubicBezTo>
                    <a:pt x="3386151" y="863335"/>
                    <a:pt x="3397174" y="864541"/>
                    <a:pt x="3408196" y="865445"/>
                  </a:cubicBezTo>
                  <a:cubicBezTo>
                    <a:pt x="3412329" y="871172"/>
                    <a:pt x="3416922" y="877201"/>
                    <a:pt x="3421055" y="882929"/>
                  </a:cubicBezTo>
                  <a:cubicBezTo>
                    <a:pt x="3428863" y="886245"/>
                    <a:pt x="3437130" y="889259"/>
                    <a:pt x="3444937" y="892575"/>
                  </a:cubicBezTo>
                  <a:cubicBezTo>
                    <a:pt x="3449071" y="886245"/>
                    <a:pt x="3453663" y="879914"/>
                    <a:pt x="3457797" y="873584"/>
                  </a:cubicBezTo>
                  <a:cubicBezTo>
                    <a:pt x="3465604" y="874488"/>
                    <a:pt x="3473412" y="875694"/>
                    <a:pt x="3481219" y="876598"/>
                  </a:cubicBezTo>
                  <a:lnTo>
                    <a:pt x="3511530" y="910059"/>
                  </a:lnTo>
                  <a:lnTo>
                    <a:pt x="3511530" y="938696"/>
                  </a:lnTo>
                  <a:cubicBezTo>
                    <a:pt x="3506938" y="947739"/>
                    <a:pt x="3501886" y="956481"/>
                    <a:pt x="3497293" y="965524"/>
                  </a:cubicBezTo>
                  <a:cubicBezTo>
                    <a:pt x="3496375" y="977884"/>
                    <a:pt x="3494997" y="989941"/>
                    <a:pt x="3494078" y="1002300"/>
                  </a:cubicBezTo>
                  <a:cubicBezTo>
                    <a:pt x="3490864" y="1016468"/>
                    <a:pt x="3487649" y="1030938"/>
                    <a:pt x="3484434" y="1045105"/>
                  </a:cubicBezTo>
                  <a:cubicBezTo>
                    <a:pt x="3473412" y="1059273"/>
                    <a:pt x="3462389" y="1073743"/>
                    <a:pt x="3451367" y="1087910"/>
                  </a:cubicBezTo>
                  <a:cubicBezTo>
                    <a:pt x="3449071" y="1093638"/>
                    <a:pt x="3447233" y="1099667"/>
                    <a:pt x="3444937" y="1105394"/>
                  </a:cubicBezTo>
                  <a:lnTo>
                    <a:pt x="3414626" y="1138854"/>
                  </a:lnTo>
                  <a:cubicBezTo>
                    <a:pt x="3405440" y="1148802"/>
                    <a:pt x="3396714" y="1159051"/>
                    <a:pt x="3387529" y="1168999"/>
                  </a:cubicBezTo>
                  <a:cubicBezTo>
                    <a:pt x="3382477" y="1174123"/>
                    <a:pt x="3376966" y="1179549"/>
                    <a:pt x="3371914" y="1184674"/>
                  </a:cubicBezTo>
                  <a:cubicBezTo>
                    <a:pt x="3361810" y="1190100"/>
                    <a:pt x="3351707" y="1195224"/>
                    <a:pt x="3341603" y="1200650"/>
                  </a:cubicBezTo>
                  <a:lnTo>
                    <a:pt x="3329203" y="1200650"/>
                  </a:lnTo>
                  <a:cubicBezTo>
                    <a:pt x="3323692" y="1196430"/>
                    <a:pt x="3318640" y="1192210"/>
                    <a:pt x="3313128" y="1187990"/>
                  </a:cubicBezTo>
                  <a:lnTo>
                    <a:pt x="3282817" y="1206981"/>
                  </a:lnTo>
                  <a:cubicBezTo>
                    <a:pt x="3281899" y="1210598"/>
                    <a:pt x="3280521" y="1214517"/>
                    <a:pt x="3279602" y="1218134"/>
                  </a:cubicBezTo>
                  <a:cubicBezTo>
                    <a:pt x="3276847" y="1217230"/>
                    <a:pt x="3274550" y="1216024"/>
                    <a:pt x="3271795" y="1215120"/>
                  </a:cubicBezTo>
                  <a:lnTo>
                    <a:pt x="3262150" y="1227780"/>
                  </a:lnTo>
                  <a:cubicBezTo>
                    <a:pt x="3260313" y="1229890"/>
                    <a:pt x="3258017" y="1232001"/>
                    <a:pt x="3256180" y="1234111"/>
                  </a:cubicBezTo>
                  <a:lnTo>
                    <a:pt x="3256180" y="1251594"/>
                  </a:lnTo>
                  <a:cubicBezTo>
                    <a:pt x="3252046" y="1253705"/>
                    <a:pt x="3247454" y="1255815"/>
                    <a:pt x="3243320" y="1257925"/>
                  </a:cubicBezTo>
                  <a:cubicBezTo>
                    <a:pt x="3242402" y="1260035"/>
                    <a:pt x="3241024" y="1262145"/>
                    <a:pt x="3240106" y="1264255"/>
                  </a:cubicBezTo>
                  <a:cubicBezTo>
                    <a:pt x="3237350" y="1266365"/>
                    <a:pt x="3235054" y="1268475"/>
                    <a:pt x="3232298" y="1270585"/>
                  </a:cubicBezTo>
                  <a:cubicBezTo>
                    <a:pt x="3228165" y="1272695"/>
                    <a:pt x="3223572" y="1274806"/>
                    <a:pt x="3219439" y="1276916"/>
                  </a:cubicBezTo>
                  <a:cubicBezTo>
                    <a:pt x="3216224" y="1278423"/>
                    <a:pt x="3213009" y="1280232"/>
                    <a:pt x="3209794" y="1281739"/>
                  </a:cubicBezTo>
                  <a:lnTo>
                    <a:pt x="3209794" y="1291084"/>
                  </a:lnTo>
                  <a:cubicBezTo>
                    <a:pt x="3208876" y="1292289"/>
                    <a:pt x="3207498" y="1293194"/>
                    <a:pt x="3206579" y="1294399"/>
                  </a:cubicBezTo>
                  <a:cubicBezTo>
                    <a:pt x="3208876" y="1296510"/>
                    <a:pt x="3210713" y="1298620"/>
                    <a:pt x="3213009" y="1300730"/>
                  </a:cubicBezTo>
                  <a:cubicBezTo>
                    <a:pt x="3217142" y="1304046"/>
                    <a:pt x="3221735" y="1307060"/>
                    <a:pt x="3225868" y="1310376"/>
                  </a:cubicBezTo>
                  <a:cubicBezTo>
                    <a:pt x="3231839" y="1321529"/>
                    <a:pt x="3237350" y="1332381"/>
                    <a:pt x="3243320" y="1343535"/>
                  </a:cubicBezTo>
                  <a:cubicBezTo>
                    <a:pt x="3245617" y="1348358"/>
                    <a:pt x="3247454" y="1353181"/>
                    <a:pt x="3249750" y="1358004"/>
                  </a:cubicBezTo>
                  <a:lnTo>
                    <a:pt x="3249750" y="1370665"/>
                  </a:lnTo>
                  <a:lnTo>
                    <a:pt x="3249750" y="1389656"/>
                  </a:lnTo>
                  <a:cubicBezTo>
                    <a:pt x="3247454" y="1393273"/>
                    <a:pt x="3245617" y="1397192"/>
                    <a:pt x="3243320" y="1400809"/>
                  </a:cubicBezTo>
                  <a:lnTo>
                    <a:pt x="3222654" y="1407139"/>
                  </a:lnTo>
                  <a:lnTo>
                    <a:pt x="3206579" y="1416786"/>
                  </a:lnTo>
                  <a:cubicBezTo>
                    <a:pt x="3198772" y="1417690"/>
                    <a:pt x="3190964" y="1418896"/>
                    <a:pt x="3183157" y="1419800"/>
                  </a:cubicBezTo>
                  <a:cubicBezTo>
                    <a:pt x="3182238" y="1414675"/>
                    <a:pt x="3180861" y="1409249"/>
                    <a:pt x="3179942" y="1404125"/>
                  </a:cubicBezTo>
                  <a:cubicBezTo>
                    <a:pt x="3181779" y="1398397"/>
                    <a:pt x="3184075" y="1392369"/>
                    <a:pt x="3185912" y="1386641"/>
                  </a:cubicBezTo>
                  <a:cubicBezTo>
                    <a:pt x="3182698" y="1376995"/>
                    <a:pt x="3179942" y="1367650"/>
                    <a:pt x="3176727" y="1358004"/>
                  </a:cubicBezTo>
                  <a:lnTo>
                    <a:pt x="3192342" y="1356195"/>
                  </a:lnTo>
                  <a:cubicBezTo>
                    <a:pt x="3188209" y="1348961"/>
                    <a:pt x="3184075" y="1341425"/>
                    <a:pt x="3179942" y="1334190"/>
                  </a:cubicBezTo>
                  <a:cubicBezTo>
                    <a:pt x="3175809" y="1332984"/>
                    <a:pt x="3171216" y="1332080"/>
                    <a:pt x="3167083" y="1330874"/>
                  </a:cubicBezTo>
                  <a:cubicBezTo>
                    <a:pt x="3166164" y="1332080"/>
                    <a:pt x="3164786" y="1332984"/>
                    <a:pt x="3163868" y="1334190"/>
                  </a:cubicBezTo>
                  <a:lnTo>
                    <a:pt x="3159275" y="1334190"/>
                  </a:lnTo>
                  <a:lnTo>
                    <a:pt x="3159275" y="1330874"/>
                  </a:lnTo>
                  <a:lnTo>
                    <a:pt x="3152845" y="1330874"/>
                  </a:lnTo>
                  <a:cubicBezTo>
                    <a:pt x="3150549" y="1328764"/>
                    <a:pt x="3148712" y="1326654"/>
                    <a:pt x="3146416" y="1324544"/>
                  </a:cubicBezTo>
                  <a:cubicBezTo>
                    <a:pt x="3148712" y="1320926"/>
                    <a:pt x="3150549" y="1317008"/>
                    <a:pt x="3152845" y="1313390"/>
                  </a:cubicBezTo>
                  <a:cubicBezTo>
                    <a:pt x="3155142" y="1312486"/>
                    <a:pt x="3156979" y="1311280"/>
                    <a:pt x="3159275" y="1310376"/>
                  </a:cubicBezTo>
                  <a:cubicBezTo>
                    <a:pt x="3158357" y="1309170"/>
                    <a:pt x="3156979" y="1308266"/>
                    <a:pt x="3156060" y="1307060"/>
                  </a:cubicBezTo>
                  <a:cubicBezTo>
                    <a:pt x="3158357" y="1301634"/>
                    <a:pt x="3160194" y="1296510"/>
                    <a:pt x="3162490" y="1291084"/>
                  </a:cubicBezTo>
                  <a:lnTo>
                    <a:pt x="3162490" y="1288069"/>
                  </a:lnTo>
                  <a:cubicBezTo>
                    <a:pt x="3156979" y="1286863"/>
                    <a:pt x="3151927" y="1285959"/>
                    <a:pt x="3146416" y="1284753"/>
                  </a:cubicBezTo>
                  <a:cubicBezTo>
                    <a:pt x="3143201" y="1282040"/>
                    <a:pt x="3139986" y="1279629"/>
                    <a:pt x="3136771" y="1276916"/>
                  </a:cubicBezTo>
                  <a:cubicBezTo>
                    <a:pt x="3125749" y="1279629"/>
                    <a:pt x="3114727" y="1282040"/>
                    <a:pt x="3103704" y="1284753"/>
                  </a:cubicBezTo>
                  <a:cubicBezTo>
                    <a:pt x="3098193" y="1288973"/>
                    <a:pt x="3093141" y="1293495"/>
                    <a:pt x="3087630" y="1297715"/>
                  </a:cubicBezTo>
                  <a:lnTo>
                    <a:pt x="3063748" y="1307060"/>
                  </a:lnTo>
                  <a:cubicBezTo>
                    <a:pt x="3069259" y="1301634"/>
                    <a:pt x="3074311" y="1296510"/>
                    <a:pt x="3079823" y="1291084"/>
                  </a:cubicBezTo>
                  <a:cubicBezTo>
                    <a:pt x="3077526" y="1288069"/>
                    <a:pt x="3075689" y="1284753"/>
                    <a:pt x="3073393" y="1281739"/>
                  </a:cubicBezTo>
                  <a:cubicBezTo>
                    <a:pt x="3077985" y="1276011"/>
                    <a:pt x="3083037" y="1269982"/>
                    <a:pt x="3087630" y="1264255"/>
                  </a:cubicBezTo>
                  <a:cubicBezTo>
                    <a:pt x="3084874" y="1258829"/>
                    <a:pt x="3082578" y="1253705"/>
                    <a:pt x="3079823" y="1248279"/>
                  </a:cubicBezTo>
                  <a:cubicBezTo>
                    <a:pt x="3072474" y="1252499"/>
                    <a:pt x="3064667" y="1256719"/>
                    <a:pt x="3057319" y="1260939"/>
                  </a:cubicBezTo>
                  <a:cubicBezTo>
                    <a:pt x="3049511" y="1267269"/>
                    <a:pt x="3041704" y="1273901"/>
                    <a:pt x="3033896" y="1280232"/>
                  </a:cubicBezTo>
                  <a:lnTo>
                    <a:pt x="3017822" y="1294399"/>
                  </a:lnTo>
                  <a:cubicBezTo>
                    <a:pt x="3010933" y="1295605"/>
                    <a:pt x="3004044" y="1296510"/>
                    <a:pt x="2997155" y="1297715"/>
                  </a:cubicBezTo>
                  <a:cubicBezTo>
                    <a:pt x="2993940" y="1300730"/>
                    <a:pt x="2990725" y="1304046"/>
                    <a:pt x="2987511" y="1307060"/>
                  </a:cubicBezTo>
                  <a:lnTo>
                    <a:pt x="2997155" y="1327860"/>
                  </a:lnTo>
                  <a:cubicBezTo>
                    <a:pt x="3003125" y="1328764"/>
                    <a:pt x="3008637" y="1329970"/>
                    <a:pt x="3014607" y="1330874"/>
                  </a:cubicBezTo>
                  <a:lnTo>
                    <a:pt x="3014607" y="1343535"/>
                  </a:lnTo>
                  <a:lnTo>
                    <a:pt x="3037111" y="1349865"/>
                  </a:lnTo>
                  <a:cubicBezTo>
                    <a:pt x="3044000" y="1343535"/>
                    <a:pt x="3050430" y="1337204"/>
                    <a:pt x="3057319" y="1330874"/>
                  </a:cubicBezTo>
                  <a:lnTo>
                    <a:pt x="3083037" y="1340520"/>
                  </a:lnTo>
                  <a:lnTo>
                    <a:pt x="3094060" y="1340520"/>
                  </a:lnTo>
                  <a:cubicBezTo>
                    <a:pt x="3094978" y="1345645"/>
                    <a:pt x="3096356" y="1351071"/>
                    <a:pt x="3097275" y="1356195"/>
                  </a:cubicBezTo>
                  <a:cubicBezTo>
                    <a:pt x="3087171" y="1357703"/>
                    <a:pt x="3077067" y="1359511"/>
                    <a:pt x="3066963" y="1361018"/>
                  </a:cubicBezTo>
                  <a:lnTo>
                    <a:pt x="3057319" y="1373679"/>
                  </a:lnTo>
                  <a:lnTo>
                    <a:pt x="3037111" y="1389656"/>
                  </a:lnTo>
                  <a:cubicBezTo>
                    <a:pt x="3031600" y="1395383"/>
                    <a:pt x="3026548" y="1401412"/>
                    <a:pt x="3021037" y="1407139"/>
                  </a:cubicBezTo>
                  <a:cubicBezTo>
                    <a:pt x="3029304" y="1411360"/>
                    <a:pt x="3038030" y="1415580"/>
                    <a:pt x="3046296" y="1419800"/>
                  </a:cubicBezTo>
                  <a:cubicBezTo>
                    <a:pt x="3049970" y="1427638"/>
                    <a:pt x="3053644" y="1435777"/>
                    <a:pt x="3057319" y="1443614"/>
                  </a:cubicBezTo>
                  <a:cubicBezTo>
                    <a:pt x="3061452" y="1452054"/>
                    <a:pt x="3066045" y="1460796"/>
                    <a:pt x="3070178" y="1469237"/>
                  </a:cubicBezTo>
                  <a:cubicBezTo>
                    <a:pt x="3074311" y="1474964"/>
                    <a:pt x="3078904" y="1480993"/>
                    <a:pt x="3083037" y="1486720"/>
                  </a:cubicBezTo>
                  <a:lnTo>
                    <a:pt x="3083037" y="1502396"/>
                  </a:lnTo>
                  <a:cubicBezTo>
                    <a:pt x="3078904" y="1505109"/>
                    <a:pt x="3074311" y="1507822"/>
                    <a:pt x="3070178" y="1510535"/>
                  </a:cubicBezTo>
                  <a:cubicBezTo>
                    <a:pt x="3072474" y="1514755"/>
                    <a:pt x="3074311" y="1518975"/>
                    <a:pt x="3076608" y="1523195"/>
                  </a:cubicBezTo>
                  <a:cubicBezTo>
                    <a:pt x="3080282" y="1526210"/>
                    <a:pt x="3083956" y="1529525"/>
                    <a:pt x="3087630" y="1532540"/>
                  </a:cubicBezTo>
                  <a:cubicBezTo>
                    <a:pt x="3086252" y="1538267"/>
                    <a:pt x="3084415" y="1544296"/>
                    <a:pt x="3083037" y="1550024"/>
                  </a:cubicBezTo>
                  <a:cubicBezTo>
                    <a:pt x="3082119" y="1556354"/>
                    <a:pt x="3080741" y="1562684"/>
                    <a:pt x="3079823" y="1569015"/>
                  </a:cubicBezTo>
                  <a:cubicBezTo>
                    <a:pt x="3075689" y="1570220"/>
                    <a:pt x="3071097" y="1571125"/>
                    <a:pt x="3066963" y="1572331"/>
                  </a:cubicBezTo>
                  <a:cubicBezTo>
                    <a:pt x="3061911" y="1580168"/>
                    <a:pt x="3056400" y="1588307"/>
                    <a:pt x="3051348" y="1596145"/>
                  </a:cubicBezTo>
                  <a:cubicBezTo>
                    <a:pt x="3045378" y="1606092"/>
                    <a:pt x="3039867" y="1616341"/>
                    <a:pt x="3033896" y="1626289"/>
                  </a:cubicBezTo>
                  <a:cubicBezTo>
                    <a:pt x="3027007" y="1636839"/>
                    <a:pt x="3020118" y="1647691"/>
                    <a:pt x="3013229" y="1658242"/>
                  </a:cubicBezTo>
                  <a:cubicBezTo>
                    <a:pt x="3002666" y="1665175"/>
                    <a:pt x="2992103" y="1671807"/>
                    <a:pt x="2981540" y="1678740"/>
                  </a:cubicBezTo>
                  <a:lnTo>
                    <a:pt x="2951229" y="1697731"/>
                  </a:lnTo>
                  <a:lnTo>
                    <a:pt x="2927347" y="1699540"/>
                  </a:lnTo>
                  <a:lnTo>
                    <a:pt x="2914488" y="1708884"/>
                  </a:lnTo>
                  <a:cubicBezTo>
                    <a:pt x="2911273" y="1706774"/>
                    <a:pt x="2908517" y="1704664"/>
                    <a:pt x="2905302" y="1702554"/>
                  </a:cubicBezTo>
                  <a:cubicBezTo>
                    <a:pt x="2901628" y="1706774"/>
                    <a:pt x="2897495" y="1710995"/>
                    <a:pt x="2893821" y="1715215"/>
                  </a:cubicBezTo>
                  <a:cubicBezTo>
                    <a:pt x="2882798" y="1718531"/>
                    <a:pt x="2871776" y="1721545"/>
                    <a:pt x="2860754" y="1724861"/>
                  </a:cubicBezTo>
                  <a:lnTo>
                    <a:pt x="2838250" y="1731191"/>
                  </a:lnTo>
                  <a:cubicBezTo>
                    <a:pt x="2836413" y="1739029"/>
                    <a:pt x="2834116" y="1747168"/>
                    <a:pt x="2832279" y="1755005"/>
                  </a:cubicBezTo>
                  <a:lnTo>
                    <a:pt x="2817583" y="1755005"/>
                  </a:lnTo>
                  <a:cubicBezTo>
                    <a:pt x="2816664" y="1749579"/>
                    <a:pt x="2815746" y="1744455"/>
                    <a:pt x="2814827" y="1739029"/>
                  </a:cubicBezTo>
                  <a:cubicBezTo>
                    <a:pt x="2815746" y="1736316"/>
                    <a:pt x="2816664" y="1733904"/>
                    <a:pt x="2817583" y="1731191"/>
                  </a:cubicBezTo>
                  <a:lnTo>
                    <a:pt x="2787731" y="1721545"/>
                  </a:lnTo>
                  <a:cubicBezTo>
                    <a:pt x="2784516" y="1722751"/>
                    <a:pt x="2781301" y="1723655"/>
                    <a:pt x="2778086" y="1724861"/>
                  </a:cubicBezTo>
                  <a:lnTo>
                    <a:pt x="2750990" y="1745359"/>
                  </a:lnTo>
                  <a:cubicBezTo>
                    <a:pt x="2743641" y="1752895"/>
                    <a:pt x="2736293" y="1760130"/>
                    <a:pt x="2728945" y="1767666"/>
                  </a:cubicBezTo>
                  <a:cubicBezTo>
                    <a:pt x="2728027" y="1773393"/>
                    <a:pt x="2726649" y="1779422"/>
                    <a:pt x="2725730" y="1785150"/>
                  </a:cubicBezTo>
                  <a:cubicBezTo>
                    <a:pt x="2731241" y="1792686"/>
                    <a:pt x="2736293" y="1799920"/>
                    <a:pt x="2741804" y="1807457"/>
                  </a:cubicBezTo>
                  <a:cubicBezTo>
                    <a:pt x="2748693" y="1817404"/>
                    <a:pt x="2755582" y="1827653"/>
                    <a:pt x="2762471" y="1837601"/>
                  </a:cubicBezTo>
                  <a:cubicBezTo>
                    <a:pt x="2769820" y="1842424"/>
                    <a:pt x="2777168" y="1846946"/>
                    <a:pt x="2784516" y="1851769"/>
                  </a:cubicBezTo>
                  <a:cubicBezTo>
                    <a:pt x="2788190" y="1857195"/>
                    <a:pt x="2791864" y="1862319"/>
                    <a:pt x="2795538" y="1867745"/>
                  </a:cubicBezTo>
                  <a:cubicBezTo>
                    <a:pt x="2799672" y="1881913"/>
                    <a:pt x="2804264" y="1896382"/>
                    <a:pt x="2808398" y="1910550"/>
                  </a:cubicBezTo>
                  <a:cubicBezTo>
                    <a:pt x="2806101" y="1923814"/>
                    <a:pt x="2804264" y="1937077"/>
                    <a:pt x="2801968" y="1950341"/>
                  </a:cubicBezTo>
                  <a:cubicBezTo>
                    <a:pt x="2797375" y="1956068"/>
                    <a:pt x="2792323" y="1962097"/>
                    <a:pt x="2787731" y="1967825"/>
                  </a:cubicBezTo>
                  <a:cubicBezTo>
                    <a:pt x="2778086" y="1972045"/>
                    <a:pt x="2768901" y="1976265"/>
                    <a:pt x="2759256" y="1980485"/>
                  </a:cubicBezTo>
                  <a:cubicBezTo>
                    <a:pt x="2753286" y="1986816"/>
                    <a:pt x="2747775" y="1993146"/>
                    <a:pt x="2741804" y="1999476"/>
                  </a:cubicBezTo>
                  <a:lnTo>
                    <a:pt x="2712871" y="2020276"/>
                  </a:lnTo>
                  <a:cubicBezTo>
                    <a:pt x="2711493" y="2014850"/>
                    <a:pt x="2709656" y="2009725"/>
                    <a:pt x="2708278" y="2004299"/>
                  </a:cubicBezTo>
                  <a:cubicBezTo>
                    <a:pt x="2709197" y="1999476"/>
                    <a:pt x="2710574" y="1994955"/>
                    <a:pt x="2711493" y="1990131"/>
                  </a:cubicBezTo>
                  <a:cubicBezTo>
                    <a:pt x="2705982" y="1985911"/>
                    <a:pt x="2700930" y="1981691"/>
                    <a:pt x="2695419" y="1977471"/>
                  </a:cubicBezTo>
                  <a:cubicBezTo>
                    <a:pt x="2688989" y="1976265"/>
                    <a:pt x="2683019" y="1975361"/>
                    <a:pt x="2676589" y="1974155"/>
                  </a:cubicBezTo>
                  <a:cubicBezTo>
                    <a:pt x="2673833" y="1969935"/>
                    <a:pt x="2671537" y="1965715"/>
                    <a:pt x="2668781" y="1961494"/>
                  </a:cubicBezTo>
                  <a:cubicBezTo>
                    <a:pt x="2664648" y="1954561"/>
                    <a:pt x="2660055" y="1947628"/>
                    <a:pt x="2655922" y="1940695"/>
                  </a:cubicBezTo>
                  <a:cubicBezTo>
                    <a:pt x="2649952" y="1936474"/>
                    <a:pt x="2644441" y="1932254"/>
                    <a:pt x="2638470" y="1928034"/>
                  </a:cubicBezTo>
                  <a:lnTo>
                    <a:pt x="2619181" y="1928034"/>
                  </a:lnTo>
                  <a:cubicBezTo>
                    <a:pt x="2620100" y="1922307"/>
                    <a:pt x="2621477" y="1916278"/>
                    <a:pt x="2622396" y="1910550"/>
                  </a:cubicBezTo>
                  <a:lnTo>
                    <a:pt x="2603566" y="1910550"/>
                  </a:lnTo>
                  <a:cubicBezTo>
                    <a:pt x="2602648" y="1919594"/>
                    <a:pt x="2601270" y="1928637"/>
                    <a:pt x="2600351" y="1937680"/>
                  </a:cubicBezTo>
                  <a:cubicBezTo>
                    <a:pt x="2597596" y="1947628"/>
                    <a:pt x="2595299" y="1957877"/>
                    <a:pt x="2592544" y="1967825"/>
                  </a:cubicBezTo>
                  <a:lnTo>
                    <a:pt x="2582899" y="1986816"/>
                  </a:lnTo>
                  <a:lnTo>
                    <a:pt x="2582899" y="2004299"/>
                  </a:lnTo>
                  <a:cubicBezTo>
                    <a:pt x="2587951" y="2005505"/>
                    <a:pt x="2593462" y="2006409"/>
                    <a:pt x="2598514" y="2007615"/>
                  </a:cubicBezTo>
                  <a:lnTo>
                    <a:pt x="2606781" y="2026606"/>
                  </a:lnTo>
                  <a:cubicBezTo>
                    <a:pt x="2607699" y="2033539"/>
                    <a:pt x="2609077" y="2040171"/>
                    <a:pt x="2609996" y="2047104"/>
                  </a:cubicBezTo>
                  <a:cubicBezTo>
                    <a:pt x="2614129" y="2050420"/>
                    <a:pt x="2618262" y="2053435"/>
                    <a:pt x="2622396" y="2056751"/>
                  </a:cubicBezTo>
                  <a:cubicBezTo>
                    <a:pt x="2626529" y="2057956"/>
                    <a:pt x="2631122" y="2058861"/>
                    <a:pt x="2635255" y="2060066"/>
                  </a:cubicBezTo>
                  <a:cubicBezTo>
                    <a:pt x="2639848" y="2064287"/>
                    <a:pt x="2644900" y="2068507"/>
                    <a:pt x="2649492" y="2072727"/>
                  </a:cubicBezTo>
                  <a:lnTo>
                    <a:pt x="2652707" y="2072727"/>
                  </a:lnTo>
                  <a:lnTo>
                    <a:pt x="2668781" y="2086895"/>
                  </a:lnTo>
                  <a:cubicBezTo>
                    <a:pt x="2670619" y="2092321"/>
                    <a:pt x="2672915" y="2097445"/>
                    <a:pt x="2674752" y="2102871"/>
                  </a:cubicBezTo>
                  <a:lnTo>
                    <a:pt x="2674752" y="2117039"/>
                  </a:lnTo>
                  <a:lnTo>
                    <a:pt x="2674752" y="2129700"/>
                  </a:lnTo>
                  <a:lnTo>
                    <a:pt x="2674752" y="2133016"/>
                  </a:lnTo>
                  <a:cubicBezTo>
                    <a:pt x="2675211" y="2138442"/>
                    <a:pt x="2676130" y="2143566"/>
                    <a:pt x="2676589" y="2148992"/>
                  </a:cubicBezTo>
                  <a:lnTo>
                    <a:pt x="2686234" y="2153514"/>
                  </a:lnTo>
                  <a:cubicBezTo>
                    <a:pt x="2688071" y="2161050"/>
                    <a:pt x="2690367" y="2168285"/>
                    <a:pt x="2692204" y="2175821"/>
                  </a:cubicBezTo>
                  <a:lnTo>
                    <a:pt x="2692204" y="2182151"/>
                  </a:lnTo>
                  <a:lnTo>
                    <a:pt x="2676589" y="2182151"/>
                  </a:lnTo>
                  <a:cubicBezTo>
                    <a:pt x="2669700" y="2177026"/>
                    <a:pt x="2662811" y="2171601"/>
                    <a:pt x="2655922" y="2166476"/>
                  </a:cubicBezTo>
                  <a:cubicBezTo>
                    <a:pt x="2646737" y="2160749"/>
                    <a:pt x="2638011" y="2154720"/>
                    <a:pt x="2628826" y="2148992"/>
                  </a:cubicBezTo>
                  <a:cubicBezTo>
                    <a:pt x="2627907" y="2144772"/>
                    <a:pt x="2626529" y="2140250"/>
                    <a:pt x="2625611" y="2136030"/>
                  </a:cubicBezTo>
                  <a:cubicBezTo>
                    <a:pt x="2622396" y="2131810"/>
                    <a:pt x="2619640" y="2127590"/>
                    <a:pt x="2616425" y="2123370"/>
                  </a:cubicBezTo>
                  <a:cubicBezTo>
                    <a:pt x="2615507" y="2117642"/>
                    <a:pt x="2614129" y="2111613"/>
                    <a:pt x="2613211" y="2105886"/>
                  </a:cubicBezTo>
                  <a:cubicBezTo>
                    <a:pt x="2610914" y="2100761"/>
                    <a:pt x="2609077" y="2095335"/>
                    <a:pt x="2606781" y="2090211"/>
                  </a:cubicBezTo>
                  <a:lnTo>
                    <a:pt x="2606781" y="2074234"/>
                  </a:lnTo>
                  <a:cubicBezTo>
                    <a:pt x="2605862" y="2072727"/>
                    <a:pt x="2604485" y="2070918"/>
                    <a:pt x="2603566" y="2069411"/>
                  </a:cubicBezTo>
                  <a:lnTo>
                    <a:pt x="2592544" y="2056751"/>
                  </a:lnTo>
                  <a:lnTo>
                    <a:pt x="2592544" y="2047104"/>
                  </a:lnTo>
                  <a:cubicBezTo>
                    <a:pt x="2587033" y="2043487"/>
                    <a:pt x="2581981" y="2039568"/>
                    <a:pt x="2576469" y="2035951"/>
                  </a:cubicBezTo>
                  <a:lnTo>
                    <a:pt x="2563610" y="2026606"/>
                  </a:lnTo>
                  <a:cubicBezTo>
                    <a:pt x="2563151" y="2030223"/>
                    <a:pt x="2562692" y="2034142"/>
                    <a:pt x="2562232" y="2037760"/>
                  </a:cubicBezTo>
                  <a:cubicBezTo>
                    <a:pt x="2561314" y="2034142"/>
                    <a:pt x="2559936" y="2030223"/>
                    <a:pt x="2559017" y="2026606"/>
                  </a:cubicBezTo>
                  <a:cubicBezTo>
                    <a:pt x="2559936" y="2021180"/>
                    <a:pt x="2561314" y="2016056"/>
                    <a:pt x="2562232" y="2010630"/>
                  </a:cubicBezTo>
                  <a:cubicBezTo>
                    <a:pt x="2563610" y="2003696"/>
                    <a:pt x="2565447" y="1997065"/>
                    <a:pt x="2566825" y="1990131"/>
                  </a:cubicBezTo>
                  <a:cubicBezTo>
                    <a:pt x="2565906" y="1983801"/>
                    <a:pt x="2564529" y="1977169"/>
                    <a:pt x="2563610" y="1970839"/>
                  </a:cubicBezTo>
                  <a:cubicBezTo>
                    <a:pt x="2566825" y="1966016"/>
                    <a:pt x="2570040" y="1961494"/>
                    <a:pt x="2573255" y="1956671"/>
                  </a:cubicBezTo>
                  <a:lnTo>
                    <a:pt x="2563610" y="1944011"/>
                  </a:lnTo>
                  <a:lnTo>
                    <a:pt x="2563610" y="1920197"/>
                  </a:lnTo>
                  <a:cubicBezTo>
                    <a:pt x="2562232" y="1915976"/>
                    <a:pt x="2560395" y="1911756"/>
                    <a:pt x="2559017" y="1907536"/>
                  </a:cubicBezTo>
                  <a:lnTo>
                    <a:pt x="2549373" y="1880406"/>
                  </a:lnTo>
                  <a:cubicBezTo>
                    <a:pt x="2548454" y="1869855"/>
                    <a:pt x="2547077" y="1859305"/>
                    <a:pt x="2546158" y="1848754"/>
                  </a:cubicBezTo>
                  <a:cubicBezTo>
                    <a:pt x="2542943" y="1843027"/>
                    <a:pt x="2540188" y="1836998"/>
                    <a:pt x="2536973" y="1831271"/>
                  </a:cubicBezTo>
                  <a:cubicBezTo>
                    <a:pt x="2533299" y="1836697"/>
                    <a:pt x="2529165" y="1841821"/>
                    <a:pt x="2525491" y="1847247"/>
                  </a:cubicBezTo>
                  <a:lnTo>
                    <a:pt x="2497017" y="1861415"/>
                  </a:lnTo>
                  <a:cubicBezTo>
                    <a:pt x="2493343" y="1860209"/>
                    <a:pt x="2489669" y="1859305"/>
                    <a:pt x="2485995" y="1858099"/>
                  </a:cubicBezTo>
                  <a:cubicBezTo>
                    <a:pt x="2480483" y="1855989"/>
                    <a:pt x="2475431" y="1853879"/>
                    <a:pt x="2469920" y="1851769"/>
                  </a:cubicBezTo>
                  <a:cubicBezTo>
                    <a:pt x="2473135" y="1841821"/>
                    <a:pt x="2476350" y="1831572"/>
                    <a:pt x="2479565" y="1821624"/>
                  </a:cubicBezTo>
                  <a:cubicBezTo>
                    <a:pt x="2478646" y="1814691"/>
                    <a:pt x="2477269" y="1808059"/>
                    <a:pt x="2476350" y="1801126"/>
                  </a:cubicBezTo>
                  <a:cubicBezTo>
                    <a:pt x="2469920" y="1792686"/>
                    <a:pt x="2463950" y="1783944"/>
                    <a:pt x="2457520" y="1775504"/>
                  </a:cubicBezTo>
                  <a:lnTo>
                    <a:pt x="2457520" y="1767666"/>
                  </a:lnTo>
                  <a:cubicBezTo>
                    <a:pt x="2453846" y="1766762"/>
                    <a:pt x="2450172" y="1765556"/>
                    <a:pt x="2446498" y="1764652"/>
                  </a:cubicBezTo>
                  <a:cubicBezTo>
                    <a:pt x="2440987" y="1758321"/>
                    <a:pt x="2435935" y="1751689"/>
                    <a:pt x="2430424" y="1745359"/>
                  </a:cubicBezTo>
                  <a:cubicBezTo>
                    <a:pt x="2428127" y="1741742"/>
                    <a:pt x="2426290" y="1737823"/>
                    <a:pt x="2423994" y="1734206"/>
                  </a:cubicBezTo>
                  <a:lnTo>
                    <a:pt x="2423994" y="1721545"/>
                  </a:lnTo>
                  <a:cubicBezTo>
                    <a:pt x="2423075" y="1718531"/>
                    <a:pt x="2421698" y="1715215"/>
                    <a:pt x="2420779" y="1712200"/>
                  </a:cubicBezTo>
                  <a:lnTo>
                    <a:pt x="2409757" y="1697731"/>
                  </a:lnTo>
                  <a:lnTo>
                    <a:pt x="2390927" y="1697731"/>
                  </a:lnTo>
                  <a:cubicBezTo>
                    <a:pt x="2391845" y="1700444"/>
                    <a:pt x="2393223" y="1703157"/>
                    <a:pt x="2394142" y="1705870"/>
                  </a:cubicBezTo>
                  <a:cubicBezTo>
                    <a:pt x="2390927" y="1710995"/>
                    <a:pt x="2387712" y="1716421"/>
                    <a:pt x="2384497" y="1721545"/>
                  </a:cubicBezTo>
                  <a:lnTo>
                    <a:pt x="2374853" y="1715215"/>
                  </a:lnTo>
                  <a:lnTo>
                    <a:pt x="2373475" y="1721545"/>
                  </a:lnTo>
                  <a:cubicBezTo>
                    <a:pt x="2371179" y="1720641"/>
                    <a:pt x="2369342" y="1719435"/>
                    <a:pt x="2367045" y="1718531"/>
                  </a:cubicBezTo>
                  <a:cubicBezTo>
                    <a:pt x="2364749" y="1717325"/>
                    <a:pt x="2362912" y="1716421"/>
                    <a:pt x="2360616" y="1715215"/>
                  </a:cubicBezTo>
                  <a:cubicBezTo>
                    <a:pt x="2358319" y="1717325"/>
                    <a:pt x="2356482" y="1719435"/>
                    <a:pt x="2354186" y="1721545"/>
                  </a:cubicBezTo>
                  <a:lnTo>
                    <a:pt x="2338571" y="1721545"/>
                  </a:lnTo>
                  <a:lnTo>
                    <a:pt x="2311474" y="1727875"/>
                  </a:lnTo>
                  <a:cubicBezTo>
                    <a:pt x="2312393" y="1732699"/>
                    <a:pt x="2313771" y="1737522"/>
                    <a:pt x="2314689" y="1742345"/>
                  </a:cubicBezTo>
                  <a:cubicBezTo>
                    <a:pt x="2310097" y="1747469"/>
                    <a:pt x="2305045" y="1752895"/>
                    <a:pt x="2300452" y="1758020"/>
                  </a:cubicBezTo>
                  <a:lnTo>
                    <a:pt x="2268763" y="1772489"/>
                  </a:lnTo>
                  <a:cubicBezTo>
                    <a:pt x="2260955" y="1782135"/>
                    <a:pt x="2252689" y="1791480"/>
                    <a:pt x="2244881" y="1801126"/>
                  </a:cubicBezTo>
                  <a:lnTo>
                    <a:pt x="2228807" y="1815294"/>
                  </a:lnTo>
                  <a:cubicBezTo>
                    <a:pt x="2221918" y="1820720"/>
                    <a:pt x="2215029" y="1825845"/>
                    <a:pt x="2208140" y="1831271"/>
                  </a:cubicBezTo>
                  <a:lnTo>
                    <a:pt x="2208140" y="1840615"/>
                  </a:lnTo>
                  <a:cubicBezTo>
                    <a:pt x="2204007" y="1842725"/>
                    <a:pt x="2199873" y="1845137"/>
                    <a:pt x="2195740" y="1847247"/>
                  </a:cubicBezTo>
                  <a:cubicBezTo>
                    <a:pt x="2188851" y="1849960"/>
                    <a:pt x="2181962" y="1852372"/>
                    <a:pt x="2175073" y="1855085"/>
                  </a:cubicBezTo>
                  <a:lnTo>
                    <a:pt x="2165428" y="1855085"/>
                  </a:lnTo>
                  <a:cubicBezTo>
                    <a:pt x="2163132" y="1861415"/>
                    <a:pt x="2161295" y="1867745"/>
                    <a:pt x="2158999" y="1874076"/>
                  </a:cubicBezTo>
                  <a:cubicBezTo>
                    <a:pt x="2159917" y="1884023"/>
                    <a:pt x="2161295" y="1894272"/>
                    <a:pt x="2162214" y="1904220"/>
                  </a:cubicBezTo>
                  <a:cubicBezTo>
                    <a:pt x="2163132" y="1910550"/>
                    <a:pt x="2164510" y="1916881"/>
                    <a:pt x="2165428" y="1923211"/>
                  </a:cubicBezTo>
                  <a:cubicBezTo>
                    <a:pt x="2161295" y="1930144"/>
                    <a:pt x="2156702" y="1937077"/>
                    <a:pt x="2152569" y="1944011"/>
                  </a:cubicBezTo>
                  <a:lnTo>
                    <a:pt x="2152569" y="1961494"/>
                  </a:lnTo>
                  <a:lnTo>
                    <a:pt x="2152569" y="1980485"/>
                  </a:lnTo>
                  <a:lnTo>
                    <a:pt x="2144762" y="1980485"/>
                  </a:lnTo>
                  <a:cubicBezTo>
                    <a:pt x="2140628" y="1986816"/>
                    <a:pt x="2136036" y="1993146"/>
                    <a:pt x="2131902" y="1999476"/>
                  </a:cubicBezTo>
                  <a:lnTo>
                    <a:pt x="2141547" y="2007615"/>
                  </a:lnTo>
                  <a:cubicBezTo>
                    <a:pt x="2134199" y="2008520"/>
                    <a:pt x="2126850" y="2009725"/>
                    <a:pt x="2119502" y="2010630"/>
                  </a:cubicBezTo>
                  <a:cubicBezTo>
                    <a:pt x="2116747" y="2016056"/>
                    <a:pt x="2113991" y="2021180"/>
                    <a:pt x="2111235" y="2026606"/>
                  </a:cubicBezTo>
                  <a:cubicBezTo>
                    <a:pt x="2108939" y="2028716"/>
                    <a:pt x="2107102" y="2030826"/>
                    <a:pt x="2104806" y="2032936"/>
                  </a:cubicBezTo>
                  <a:cubicBezTo>
                    <a:pt x="2097457" y="2025400"/>
                    <a:pt x="2090109" y="2018166"/>
                    <a:pt x="2082761" y="2010630"/>
                  </a:cubicBezTo>
                  <a:cubicBezTo>
                    <a:pt x="2079087" y="2001586"/>
                    <a:pt x="2075413" y="1992844"/>
                    <a:pt x="2071739" y="1983801"/>
                  </a:cubicBezTo>
                  <a:cubicBezTo>
                    <a:pt x="2069442" y="1975964"/>
                    <a:pt x="2067605" y="1967825"/>
                    <a:pt x="2065309" y="1959987"/>
                  </a:cubicBezTo>
                  <a:cubicBezTo>
                    <a:pt x="2062094" y="1956671"/>
                    <a:pt x="2058879" y="1953657"/>
                    <a:pt x="2055665" y="1950341"/>
                  </a:cubicBezTo>
                  <a:cubicBezTo>
                    <a:pt x="2052450" y="1941900"/>
                    <a:pt x="2049694" y="1933460"/>
                    <a:pt x="2046479" y="1925020"/>
                  </a:cubicBezTo>
                  <a:cubicBezTo>
                    <a:pt x="2044183" y="1915976"/>
                    <a:pt x="2042346" y="1906933"/>
                    <a:pt x="2040050" y="1897890"/>
                  </a:cubicBezTo>
                  <a:cubicBezTo>
                    <a:pt x="2038212" y="1893669"/>
                    <a:pt x="2036835" y="1889449"/>
                    <a:pt x="2034998" y="1885229"/>
                  </a:cubicBezTo>
                  <a:cubicBezTo>
                    <a:pt x="2028568" y="1874076"/>
                    <a:pt x="2022598" y="1862922"/>
                    <a:pt x="2016168" y="1851769"/>
                  </a:cubicBezTo>
                  <a:cubicBezTo>
                    <a:pt x="2012034" y="1837902"/>
                    <a:pt x="2007442" y="1824337"/>
                    <a:pt x="2003308" y="1810471"/>
                  </a:cubicBezTo>
                  <a:cubicBezTo>
                    <a:pt x="2002390" y="1800825"/>
                    <a:pt x="2001012" y="1791480"/>
                    <a:pt x="2000094" y="1781834"/>
                  </a:cubicBezTo>
                  <a:lnTo>
                    <a:pt x="2000094" y="1751689"/>
                  </a:lnTo>
                  <a:cubicBezTo>
                    <a:pt x="1998716" y="1744756"/>
                    <a:pt x="1996879" y="1738125"/>
                    <a:pt x="1995501" y="1731191"/>
                  </a:cubicBezTo>
                  <a:cubicBezTo>
                    <a:pt x="1984938" y="1734809"/>
                    <a:pt x="1974375" y="1738727"/>
                    <a:pt x="1963812" y="1742345"/>
                  </a:cubicBezTo>
                  <a:lnTo>
                    <a:pt x="1946360" y="1742345"/>
                  </a:lnTo>
                  <a:cubicBezTo>
                    <a:pt x="1937174" y="1733301"/>
                    <a:pt x="1928448" y="1724258"/>
                    <a:pt x="1919263" y="1715215"/>
                  </a:cubicBezTo>
                  <a:cubicBezTo>
                    <a:pt x="1922019" y="1712200"/>
                    <a:pt x="1924315" y="1708884"/>
                    <a:pt x="1927071" y="1705870"/>
                  </a:cubicBezTo>
                  <a:cubicBezTo>
                    <a:pt x="1926152" y="1703157"/>
                    <a:pt x="1924774" y="1700444"/>
                    <a:pt x="1923856" y="1697731"/>
                  </a:cubicBezTo>
                  <a:cubicBezTo>
                    <a:pt x="1915130" y="1691401"/>
                    <a:pt x="1905945" y="1685070"/>
                    <a:pt x="1897219" y="1678740"/>
                  </a:cubicBezTo>
                  <a:cubicBezTo>
                    <a:pt x="1892626" y="1675424"/>
                    <a:pt x="1887574" y="1672410"/>
                    <a:pt x="1882981" y="1669094"/>
                  </a:cubicBezTo>
                  <a:cubicBezTo>
                    <a:pt x="1879767" y="1664271"/>
                    <a:pt x="1876552" y="1659749"/>
                    <a:pt x="1873337" y="1654926"/>
                  </a:cubicBezTo>
                  <a:lnTo>
                    <a:pt x="1854048" y="1635935"/>
                  </a:lnTo>
                  <a:cubicBezTo>
                    <a:pt x="1840729" y="1636839"/>
                    <a:pt x="1827870" y="1638045"/>
                    <a:pt x="1814551" y="1638950"/>
                  </a:cubicBezTo>
                  <a:lnTo>
                    <a:pt x="1777810" y="1638950"/>
                  </a:lnTo>
                  <a:cubicBezTo>
                    <a:pt x="1767706" y="1640155"/>
                    <a:pt x="1758062" y="1641060"/>
                    <a:pt x="1747958" y="1642265"/>
                  </a:cubicBezTo>
                  <a:lnTo>
                    <a:pt x="1704787" y="1635935"/>
                  </a:lnTo>
                  <a:cubicBezTo>
                    <a:pt x="1696980" y="1634729"/>
                    <a:pt x="1689172" y="1633825"/>
                    <a:pt x="1681365" y="1632619"/>
                  </a:cubicBezTo>
                  <a:cubicBezTo>
                    <a:pt x="1673557" y="1631715"/>
                    <a:pt x="1665290" y="1630509"/>
                    <a:pt x="1657483" y="1629605"/>
                  </a:cubicBezTo>
                  <a:cubicBezTo>
                    <a:pt x="1654268" y="1619657"/>
                    <a:pt x="1651053" y="1609408"/>
                    <a:pt x="1647838" y="1599460"/>
                  </a:cubicBezTo>
                  <a:lnTo>
                    <a:pt x="1638194" y="1593130"/>
                  </a:lnTo>
                  <a:cubicBezTo>
                    <a:pt x="1632223" y="1595240"/>
                    <a:pt x="1626712" y="1597350"/>
                    <a:pt x="1620742" y="1599460"/>
                  </a:cubicBezTo>
                  <a:lnTo>
                    <a:pt x="1598697" y="1612121"/>
                  </a:lnTo>
                  <a:lnTo>
                    <a:pt x="1571601" y="1602475"/>
                  </a:lnTo>
                  <a:lnTo>
                    <a:pt x="1549556" y="1583484"/>
                  </a:lnTo>
                  <a:cubicBezTo>
                    <a:pt x="1542667" y="1580771"/>
                    <a:pt x="1535778" y="1578359"/>
                    <a:pt x="1528889" y="1575646"/>
                  </a:cubicBezTo>
                  <a:cubicBezTo>
                    <a:pt x="1522919" y="1569316"/>
                    <a:pt x="1517407" y="1562684"/>
                    <a:pt x="1511437" y="1556354"/>
                  </a:cubicBezTo>
                  <a:cubicBezTo>
                    <a:pt x="1505926" y="1545201"/>
                    <a:pt x="1500874" y="1534349"/>
                    <a:pt x="1495363" y="1523195"/>
                  </a:cubicBezTo>
                  <a:cubicBezTo>
                    <a:pt x="1492148" y="1524100"/>
                    <a:pt x="1488933" y="1525305"/>
                    <a:pt x="1485718" y="1526210"/>
                  </a:cubicBezTo>
                  <a:lnTo>
                    <a:pt x="1471481" y="1516865"/>
                  </a:lnTo>
                  <a:cubicBezTo>
                    <a:pt x="1468266" y="1521085"/>
                    <a:pt x="1465511" y="1525305"/>
                    <a:pt x="1462296" y="1529525"/>
                  </a:cubicBezTo>
                  <a:cubicBezTo>
                    <a:pt x="1456785" y="1528320"/>
                    <a:pt x="1451733" y="1527415"/>
                    <a:pt x="1446222" y="1526210"/>
                  </a:cubicBezTo>
                  <a:cubicBezTo>
                    <a:pt x="1448518" y="1529525"/>
                    <a:pt x="1450355" y="1532540"/>
                    <a:pt x="1452651" y="1535856"/>
                  </a:cubicBezTo>
                  <a:cubicBezTo>
                    <a:pt x="1451733" y="1537966"/>
                    <a:pt x="1450355" y="1540076"/>
                    <a:pt x="1449436" y="1542186"/>
                  </a:cubicBezTo>
                  <a:cubicBezTo>
                    <a:pt x="1452651" y="1547914"/>
                    <a:pt x="1455866" y="1553942"/>
                    <a:pt x="1459081" y="1559670"/>
                  </a:cubicBezTo>
                  <a:cubicBezTo>
                    <a:pt x="1462296" y="1567206"/>
                    <a:pt x="1465051" y="1574441"/>
                    <a:pt x="1468266" y="1581977"/>
                  </a:cubicBezTo>
                  <a:lnTo>
                    <a:pt x="1476533" y="1586498"/>
                  </a:lnTo>
                  <a:cubicBezTo>
                    <a:pt x="1478370" y="1588608"/>
                    <a:pt x="1480666" y="1591020"/>
                    <a:pt x="1482503" y="1593130"/>
                  </a:cubicBezTo>
                  <a:cubicBezTo>
                    <a:pt x="1486637" y="1597350"/>
                    <a:pt x="1491229" y="1601571"/>
                    <a:pt x="1495363" y="1605791"/>
                  </a:cubicBezTo>
                  <a:cubicBezTo>
                    <a:pt x="1496281" y="1610011"/>
                    <a:pt x="1497659" y="1614231"/>
                    <a:pt x="1498578" y="1618451"/>
                  </a:cubicBezTo>
                  <a:cubicBezTo>
                    <a:pt x="1497659" y="1619959"/>
                    <a:pt x="1496281" y="1621767"/>
                    <a:pt x="1495363" y="1623274"/>
                  </a:cubicBezTo>
                  <a:cubicBezTo>
                    <a:pt x="1496281" y="1626289"/>
                    <a:pt x="1497659" y="1629605"/>
                    <a:pt x="1498578" y="1632619"/>
                  </a:cubicBezTo>
                  <a:lnTo>
                    <a:pt x="1508222" y="1635935"/>
                  </a:lnTo>
                  <a:lnTo>
                    <a:pt x="1508222" y="1645280"/>
                  </a:lnTo>
                  <a:cubicBezTo>
                    <a:pt x="1509141" y="1647390"/>
                    <a:pt x="1510519" y="1649500"/>
                    <a:pt x="1511437" y="1651610"/>
                  </a:cubicBezTo>
                  <a:cubicBezTo>
                    <a:pt x="1510519" y="1646486"/>
                    <a:pt x="1509141" y="1641060"/>
                    <a:pt x="1508222" y="1635935"/>
                  </a:cubicBezTo>
                  <a:cubicBezTo>
                    <a:pt x="1510978" y="1631112"/>
                    <a:pt x="1513274" y="1626289"/>
                    <a:pt x="1516030" y="1621466"/>
                  </a:cubicBezTo>
                  <a:lnTo>
                    <a:pt x="1522459" y="1621466"/>
                  </a:lnTo>
                  <a:cubicBezTo>
                    <a:pt x="1524756" y="1622973"/>
                    <a:pt x="1526593" y="1624782"/>
                    <a:pt x="1528889" y="1626289"/>
                  </a:cubicBezTo>
                  <a:cubicBezTo>
                    <a:pt x="1529808" y="1630509"/>
                    <a:pt x="1531185" y="1634729"/>
                    <a:pt x="1532104" y="1638950"/>
                  </a:cubicBezTo>
                  <a:lnTo>
                    <a:pt x="1525674" y="1654926"/>
                  </a:lnTo>
                  <a:cubicBezTo>
                    <a:pt x="1526593" y="1657639"/>
                    <a:pt x="1527971" y="1660051"/>
                    <a:pt x="1528889" y="1662764"/>
                  </a:cubicBezTo>
                  <a:cubicBezTo>
                    <a:pt x="1531185" y="1661859"/>
                    <a:pt x="1533022" y="1660654"/>
                    <a:pt x="1535319" y="1659749"/>
                  </a:cubicBezTo>
                  <a:lnTo>
                    <a:pt x="1535319" y="1669094"/>
                  </a:lnTo>
                  <a:cubicBezTo>
                    <a:pt x="1541289" y="1666984"/>
                    <a:pt x="1546800" y="1664874"/>
                    <a:pt x="1552771" y="1662764"/>
                  </a:cubicBezTo>
                  <a:cubicBezTo>
                    <a:pt x="1557823" y="1663969"/>
                    <a:pt x="1563334" y="1664874"/>
                    <a:pt x="1568386" y="1666079"/>
                  </a:cubicBezTo>
                  <a:lnTo>
                    <a:pt x="1584460" y="1666079"/>
                  </a:lnTo>
                  <a:cubicBezTo>
                    <a:pt x="1589053" y="1661256"/>
                    <a:pt x="1594104" y="1656433"/>
                    <a:pt x="1598697" y="1651610"/>
                  </a:cubicBezTo>
                  <a:cubicBezTo>
                    <a:pt x="1603749" y="1646486"/>
                    <a:pt x="1609260" y="1641060"/>
                    <a:pt x="1614312" y="1635935"/>
                  </a:cubicBezTo>
                  <a:cubicBezTo>
                    <a:pt x="1618905" y="1631112"/>
                    <a:pt x="1623957" y="1626289"/>
                    <a:pt x="1628549" y="1621466"/>
                  </a:cubicBezTo>
                  <a:cubicBezTo>
                    <a:pt x="1629468" y="1624179"/>
                    <a:pt x="1630846" y="1626892"/>
                    <a:pt x="1631764" y="1629605"/>
                  </a:cubicBezTo>
                  <a:cubicBezTo>
                    <a:pt x="1632683" y="1635935"/>
                    <a:pt x="1634060" y="1642265"/>
                    <a:pt x="1634979" y="1648596"/>
                  </a:cubicBezTo>
                  <a:cubicBezTo>
                    <a:pt x="1638194" y="1653419"/>
                    <a:pt x="1641409" y="1657941"/>
                    <a:pt x="1644624" y="1662764"/>
                  </a:cubicBezTo>
                  <a:cubicBezTo>
                    <a:pt x="1648757" y="1666079"/>
                    <a:pt x="1653350" y="1669094"/>
                    <a:pt x="1657483" y="1672410"/>
                  </a:cubicBezTo>
                  <a:cubicBezTo>
                    <a:pt x="1662076" y="1673314"/>
                    <a:pt x="1667127" y="1674520"/>
                    <a:pt x="1671720" y="1675424"/>
                  </a:cubicBezTo>
                  <a:cubicBezTo>
                    <a:pt x="1676772" y="1677534"/>
                    <a:pt x="1682283" y="1679946"/>
                    <a:pt x="1687335" y="1682056"/>
                  </a:cubicBezTo>
                  <a:cubicBezTo>
                    <a:pt x="1691468" y="1686276"/>
                    <a:pt x="1696061" y="1690496"/>
                    <a:pt x="1700194" y="1694717"/>
                  </a:cubicBezTo>
                  <a:cubicBezTo>
                    <a:pt x="1700654" y="1696224"/>
                    <a:pt x="1701113" y="1698033"/>
                    <a:pt x="1701572" y="1699540"/>
                  </a:cubicBezTo>
                  <a:cubicBezTo>
                    <a:pt x="1704787" y="1700444"/>
                    <a:pt x="1708002" y="1701650"/>
                    <a:pt x="1711217" y="1702554"/>
                  </a:cubicBezTo>
                  <a:lnTo>
                    <a:pt x="1711217" y="1708884"/>
                  </a:lnTo>
                  <a:lnTo>
                    <a:pt x="1701572" y="1721545"/>
                  </a:lnTo>
                  <a:lnTo>
                    <a:pt x="1700194" y="1727875"/>
                  </a:lnTo>
                  <a:lnTo>
                    <a:pt x="1690550" y="1736014"/>
                  </a:lnTo>
                  <a:cubicBezTo>
                    <a:pt x="1687335" y="1741139"/>
                    <a:pt x="1684579" y="1746565"/>
                    <a:pt x="1681365" y="1751689"/>
                  </a:cubicBezTo>
                  <a:lnTo>
                    <a:pt x="1671720" y="1751689"/>
                  </a:lnTo>
                  <a:cubicBezTo>
                    <a:pt x="1669424" y="1753800"/>
                    <a:pt x="1667587" y="1755910"/>
                    <a:pt x="1665290" y="1758020"/>
                  </a:cubicBezTo>
                  <a:cubicBezTo>
                    <a:pt x="1664372" y="1761336"/>
                    <a:pt x="1662994" y="1764350"/>
                    <a:pt x="1662076" y="1767666"/>
                  </a:cubicBezTo>
                  <a:cubicBezTo>
                    <a:pt x="1662994" y="1773393"/>
                    <a:pt x="1664372" y="1779422"/>
                    <a:pt x="1665290" y="1785150"/>
                  </a:cubicBezTo>
                  <a:lnTo>
                    <a:pt x="1662076" y="1785150"/>
                  </a:lnTo>
                  <a:lnTo>
                    <a:pt x="1654268" y="1785150"/>
                  </a:lnTo>
                  <a:cubicBezTo>
                    <a:pt x="1650135" y="1788466"/>
                    <a:pt x="1645542" y="1791480"/>
                    <a:pt x="1641409" y="1794796"/>
                  </a:cubicBezTo>
                  <a:cubicBezTo>
                    <a:pt x="1640490" y="1797810"/>
                    <a:pt x="1639112" y="1801126"/>
                    <a:pt x="1638194" y="1804141"/>
                  </a:cubicBezTo>
                  <a:cubicBezTo>
                    <a:pt x="1635897" y="1806251"/>
                    <a:pt x="1634060" y="1808361"/>
                    <a:pt x="1631764" y="1810471"/>
                  </a:cubicBezTo>
                  <a:lnTo>
                    <a:pt x="1617527" y="1810471"/>
                  </a:lnTo>
                  <a:cubicBezTo>
                    <a:pt x="1615231" y="1811978"/>
                    <a:pt x="1613394" y="1813787"/>
                    <a:pt x="1611097" y="1815294"/>
                  </a:cubicBezTo>
                  <a:lnTo>
                    <a:pt x="1611097" y="1824940"/>
                  </a:lnTo>
                  <a:lnTo>
                    <a:pt x="1598697" y="1831271"/>
                  </a:lnTo>
                  <a:cubicBezTo>
                    <a:pt x="1595023" y="1830065"/>
                    <a:pt x="1591349" y="1829161"/>
                    <a:pt x="1587675" y="1827955"/>
                  </a:cubicBezTo>
                  <a:cubicBezTo>
                    <a:pt x="1583541" y="1831271"/>
                    <a:pt x="1578949" y="1834285"/>
                    <a:pt x="1574815" y="1837601"/>
                  </a:cubicBezTo>
                  <a:lnTo>
                    <a:pt x="1561956" y="1840615"/>
                  </a:lnTo>
                  <a:lnTo>
                    <a:pt x="1547719" y="1847247"/>
                  </a:lnTo>
                  <a:cubicBezTo>
                    <a:pt x="1545423" y="1849960"/>
                    <a:pt x="1543585" y="1852372"/>
                    <a:pt x="1541289" y="1855085"/>
                  </a:cubicBezTo>
                  <a:lnTo>
                    <a:pt x="1541289" y="1861415"/>
                  </a:lnTo>
                  <a:cubicBezTo>
                    <a:pt x="1533941" y="1864731"/>
                    <a:pt x="1526593" y="1867745"/>
                    <a:pt x="1519245" y="1871061"/>
                  </a:cubicBezTo>
                  <a:lnTo>
                    <a:pt x="1485718" y="1883722"/>
                  </a:lnTo>
                  <a:cubicBezTo>
                    <a:pt x="1478829" y="1888545"/>
                    <a:pt x="1471940" y="1893067"/>
                    <a:pt x="1465051" y="1897890"/>
                  </a:cubicBezTo>
                  <a:cubicBezTo>
                    <a:pt x="1460918" y="1899095"/>
                    <a:pt x="1456785" y="1900000"/>
                    <a:pt x="1452651" y="1901206"/>
                  </a:cubicBezTo>
                  <a:cubicBezTo>
                    <a:pt x="1450355" y="1900000"/>
                    <a:pt x="1448518" y="1899095"/>
                    <a:pt x="1446222" y="1897890"/>
                  </a:cubicBezTo>
                  <a:cubicBezTo>
                    <a:pt x="1442547" y="1901206"/>
                    <a:pt x="1438873" y="1904220"/>
                    <a:pt x="1435199" y="1907536"/>
                  </a:cubicBezTo>
                  <a:cubicBezTo>
                    <a:pt x="1431066" y="1908440"/>
                    <a:pt x="1426473" y="1909646"/>
                    <a:pt x="1422340" y="1910550"/>
                  </a:cubicBezTo>
                  <a:cubicBezTo>
                    <a:pt x="1415910" y="1911756"/>
                    <a:pt x="1409940" y="1912660"/>
                    <a:pt x="1403510" y="1913866"/>
                  </a:cubicBezTo>
                  <a:lnTo>
                    <a:pt x="1398458" y="1913866"/>
                  </a:lnTo>
                  <a:cubicBezTo>
                    <a:pt x="1396162" y="1915976"/>
                    <a:pt x="1394325" y="1918086"/>
                    <a:pt x="1392028" y="1920197"/>
                  </a:cubicBezTo>
                  <a:cubicBezTo>
                    <a:pt x="1390191" y="1921101"/>
                    <a:pt x="1387895" y="1922307"/>
                    <a:pt x="1386058" y="1923211"/>
                  </a:cubicBezTo>
                  <a:cubicBezTo>
                    <a:pt x="1385140" y="1923814"/>
                    <a:pt x="1383762" y="1924417"/>
                    <a:pt x="1382843" y="1925020"/>
                  </a:cubicBezTo>
                  <a:lnTo>
                    <a:pt x="1369984" y="1925020"/>
                  </a:lnTo>
                  <a:cubicBezTo>
                    <a:pt x="1369065" y="1925924"/>
                    <a:pt x="1367687" y="1927130"/>
                    <a:pt x="1366769" y="1928034"/>
                  </a:cubicBezTo>
                  <a:lnTo>
                    <a:pt x="1349317" y="1928034"/>
                  </a:lnTo>
                  <a:cubicBezTo>
                    <a:pt x="1348398" y="1924417"/>
                    <a:pt x="1347021" y="1920498"/>
                    <a:pt x="1346102" y="1916881"/>
                  </a:cubicBezTo>
                  <a:lnTo>
                    <a:pt x="1346102" y="1904220"/>
                  </a:lnTo>
                  <a:cubicBezTo>
                    <a:pt x="1345184" y="1902110"/>
                    <a:pt x="1343806" y="1900000"/>
                    <a:pt x="1342887" y="1897890"/>
                  </a:cubicBezTo>
                  <a:cubicBezTo>
                    <a:pt x="1340591" y="1892162"/>
                    <a:pt x="1338754" y="1886133"/>
                    <a:pt x="1336458" y="1880406"/>
                  </a:cubicBezTo>
                  <a:cubicBezTo>
                    <a:pt x="1334621" y="1877392"/>
                    <a:pt x="1332324" y="1874076"/>
                    <a:pt x="1330487" y="1871061"/>
                  </a:cubicBezTo>
                  <a:lnTo>
                    <a:pt x="1333702" y="1871061"/>
                  </a:lnTo>
                  <a:cubicBezTo>
                    <a:pt x="1332783" y="1867745"/>
                    <a:pt x="1331406" y="1864731"/>
                    <a:pt x="1330487" y="1861415"/>
                  </a:cubicBezTo>
                  <a:cubicBezTo>
                    <a:pt x="1331406" y="1859305"/>
                    <a:pt x="1332783" y="1857195"/>
                    <a:pt x="1333702" y="1855085"/>
                  </a:cubicBezTo>
                  <a:lnTo>
                    <a:pt x="1333702" y="1847247"/>
                  </a:lnTo>
                  <a:cubicBezTo>
                    <a:pt x="1332783" y="1843931"/>
                    <a:pt x="1331406" y="1840917"/>
                    <a:pt x="1330487" y="1837601"/>
                  </a:cubicBezTo>
                  <a:cubicBezTo>
                    <a:pt x="1328191" y="1834285"/>
                    <a:pt x="1326354" y="1831271"/>
                    <a:pt x="1324057" y="1827955"/>
                  </a:cubicBezTo>
                  <a:lnTo>
                    <a:pt x="1324057" y="1818610"/>
                  </a:lnTo>
                  <a:lnTo>
                    <a:pt x="1313035" y="1812280"/>
                  </a:lnTo>
                  <a:cubicBezTo>
                    <a:pt x="1308902" y="1805346"/>
                    <a:pt x="1304309" y="1798413"/>
                    <a:pt x="1300176" y="1791480"/>
                  </a:cubicBezTo>
                  <a:cubicBezTo>
                    <a:pt x="1297879" y="1785150"/>
                    <a:pt x="1296042" y="1778819"/>
                    <a:pt x="1293746" y="1772489"/>
                  </a:cubicBezTo>
                  <a:cubicBezTo>
                    <a:pt x="1289153" y="1767666"/>
                    <a:pt x="1284101" y="1762843"/>
                    <a:pt x="1279509" y="1758020"/>
                  </a:cubicBezTo>
                  <a:cubicBezTo>
                    <a:pt x="1275375" y="1757115"/>
                    <a:pt x="1270783" y="1755910"/>
                    <a:pt x="1266649" y="1755005"/>
                  </a:cubicBezTo>
                  <a:cubicBezTo>
                    <a:pt x="1261598" y="1748072"/>
                    <a:pt x="1256086" y="1741139"/>
                    <a:pt x="1251035" y="1734206"/>
                  </a:cubicBezTo>
                  <a:cubicBezTo>
                    <a:pt x="1250575" y="1729081"/>
                    <a:pt x="1249657" y="1723655"/>
                    <a:pt x="1249197" y="1718531"/>
                  </a:cubicBezTo>
                  <a:lnTo>
                    <a:pt x="1249197" y="1699540"/>
                  </a:lnTo>
                  <a:lnTo>
                    <a:pt x="1236797" y="1678740"/>
                  </a:lnTo>
                  <a:lnTo>
                    <a:pt x="1227153" y="1666079"/>
                  </a:lnTo>
                  <a:cubicBezTo>
                    <a:pt x="1223019" y="1663969"/>
                    <a:pt x="1218427" y="1661859"/>
                    <a:pt x="1214293" y="1659749"/>
                  </a:cubicBezTo>
                  <a:cubicBezTo>
                    <a:pt x="1212916" y="1656132"/>
                    <a:pt x="1211079" y="1652213"/>
                    <a:pt x="1209701" y="1648596"/>
                  </a:cubicBezTo>
                  <a:lnTo>
                    <a:pt x="1211079" y="1642265"/>
                  </a:lnTo>
                  <a:cubicBezTo>
                    <a:pt x="1208323" y="1638950"/>
                    <a:pt x="1206027" y="1635935"/>
                    <a:pt x="1203271" y="1632619"/>
                  </a:cubicBezTo>
                  <a:cubicBezTo>
                    <a:pt x="1200975" y="1630509"/>
                    <a:pt x="1199138" y="1628399"/>
                    <a:pt x="1196841" y="1626289"/>
                  </a:cubicBezTo>
                  <a:cubicBezTo>
                    <a:pt x="1194545" y="1620561"/>
                    <a:pt x="1192708" y="1614533"/>
                    <a:pt x="1190412" y="1608805"/>
                  </a:cubicBezTo>
                  <a:cubicBezTo>
                    <a:pt x="1185360" y="1602475"/>
                    <a:pt x="1179849" y="1596145"/>
                    <a:pt x="1174797" y="1589814"/>
                  </a:cubicBezTo>
                  <a:cubicBezTo>
                    <a:pt x="1171123" y="1584991"/>
                    <a:pt x="1167449" y="1580469"/>
                    <a:pt x="1163774" y="1575646"/>
                  </a:cubicBezTo>
                  <a:lnTo>
                    <a:pt x="1150915" y="1575646"/>
                  </a:lnTo>
                  <a:cubicBezTo>
                    <a:pt x="1153211" y="1570220"/>
                    <a:pt x="1155048" y="1565096"/>
                    <a:pt x="1157345" y="1559670"/>
                  </a:cubicBezTo>
                  <a:lnTo>
                    <a:pt x="1157345" y="1553340"/>
                  </a:lnTo>
                  <a:cubicBezTo>
                    <a:pt x="1158263" y="1549722"/>
                    <a:pt x="1159641" y="1545803"/>
                    <a:pt x="1160560" y="1542186"/>
                  </a:cubicBezTo>
                  <a:lnTo>
                    <a:pt x="1160560" y="1538870"/>
                  </a:lnTo>
                  <a:lnTo>
                    <a:pt x="1150915" y="1547009"/>
                  </a:lnTo>
                  <a:cubicBezTo>
                    <a:pt x="1149996" y="1553340"/>
                    <a:pt x="1148619" y="1559670"/>
                    <a:pt x="1147700" y="1566000"/>
                  </a:cubicBezTo>
                  <a:cubicBezTo>
                    <a:pt x="1145404" y="1570220"/>
                    <a:pt x="1143567" y="1574441"/>
                    <a:pt x="1141270" y="1578661"/>
                  </a:cubicBezTo>
                  <a:cubicBezTo>
                    <a:pt x="1139893" y="1579867"/>
                    <a:pt x="1138056" y="1580771"/>
                    <a:pt x="1136678" y="1581977"/>
                  </a:cubicBezTo>
                  <a:cubicBezTo>
                    <a:pt x="1134382" y="1579867"/>
                    <a:pt x="1132544" y="1577756"/>
                    <a:pt x="1130248" y="1575646"/>
                  </a:cubicBezTo>
                  <a:cubicBezTo>
                    <a:pt x="1127033" y="1572331"/>
                    <a:pt x="1123818" y="1569316"/>
                    <a:pt x="1120604" y="1566000"/>
                  </a:cubicBezTo>
                  <a:cubicBezTo>
                    <a:pt x="1115552" y="1554847"/>
                    <a:pt x="1110041" y="1543693"/>
                    <a:pt x="1104989" y="1532540"/>
                  </a:cubicBezTo>
                  <a:lnTo>
                    <a:pt x="1101774" y="1532540"/>
                  </a:lnTo>
                  <a:lnTo>
                    <a:pt x="1111418" y="1559670"/>
                  </a:lnTo>
                  <a:cubicBezTo>
                    <a:pt x="1116470" y="1567206"/>
                    <a:pt x="1121981" y="1574441"/>
                    <a:pt x="1127033" y="1581977"/>
                  </a:cubicBezTo>
                  <a:cubicBezTo>
                    <a:pt x="1131626" y="1595240"/>
                    <a:pt x="1136678" y="1608202"/>
                    <a:pt x="1141270" y="1621466"/>
                  </a:cubicBezTo>
                  <a:cubicBezTo>
                    <a:pt x="1143567" y="1625083"/>
                    <a:pt x="1145404" y="1629002"/>
                    <a:pt x="1147700" y="1632619"/>
                  </a:cubicBezTo>
                  <a:lnTo>
                    <a:pt x="1157345" y="1645280"/>
                  </a:lnTo>
                  <a:cubicBezTo>
                    <a:pt x="1163315" y="1654323"/>
                    <a:pt x="1168826" y="1663366"/>
                    <a:pt x="1174797" y="1672410"/>
                  </a:cubicBezTo>
                  <a:cubicBezTo>
                    <a:pt x="1174337" y="1673314"/>
                    <a:pt x="1173419" y="1674520"/>
                    <a:pt x="1172960" y="1675424"/>
                  </a:cubicBezTo>
                  <a:cubicBezTo>
                    <a:pt x="1173419" y="1680850"/>
                    <a:pt x="1174337" y="1685975"/>
                    <a:pt x="1174797" y="1691401"/>
                  </a:cubicBezTo>
                  <a:lnTo>
                    <a:pt x="1196841" y="1712200"/>
                  </a:lnTo>
                  <a:cubicBezTo>
                    <a:pt x="1199138" y="1713105"/>
                    <a:pt x="1200975" y="1714310"/>
                    <a:pt x="1203271" y="1715215"/>
                  </a:cubicBezTo>
                  <a:cubicBezTo>
                    <a:pt x="1205567" y="1723052"/>
                    <a:pt x="1207404" y="1731191"/>
                    <a:pt x="1209701" y="1739029"/>
                  </a:cubicBezTo>
                  <a:cubicBezTo>
                    <a:pt x="1208782" y="1740235"/>
                    <a:pt x="1207404" y="1741139"/>
                    <a:pt x="1206486" y="1742345"/>
                  </a:cubicBezTo>
                  <a:cubicBezTo>
                    <a:pt x="1207404" y="1750785"/>
                    <a:pt x="1208782" y="1759226"/>
                    <a:pt x="1209701" y="1767666"/>
                  </a:cubicBezTo>
                  <a:cubicBezTo>
                    <a:pt x="1211079" y="1776709"/>
                    <a:pt x="1212916" y="1785753"/>
                    <a:pt x="1214293" y="1794796"/>
                  </a:cubicBezTo>
                  <a:lnTo>
                    <a:pt x="1223938" y="1801126"/>
                  </a:lnTo>
                  <a:cubicBezTo>
                    <a:pt x="1228071" y="1803236"/>
                    <a:pt x="1232664" y="1805346"/>
                    <a:pt x="1236797" y="1807457"/>
                  </a:cubicBezTo>
                  <a:cubicBezTo>
                    <a:pt x="1240931" y="1816500"/>
                    <a:pt x="1245064" y="1825242"/>
                    <a:pt x="1249197" y="1834285"/>
                  </a:cubicBezTo>
                  <a:cubicBezTo>
                    <a:pt x="1251035" y="1841218"/>
                    <a:pt x="1252412" y="1848151"/>
                    <a:pt x="1254249" y="1855085"/>
                  </a:cubicBezTo>
                  <a:cubicBezTo>
                    <a:pt x="1258383" y="1858099"/>
                    <a:pt x="1262516" y="1861415"/>
                    <a:pt x="1266649" y="1864429"/>
                  </a:cubicBezTo>
                  <a:cubicBezTo>
                    <a:pt x="1277672" y="1871363"/>
                    <a:pt x="1289153" y="1878296"/>
                    <a:pt x="1300176" y="1885229"/>
                  </a:cubicBezTo>
                  <a:cubicBezTo>
                    <a:pt x="1304309" y="1890655"/>
                    <a:pt x="1308902" y="1895780"/>
                    <a:pt x="1313035" y="1901206"/>
                  </a:cubicBezTo>
                  <a:lnTo>
                    <a:pt x="1324057" y="1913866"/>
                  </a:lnTo>
                  <a:cubicBezTo>
                    <a:pt x="1324976" y="1916881"/>
                    <a:pt x="1326354" y="1920197"/>
                    <a:pt x="1327272" y="1923211"/>
                  </a:cubicBezTo>
                  <a:lnTo>
                    <a:pt x="1342887" y="1925020"/>
                  </a:lnTo>
                  <a:cubicBezTo>
                    <a:pt x="1343806" y="1928034"/>
                    <a:pt x="1345184" y="1931350"/>
                    <a:pt x="1346102" y="1934364"/>
                  </a:cubicBezTo>
                  <a:lnTo>
                    <a:pt x="1346102" y="1944011"/>
                  </a:lnTo>
                  <a:lnTo>
                    <a:pt x="1333702" y="1950341"/>
                  </a:lnTo>
                  <a:cubicBezTo>
                    <a:pt x="1336917" y="1952451"/>
                    <a:pt x="1339672" y="1954561"/>
                    <a:pt x="1342887" y="1956671"/>
                  </a:cubicBezTo>
                  <a:cubicBezTo>
                    <a:pt x="1345184" y="1957877"/>
                    <a:pt x="1347021" y="1958781"/>
                    <a:pt x="1349317" y="1959987"/>
                  </a:cubicBezTo>
                  <a:cubicBezTo>
                    <a:pt x="1350235" y="1962700"/>
                    <a:pt x="1351613" y="1965112"/>
                    <a:pt x="1352532" y="1967825"/>
                  </a:cubicBezTo>
                  <a:cubicBezTo>
                    <a:pt x="1356206" y="1971141"/>
                    <a:pt x="1359880" y="1974155"/>
                    <a:pt x="1363554" y="1977471"/>
                  </a:cubicBezTo>
                  <a:lnTo>
                    <a:pt x="1373199" y="1977471"/>
                  </a:lnTo>
                  <a:cubicBezTo>
                    <a:pt x="1380547" y="1975361"/>
                    <a:pt x="1387895" y="1972949"/>
                    <a:pt x="1395243" y="1970839"/>
                  </a:cubicBezTo>
                  <a:cubicBezTo>
                    <a:pt x="1403051" y="1969935"/>
                    <a:pt x="1411318" y="1968729"/>
                    <a:pt x="1419125" y="1967825"/>
                  </a:cubicBezTo>
                  <a:cubicBezTo>
                    <a:pt x="1426014" y="1966619"/>
                    <a:pt x="1432903" y="1965715"/>
                    <a:pt x="1439792" y="1964509"/>
                  </a:cubicBezTo>
                  <a:cubicBezTo>
                    <a:pt x="1443007" y="1963604"/>
                    <a:pt x="1446222" y="1962399"/>
                    <a:pt x="1449436" y="1961494"/>
                  </a:cubicBezTo>
                  <a:cubicBezTo>
                    <a:pt x="1452651" y="1959987"/>
                    <a:pt x="1455866" y="1958178"/>
                    <a:pt x="1459081" y="1956671"/>
                  </a:cubicBezTo>
                  <a:lnTo>
                    <a:pt x="1471481" y="1956671"/>
                  </a:lnTo>
                  <a:lnTo>
                    <a:pt x="1476533" y="1956671"/>
                  </a:lnTo>
                  <a:cubicBezTo>
                    <a:pt x="1480666" y="1955767"/>
                    <a:pt x="1484800" y="1954561"/>
                    <a:pt x="1488933" y="1953657"/>
                  </a:cubicBezTo>
                  <a:cubicBezTo>
                    <a:pt x="1492148" y="1952451"/>
                    <a:pt x="1495363" y="1951547"/>
                    <a:pt x="1498578" y="1950341"/>
                  </a:cubicBezTo>
                  <a:lnTo>
                    <a:pt x="1508222" y="1944011"/>
                  </a:lnTo>
                  <a:lnTo>
                    <a:pt x="1516030" y="1944011"/>
                  </a:lnTo>
                  <a:cubicBezTo>
                    <a:pt x="1516948" y="1946121"/>
                    <a:pt x="1518326" y="1948231"/>
                    <a:pt x="1519245" y="1950341"/>
                  </a:cubicBezTo>
                  <a:cubicBezTo>
                    <a:pt x="1518326" y="1953958"/>
                    <a:pt x="1516948" y="1957877"/>
                    <a:pt x="1516030" y="1961494"/>
                  </a:cubicBezTo>
                  <a:lnTo>
                    <a:pt x="1516030" y="1974155"/>
                  </a:lnTo>
                  <a:cubicBezTo>
                    <a:pt x="1514652" y="1977471"/>
                    <a:pt x="1512815" y="1980485"/>
                    <a:pt x="1511437" y="1983801"/>
                  </a:cubicBezTo>
                  <a:cubicBezTo>
                    <a:pt x="1510519" y="1991639"/>
                    <a:pt x="1509141" y="1999778"/>
                    <a:pt x="1508222" y="2007615"/>
                  </a:cubicBezTo>
                  <a:cubicBezTo>
                    <a:pt x="1504089" y="2014850"/>
                    <a:pt x="1499496" y="2022386"/>
                    <a:pt x="1495363" y="2029621"/>
                  </a:cubicBezTo>
                  <a:cubicBezTo>
                    <a:pt x="1491229" y="2039870"/>
                    <a:pt x="1486637" y="2049817"/>
                    <a:pt x="1482503" y="2060066"/>
                  </a:cubicBezTo>
                  <a:cubicBezTo>
                    <a:pt x="1475614" y="2070014"/>
                    <a:pt x="1469185" y="2080263"/>
                    <a:pt x="1462296" y="2090211"/>
                  </a:cubicBezTo>
                  <a:cubicBezTo>
                    <a:pt x="1455866" y="2098048"/>
                    <a:pt x="1449436" y="2106187"/>
                    <a:pt x="1443007" y="2114025"/>
                  </a:cubicBezTo>
                  <a:cubicBezTo>
                    <a:pt x="1435199" y="2125781"/>
                    <a:pt x="1426933" y="2137236"/>
                    <a:pt x="1419125" y="2148992"/>
                  </a:cubicBezTo>
                  <a:lnTo>
                    <a:pt x="1395243" y="2166476"/>
                  </a:lnTo>
                  <a:cubicBezTo>
                    <a:pt x="1384680" y="2173409"/>
                    <a:pt x="1374117" y="2180041"/>
                    <a:pt x="1363554" y="2186974"/>
                  </a:cubicBezTo>
                  <a:cubicBezTo>
                    <a:pt x="1356665" y="2192400"/>
                    <a:pt x="1349776" y="2197525"/>
                    <a:pt x="1342887" y="2202951"/>
                  </a:cubicBezTo>
                  <a:cubicBezTo>
                    <a:pt x="1335080" y="2211994"/>
                    <a:pt x="1326813" y="2220736"/>
                    <a:pt x="1319006" y="2229779"/>
                  </a:cubicBezTo>
                  <a:cubicBezTo>
                    <a:pt x="1317168" y="2233999"/>
                    <a:pt x="1314872" y="2238220"/>
                    <a:pt x="1313035" y="2242440"/>
                  </a:cubicBezTo>
                  <a:cubicBezTo>
                    <a:pt x="1312117" y="2244550"/>
                    <a:pt x="1310739" y="2246660"/>
                    <a:pt x="1309820" y="2248770"/>
                  </a:cubicBezTo>
                  <a:cubicBezTo>
                    <a:pt x="1303391" y="2250880"/>
                    <a:pt x="1296961" y="2253292"/>
                    <a:pt x="1290531" y="2255402"/>
                  </a:cubicBezTo>
                  <a:cubicBezTo>
                    <a:pt x="1289153" y="2258115"/>
                    <a:pt x="1287316" y="2260526"/>
                    <a:pt x="1285939" y="2263239"/>
                  </a:cubicBezTo>
                  <a:cubicBezTo>
                    <a:pt x="1283642" y="2264144"/>
                    <a:pt x="1281805" y="2265349"/>
                    <a:pt x="1279509" y="2266254"/>
                  </a:cubicBezTo>
                  <a:cubicBezTo>
                    <a:pt x="1278590" y="2271680"/>
                    <a:pt x="1277213" y="2276804"/>
                    <a:pt x="1276294" y="2282230"/>
                  </a:cubicBezTo>
                  <a:cubicBezTo>
                    <a:pt x="1273079" y="2285546"/>
                    <a:pt x="1269864" y="2288561"/>
                    <a:pt x="1266649" y="2291877"/>
                  </a:cubicBezTo>
                  <a:cubicBezTo>
                    <a:pt x="1265731" y="2296700"/>
                    <a:pt x="1264353" y="2301221"/>
                    <a:pt x="1263435" y="2306044"/>
                  </a:cubicBezTo>
                  <a:lnTo>
                    <a:pt x="1251035" y="2312375"/>
                  </a:lnTo>
                  <a:cubicBezTo>
                    <a:pt x="1248279" y="2322322"/>
                    <a:pt x="1245983" y="2332571"/>
                    <a:pt x="1243227" y="2342519"/>
                  </a:cubicBezTo>
                  <a:lnTo>
                    <a:pt x="1245983" y="2355180"/>
                  </a:lnTo>
                  <a:lnTo>
                    <a:pt x="1257464" y="2361811"/>
                  </a:lnTo>
                  <a:lnTo>
                    <a:pt x="1257464" y="2368142"/>
                  </a:lnTo>
                  <a:cubicBezTo>
                    <a:pt x="1255168" y="2371759"/>
                    <a:pt x="1253331" y="2375678"/>
                    <a:pt x="1251035" y="2379295"/>
                  </a:cubicBezTo>
                  <a:cubicBezTo>
                    <a:pt x="1251953" y="2381405"/>
                    <a:pt x="1253331" y="2383515"/>
                    <a:pt x="1254249" y="2385626"/>
                  </a:cubicBezTo>
                  <a:cubicBezTo>
                    <a:pt x="1253331" y="2389846"/>
                    <a:pt x="1251953" y="2394066"/>
                    <a:pt x="1251035" y="2398286"/>
                  </a:cubicBezTo>
                  <a:cubicBezTo>
                    <a:pt x="1254249" y="2403411"/>
                    <a:pt x="1257464" y="2408837"/>
                    <a:pt x="1260679" y="2413961"/>
                  </a:cubicBezTo>
                  <a:cubicBezTo>
                    <a:pt x="1263894" y="2420894"/>
                    <a:pt x="1266649" y="2427828"/>
                    <a:pt x="1269864" y="2434761"/>
                  </a:cubicBezTo>
                  <a:lnTo>
                    <a:pt x="1279509" y="2441091"/>
                  </a:lnTo>
                  <a:cubicBezTo>
                    <a:pt x="1280427" y="2444407"/>
                    <a:pt x="1281805" y="2447421"/>
                    <a:pt x="1282724" y="2450737"/>
                  </a:cubicBezTo>
                  <a:lnTo>
                    <a:pt x="1282724" y="2471236"/>
                  </a:lnTo>
                  <a:cubicBezTo>
                    <a:pt x="1283642" y="2476963"/>
                    <a:pt x="1285020" y="2482992"/>
                    <a:pt x="1285939" y="2488719"/>
                  </a:cubicBezTo>
                  <a:lnTo>
                    <a:pt x="1285939" y="2527003"/>
                  </a:lnTo>
                  <a:lnTo>
                    <a:pt x="1287316" y="2537855"/>
                  </a:lnTo>
                  <a:cubicBezTo>
                    <a:pt x="1285939" y="2543281"/>
                    <a:pt x="1284101" y="2548405"/>
                    <a:pt x="1282724" y="2553831"/>
                  </a:cubicBezTo>
                  <a:cubicBezTo>
                    <a:pt x="1280427" y="2558654"/>
                    <a:pt x="1278590" y="2563176"/>
                    <a:pt x="1276294" y="2567999"/>
                  </a:cubicBezTo>
                  <a:lnTo>
                    <a:pt x="1257464" y="2583975"/>
                  </a:lnTo>
                  <a:cubicBezTo>
                    <a:pt x="1251494" y="2586086"/>
                    <a:pt x="1245983" y="2588196"/>
                    <a:pt x="1240012" y="2590306"/>
                  </a:cubicBezTo>
                  <a:lnTo>
                    <a:pt x="1211079" y="2602966"/>
                  </a:lnTo>
                  <a:cubicBezTo>
                    <a:pt x="1204190" y="2610804"/>
                    <a:pt x="1197301" y="2618943"/>
                    <a:pt x="1190412" y="2626780"/>
                  </a:cubicBezTo>
                  <a:cubicBezTo>
                    <a:pt x="1187197" y="2627986"/>
                    <a:pt x="1184441" y="2628891"/>
                    <a:pt x="1181226" y="2630096"/>
                  </a:cubicBezTo>
                  <a:cubicBezTo>
                    <a:pt x="1176634" y="2634919"/>
                    <a:pt x="1171582" y="2639441"/>
                    <a:pt x="1166989" y="2644264"/>
                  </a:cubicBezTo>
                  <a:cubicBezTo>
                    <a:pt x="1162856" y="2646374"/>
                    <a:pt x="1158263" y="2648484"/>
                    <a:pt x="1154130" y="2650595"/>
                  </a:cubicBezTo>
                  <a:lnTo>
                    <a:pt x="1154130" y="2669887"/>
                  </a:lnTo>
                  <a:cubicBezTo>
                    <a:pt x="1158263" y="2675614"/>
                    <a:pt x="1162856" y="2681643"/>
                    <a:pt x="1166989" y="2687371"/>
                  </a:cubicBezTo>
                  <a:cubicBezTo>
                    <a:pt x="1167908" y="2691591"/>
                    <a:pt x="1169286" y="2695811"/>
                    <a:pt x="1170204" y="2700031"/>
                  </a:cubicBezTo>
                  <a:lnTo>
                    <a:pt x="1170204" y="2706362"/>
                  </a:lnTo>
                  <a:cubicBezTo>
                    <a:pt x="1171582" y="2705156"/>
                    <a:pt x="1173419" y="2704252"/>
                    <a:pt x="1174797" y="2703046"/>
                  </a:cubicBezTo>
                  <a:lnTo>
                    <a:pt x="1174797" y="2730176"/>
                  </a:lnTo>
                  <a:cubicBezTo>
                    <a:pt x="1173419" y="2733492"/>
                    <a:pt x="1171582" y="2736506"/>
                    <a:pt x="1170204" y="2739822"/>
                  </a:cubicBezTo>
                  <a:cubicBezTo>
                    <a:pt x="1171582" y="2741932"/>
                    <a:pt x="1173419" y="2744042"/>
                    <a:pt x="1174797" y="2746152"/>
                  </a:cubicBezTo>
                  <a:cubicBezTo>
                    <a:pt x="1174337" y="2748262"/>
                    <a:pt x="1173419" y="2750372"/>
                    <a:pt x="1172960" y="2752483"/>
                  </a:cubicBezTo>
                  <a:cubicBezTo>
                    <a:pt x="1169745" y="2755195"/>
                    <a:pt x="1166989" y="2757607"/>
                    <a:pt x="1163774" y="2760320"/>
                  </a:cubicBezTo>
                  <a:lnTo>
                    <a:pt x="1144485" y="2766650"/>
                  </a:lnTo>
                  <a:lnTo>
                    <a:pt x="1117389" y="2782627"/>
                  </a:lnTo>
                  <a:cubicBezTo>
                    <a:pt x="1114174" y="2785340"/>
                    <a:pt x="1111418" y="2787751"/>
                    <a:pt x="1108204" y="2790464"/>
                  </a:cubicBezTo>
                  <a:cubicBezTo>
                    <a:pt x="1109122" y="2793780"/>
                    <a:pt x="1110500" y="2796795"/>
                    <a:pt x="1111418" y="2800111"/>
                  </a:cubicBezTo>
                  <a:cubicBezTo>
                    <a:pt x="1112337" y="2801015"/>
                    <a:pt x="1113715" y="2802221"/>
                    <a:pt x="1114633" y="2803125"/>
                  </a:cubicBezTo>
                  <a:lnTo>
                    <a:pt x="1114633" y="2815786"/>
                  </a:lnTo>
                  <a:cubicBezTo>
                    <a:pt x="1112337" y="2820609"/>
                    <a:pt x="1110500" y="2825432"/>
                    <a:pt x="1108204" y="2830255"/>
                  </a:cubicBezTo>
                  <a:cubicBezTo>
                    <a:pt x="1107285" y="2837791"/>
                    <a:pt x="1105907" y="2845026"/>
                    <a:pt x="1104989" y="2852562"/>
                  </a:cubicBezTo>
                  <a:cubicBezTo>
                    <a:pt x="1102692" y="2856782"/>
                    <a:pt x="1100855" y="2861002"/>
                    <a:pt x="1098559" y="2865222"/>
                  </a:cubicBezTo>
                  <a:cubicBezTo>
                    <a:pt x="1093966" y="2867935"/>
                    <a:pt x="1088914" y="2870347"/>
                    <a:pt x="1084322" y="2873060"/>
                  </a:cubicBezTo>
                  <a:cubicBezTo>
                    <a:pt x="1083403" y="2874266"/>
                    <a:pt x="1082025" y="2875170"/>
                    <a:pt x="1081107" y="2876376"/>
                  </a:cubicBezTo>
                  <a:cubicBezTo>
                    <a:pt x="1076974" y="2881500"/>
                    <a:pt x="1072381" y="2886926"/>
                    <a:pt x="1068248" y="2892051"/>
                  </a:cubicBezTo>
                  <a:cubicBezTo>
                    <a:pt x="1067329" y="2896271"/>
                    <a:pt x="1065951" y="2900491"/>
                    <a:pt x="1065033" y="2904712"/>
                  </a:cubicBezTo>
                  <a:cubicBezTo>
                    <a:pt x="1060440" y="2909535"/>
                    <a:pt x="1055388" y="2914358"/>
                    <a:pt x="1050796" y="2919181"/>
                  </a:cubicBezTo>
                  <a:cubicBezTo>
                    <a:pt x="1042529" y="2928224"/>
                    <a:pt x="1033803" y="2936966"/>
                    <a:pt x="1025536" y="2946009"/>
                  </a:cubicBezTo>
                  <a:cubicBezTo>
                    <a:pt x="1020943" y="2950230"/>
                    <a:pt x="1015892" y="2954751"/>
                    <a:pt x="1011299" y="2958971"/>
                  </a:cubicBezTo>
                  <a:cubicBezTo>
                    <a:pt x="1005788" y="2964096"/>
                    <a:pt x="1000736" y="2969522"/>
                    <a:pt x="995225" y="2974647"/>
                  </a:cubicBezTo>
                  <a:cubicBezTo>
                    <a:pt x="987417" y="2976154"/>
                    <a:pt x="979150" y="2977962"/>
                    <a:pt x="971343" y="2979470"/>
                  </a:cubicBezTo>
                  <a:cubicBezTo>
                    <a:pt x="968128" y="2980675"/>
                    <a:pt x="965373" y="2981580"/>
                    <a:pt x="962158" y="2982785"/>
                  </a:cubicBezTo>
                  <a:cubicBezTo>
                    <a:pt x="961239" y="2984896"/>
                    <a:pt x="959861" y="2987006"/>
                    <a:pt x="958943" y="2989116"/>
                  </a:cubicBezTo>
                  <a:cubicBezTo>
                    <a:pt x="954350" y="2987910"/>
                    <a:pt x="949298" y="2987006"/>
                    <a:pt x="944706" y="2985800"/>
                  </a:cubicBezTo>
                  <a:cubicBezTo>
                    <a:pt x="940572" y="2987910"/>
                    <a:pt x="935980" y="2990020"/>
                    <a:pt x="931846" y="2992130"/>
                  </a:cubicBezTo>
                  <a:lnTo>
                    <a:pt x="907965" y="2985800"/>
                  </a:lnTo>
                  <a:cubicBezTo>
                    <a:pt x="903831" y="2987006"/>
                    <a:pt x="899698" y="2987910"/>
                    <a:pt x="895564" y="2989116"/>
                  </a:cubicBezTo>
                  <a:lnTo>
                    <a:pt x="885920" y="2989116"/>
                  </a:lnTo>
                  <a:lnTo>
                    <a:pt x="862038" y="2995446"/>
                  </a:lnTo>
                  <a:lnTo>
                    <a:pt x="842749" y="3001776"/>
                  </a:lnTo>
                  <a:cubicBezTo>
                    <a:pt x="839075" y="3004791"/>
                    <a:pt x="835401" y="3008107"/>
                    <a:pt x="831727" y="3011121"/>
                  </a:cubicBezTo>
                  <a:cubicBezTo>
                    <a:pt x="827593" y="3012327"/>
                    <a:pt x="823460" y="3013231"/>
                    <a:pt x="819327" y="3014437"/>
                  </a:cubicBezTo>
                  <a:cubicBezTo>
                    <a:pt x="817030" y="3010217"/>
                    <a:pt x="815193" y="3005997"/>
                    <a:pt x="812897" y="3001776"/>
                  </a:cubicBezTo>
                  <a:lnTo>
                    <a:pt x="803252" y="3001776"/>
                  </a:lnTo>
                  <a:cubicBezTo>
                    <a:pt x="800497" y="2998461"/>
                    <a:pt x="798201" y="2995446"/>
                    <a:pt x="795445" y="2992130"/>
                  </a:cubicBezTo>
                  <a:lnTo>
                    <a:pt x="795445" y="2995446"/>
                  </a:lnTo>
                  <a:cubicBezTo>
                    <a:pt x="794526" y="2993336"/>
                    <a:pt x="793149" y="2991226"/>
                    <a:pt x="792230" y="2989116"/>
                  </a:cubicBezTo>
                  <a:lnTo>
                    <a:pt x="792230" y="2974647"/>
                  </a:lnTo>
                  <a:cubicBezTo>
                    <a:pt x="789015" y="2969522"/>
                    <a:pt x="785800" y="2964096"/>
                    <a:pt x="782586" y="2958971"/>
                  </a:cubicBezTo>
                  <a:lnTo>
                    <a:pt x="792230" y="2952641"/>
                  </a:lnTo>
                  <a:lnTo>
                    <a:pt x="792230" y="2931842"/>
                  </a:lnTo>
                  <a:cubicBezTo>
                    <a:pt x="786719" y="2925511"/>
                    <a:pt x="781667" y="2919181"/>
                    <a:pt x="776156" y="2912851"/>
                  </a:cubicBezTo>
                  <a:lnTo>
                    <a:pt x="763756" y="2892051"/>
                  </a:lnTo>
                  <a:cubicBezTo>
                    <a:pt x="759163" y="2880898"/>
                    <a:pt x="754111" y="2870046"/>
                    <a:pt x="749519" y="2858892"/>
                  </a:cubicBezTo>
                  <a:cubicBezTo>
                    <a:pt x="744007" y="2852562"/>
                    <a:pt x="738956" y="2845930"/>
                    <a:pt x="733444" y="2839600"/>
                  </a:cubicBezTo>
                  <a:cubicBezTo>
                    <a:pt x="730230" y="2834777"/>
                    <a:pt x="727015" y="2830255"/>
                    <a:pt x="723800" y="2825432"/>
                  </a:cubicBezTo>
                  <a:lnTo>
                    <a:pt x="722422" y="2800111"/>
                  </a:lnTo>
                  <a:cubicBezTo>
                    <a:pt x="720126" y="2795288"/>
                    <a:pt x="718289" y="2790464"/>
                    <a:pt x="715992" y="2785641"/>
                  </a:cubicBezTo>
                  <a:cubicBezTo>
                    <a:pt x="712777" y="2773584"/>
                    <a:pt x="709563" y="2761224"/>
                    <a:pt x="706348" y="2749167"/>
                  </a:cubicBezTo>
                  <a:lnTo>
                    <a:pt x="706348" y="2717515"/>
                  </a:lnTo>
                  <a:cubicBezTo>
                    <a:pt x="705429" y="2713898"/>
                    <a:pt x="704051" y="2709979"/>
                    <a:pt x="703133" y="2706362"/>
                  </a:cubicBezTo>
                  <a:cubicBezTo>
                    <a:pt x="699000" y="2703046"/>
                    <a:pt x="694866" y="2700031"/>
                    <a:pt x="690733" y="2696715"/>
                  </a:cubicBezTo>
                  <a:lnTo>
                    <a:pt x="682466" y="2677724"/>
                  </a:lnTo>
                  <a:cubicBezTo>
                    <a:pt x="679251" y="2667777"/>
                    <a:pt x="676496" y="2657528"/>
                    <a:pt x="673281" y="2647580"/>
                  </a:cubicBezTo>
                  <a:cubicBezTo>
                    <a:pt x="670984" y="2643963"/>
                    <a:pt x="669147" y="2640044"/>
                    <a:pt x="666851" y="2636427"/>
                  </a:cubicBezTo>
                  <a:cubicBezTo>
                    <a:pt x="660421" y="2628891"/>
                    <a:pt x="653992" y="2621656"/>
                    <a:pt x="647562" y="2614120"/>
                  </a:cubicBezTo>
                  <a:lnTo>
                    <a:pt x="647562" y="2596636"/>
                  </a:lnTo>
                  <a:lnTo>
                    <a:pt x="646184" y="2583975"/>
                  </a:lnTo>
                  <a:cubicBezTo>
                    <a:pt x="646644" y="2577042"/>
                    <a:pt x="647103" y="2570411"/>
                    <a:pt x="647562" y="2563477"/>
                  </a:cubicBezTo>
                  <a:cubicBezTo>
                    <a:pt x="650777" y="2555037"/>
                    <a:pt x="653992" y="2546295"/>
                    <a:pt x="657207" y="2537855"/>
                  </a:cubicBezTo>
                  <a:lnTo>
                    <a:pt x="657207" y="2531524"/>
                  </a:lnTo>
                  <a:cubicBezTo>
                    <a:pt x="659503" y="2524591"/>
                    <a:pt x="661340" y="2517959"/>
                    <a:pt x="663636" y="2511026"/>
                  </a:cubicBezTo>
                  <a:cubicBezTo>
                    <a:pt x="665933" y="2508916"/>
                    <a:pt x="667770" y="2506806"/>
                    <a:pt x="670066" y="2504696"/>
                  </a:cubicBezTo>
                  <a:cubicBezTo>
                    <a:pt x="674199" y="2498968"/>
                    <a:pt x="678333" y="2492939"/>
                    <a:pt x="682466" y="2487212"/>
                  </a:cubicBezTo>
                  <a:cubicBezTo>
                    <a:pt x="684303" y="2483896"/>
                    <a:pt x="685681" y="2480882"/>
                    <a:pt x="687518" y="2477566"/>
                  </a:cubicBezTo>
                  <a:cubicBezTo>
                    <a:pt x="688437" y="2472140"/>
                    <a:pt x="689814" y="2467015"/>
                    <a:pt x="690733" y="2461589"/>
                  </a:cubicBezTo>
                  <a:lnTo>
                    <a:pt x="690733" y="2447421"/>
                  </a:lnTo>
                  <a:lnTo>
                    <a:pt x="682466" y="2441091"/>
                  </a:lnTo>
                  <a:cubicBezTo>
                    <a:pt x="681548" y="2435665"/>
                    <a:pt x="680170" y="2430541"/>
                    <a:pt x="679251" y="2425115"/>
                  </a:cubicBezTo>
                  <a:cubicBezTo>
                    <a:pt x="677414" y="2421497"/>
                    <a:pt x="675118" y="2417579"/>
                    <a:pt x="673281" y="2413961"/>
                  </a:cubicBezTo>
                  <a:cubicBezTo>
                    <a:pt x="674199" y="2411851"/>
                    <a:pt x="675577" y="2409741"/>
                    <a:pt x="676496" y="2407631"/>
                  </a:cubicBezTo>
                  <a:lnTo>
                    <a:pt x="679251" y="2401301"/>
                  </a:lnTo>
                  <a:lnTo>
                    <a:pt x="676496" y="2375979"/>
                  </a:lnTo>
                  <a:cubicBezTo>
                    <a:pt x="674199" y="2371156"/>
                    <a:pt x="672362" y="2366635"/>
                    <a:pt x="670066" y="2361811"/>
                  </a:cubicBezTo>
                  <a:cubicBezTo>
                    <a:pt x="665933" y="2357591"/>
                    <a:pt x="661340" y="2353070"/>
                    <a:pt x="657207" y="2348849"/>
                  </a:cubicBezTo>
                  <a:lnTo>
                    <a:pt x="657207" y="2342519"/>
                  </a:lnTo>
                  <a:lnTo>
                    <a:pt x="657207" y="2339505"/>
                  </a:lnTo>
                  <a:cubicBezTo>
                    <a:pt x="654910" y="2333777"/>
                    <a:pt x="653073" y="2327748"/>
                    <a:pt x="650777" y="2322021"/>
                  </a:cubicBezTo>
                  <a:cubicBezTo>
                    <a:pt x="644806" y="2314183"/>
                    <a:pt x="639295" y="2306044"/>
                    <a:pt x="633325" y="2298207"/>
                  </a:cubicBezTo>
                  <a:cubicBezTo>
                    <a:pt x="625977" y="2290671"/>
                    <a:pt x="618628" y="2283436"/>
                    <a:pt x="611280" y="2275900"/>
                  </a:cubicBezTo>
                  <a:cubicBezTo>
                    <a:pt x="605310" y="2268967"/>
                    <a:pt x="599799" y="2262335"/>
                    <a:pt x="593828" y="2255402"/>
                  </a:cubicBezTo>
                  <a:cubicBezTo>
                    <a:pt x="589695" y="2249072"/>
                    <a:pt x="585102" y="2242440"/>
                    <a:pt x="580969" y="2236109"/>
                  </a:cubicBezTo>
                  <a:lnTo>
                    <a:pt x="580969" y="2226765"/>
                  </a:lnTo>
                  <a:cubicBezTo>
                    <a:pt x="583265" y="2224052"/>
                    <a:pt x="585102" y="2221339"/>
                    <a:pt x="587398" y="2218626"/>
                  </a:cubicBezTo>
                  <a:cubicBezTo>
                    <a:pt x="588317" y="2213501"/>
                    <a:pt x="589695" y="2208075"/>
                    <a:pt x="590613" y="2202951"/>
                  </a:cubicBezTo>
                  <a:cubicBezTo>
                    <a:pt x="592910" y="2197525"/>
                    <a:pt x="594747" y="2192400"/>
                    <a:pt x="597043" y="2186974"/>
                  </a:cubicBezTo>
                  <a:cubicBezTo>
                    <a:pt x="594747" y="2186371"/>
                    <a:pt x="592910" y="2186070"/>
                    <a:pt x="590613" y="2185467"/>
                  </a:cubicBezTo>
                  <a:cubicBezTo>
                    <a:pt x="593828" y="2177026"/>
                    <a:pt x="597043" y="2168285"/>
                    <a:pt x="600258" y="2159844"/>
                  </a:cubicBezTo>
                  <a:cubicBezTo>
                    <a:pt x="601176" y="2154117"/>
                    <a:pt x="602554" y="2148088"/>
                    <a:pt x="603473" y="2142360"/>
                  </a:cubicBezTo>
                  <a:cubicBezTo>
                    <a:pt x="600258" y="2137236"/>
                    <a:pt x="597043" y="2131810"/>
                    <a:pt x="593828" y="2126685"/>
                  </a:cubicBezTo>
                  <a:cubicBezTo>
                    <a:pt x="590613" y="2125480"/>
                    <a:pt x="587398" y="2124575"/>
                    <a:pt x="584184" y="2123370"/>
                  </a:cubicBezTo>
                  <a:cubicBezTo>
                    <a:pt x="583265" y="2120355"/>
                    <a:pt x="581887" y="2117039"/>
                    <a:pt x="580969" y="2114025"/>
                  </a:cubicBezTo>
                  <a:cubicBezTo>
                    <a:pt x="578672" y="2113422"/>
                    <a:pt x="576835" y="2112819"/>
                    <a:pt x="574539" y="2112216"/>
                  </a:cubicBezTo>
                  <a:lnTo>
                    <a:pt x="574539" y="2105886"/>
                  </a:lnTo>
                  <a:lnTo>
                    <a:pt x="553872" y="2114025"/>
                  </a:lnTo>
                  <a:cubicBezTo>
                    <a:pt x="550657" y="2113422"/>
                    <a:pt x="547902" y="2112819"/>
                    <a:pt x="544687" y="2112216"/>
                  </a:cubicBezTo>
                  <a:lnTo>
                    <a:pt x="536420" y="2114025"/>
                  </a:lnTo>
                  <a:lnTo>
                    <a:pt x="517590" y="2114025"/>
                  </a:lnTo>
                  <a:cubicBezTo>
                    <a:pt x="514376" y="2110407"/>
                    <a:pt x="511161" y="2106489"/>
                    <a:pt x="507946" y="2102871"/>
                  </a:cubicBezTo>
                  <a:cubicBezTo>
                    <a:pt x="504731" y="2097445"/>
                    <a:pt x="501516" y="2092321"/>
                    <a:pt x="498301" y="2086895"/>
                  </a:cubicBezTo>
                  <a:cubicBezTo>
                    <a:pt x="493709" y="2082072"/>
                    <a:pt x="488657" y="2077550"/>
                    <a:pt x="484064" y="2072727"/>
                  </a:cubicBezTo>
                  <a:lnTo>
                    <a:pt x="465234" y="2072727"/>
                  </a:lnTo>
                  <a:lnTo>
                    <a:pt x="447782" y="2072727"/>
                  </a:lnTo>
                  <a:lnTo>
                    <a:pt x="425278" y="2072727"/>
                  </a:lnTo>
                  <a:cubicBezTo>
                    <a:pt x="420686" y="2074234"/>
                    <a:pt x="415634" y="2075741"/>
                    <a:pt x="411041" y="2077249"/>
                  </a:cubicBezTo>
                  <a:cubicBezTo>
                    <a:pt x="400019" y="2081469"/>
                    <a:pt x="388997" y="2085991"/>
                    <a:pt x="377974" y="2090211"/>
                  </a:cubicBezTo>
                  <a:cubicBezTo>
                    <a:pt x="372463" y="2093225"/>
                    <a:pt x="367411" y="2096541"/>
                    <a:pt x="361900" y="2099555"/>
                  </a:cubicBezTo>
                  <a:cubicBezTo>
                    <a:pt x="357307" y="2101666"/>
                    <a:pt x="352255" y="2103776"/>
                    <a:pt x="347663" y="2105886"/>
                  </a:cubicBezTo>
                  <a:lnTo>
                    <a:pt x="325618" y="2099555"/>
                  </a:lnTo>
                  <a:lnTo>
                    <a:pt x="312759" y="2099555"/>
                  </a:lnTo>
                  <a:lnTo>
                    <a:pt x="301736" y="2093225"/>
                  </a:lnTo>
                  <a:lnTo>
                    <a:pt x="285662" y="2093225"/>
                  </a:lnTo>
                  <a:lnTo>
                    <a:pt x="258566" y="2099555"/>
                  </a:lnTo>
                  <a:cubicBezTo>
                    <a:pt x="253514" y="2101666"/>
                    <a:pt x="248003" y="2103776"/>
                    <a:pt x="242951" y="2105886"/>
                  </a:cubicBezTo>
                  <a:lnTo>
                    <a:pt x="222284" y="2114025"/>
                  </a:lnTo>
                  <a:lnTo>
                    <a:pt x="219069" y="2114025"/>
                  </a:lnTo>
                  <a:lnTo>
                    <a:pt x="212639" y="2114025"/>
                  </a:lnTo>
                  <a:lnTo>
                    <a:pt x="188758" y="2102871"/>
                  </a:lnTo>
                  <a:cubicBezTo>
                    <a:pt x="181409" y="2097445"/>
                    <a:pt x="174061" y="2092321"/>
                    <a:pt x="166713" y="2086895"/>
                  </a:cubicBezTo>
                  <a:lnTo>
                    <a:pt x="149261" y="2072727"/>
                  </a:lnTo>
                  <a:cubicBezTo>
                    <a:pt x="145127" y="2068507"/>
                    <a:pt x="140535" y="2064287"/>
                    <a:pt x="136401" y="2060066"/>
                  </a:cubicBezTo>
                  <a:cubicBezTo>
                    <a:pt x="133187" y="2058861"/>
                    <a:pt x="130431" y="2057956"/>
                    <a:pt x="127216" y="2056751"/>
                  </a:cubicBezTo>
                  <a:lnTo>
                    <a:pt x="112520" y="2047104"/>
                  </a:lnTo>
                  <a:cubicBezTo>
                    <a:pt x="108386" y="2043487"/>
                    <a:pt x="104253" y="2039568"/>
                    <a:pt x="100120" y="2035951"/>
                  </a:cubicBezTo>
                  <a:lnTo>
                    <a:pt x="100120" y="2026606"/>
                  </a:lnTo>
                  <a:cubicBezTo>
                    <a:pt x="99201" y="2021180"/>
                    <a:pt x="97823" y="2016056"/>
                    <a:pt x="96905" y="2010630"/>
                  </a:cubicBezTo>
                  <a:cubicBezTo>
                    <a:pt x="93231" y="2007012"/>
                    <a:pt x="89557" y="2003094"/>
                    <a:pt x="85882" y="1999476"/>
                  </a:cubicBezTo>
                  <a:cubicBezTo>
                    <a:pt x="82668" y="1996462"/>
                    <a:pt x="79453" y="1993146"/>
                    <a:pt x="76238" y="1990131"/>
                  </a:cubicBezTo>
                  <a:cubicBezTo>
                    <a:pt x="75319" y="1988926"/>
                    <a:pt x="73942" y="1988021"/>
                    <a:pt x="73023" y="1986816"/>
                  </a:cubicBezTo>
                  <a:cubicBezTo>
                    <a:pt x="70727" y="1985911"/>
                    <a:pt x="68890" y="1984705"/>
                    <a:pt x="66593" y="1983801"/>
                  </a:cubicBezTo>
                  <a:cubicBezTo>
                    <a:pt x="65675" y="1980485"/>
                    <a:pt x="64297" y="1977471"/>
                    <a:pt x="63379" y="1974155"/>
                  </a:cubicBezTo>
                  <a:cubicBezTo>
                    <a:pt x="62460" y="1972045"/>
                    <a:pt x="61082" y="1969935"/>
                    <a:pt x="60164" y="1967825"/>
                  </a:cubicBezTo>
                  <a:cubicBezTo>
                    <a:pt x="58327" y="1966619"/>
                    <a:pt x="56030" y="1965715"/>
                    <a:pt x="54193" y="1964509"/>
                  </a:cubicBezTo>
                  <a:cubicBezTo>
                    <a:pt x="50519" y="1961796"/>
                    <a:pt x="46386" y="1959384"/>
                    <a:pt x="42712" y="1956671"/>
                  </a:cubicBezTo>
                  <a:cubicBezTo>
                    <a:pt x="39497" y="1955767"/>
                    <a:pt x="36741" y="1954561"/>
                    <a:pt x="33526" y="1953657"/>
                  </a:cubicBezTo>
                  <a:cubicBezTo>
                    <a:pt x="31230" y="1952451"/>
                    <a:pt x="29393" y="1951547"/>
                    <a:pt x="27097" y="1950341"/>
                  </a:cubicBezTo>
                  <a:lnTo>
                    <a:pt x="27097" y="1947025"/>
                  </a:lnTo>
                  <a:cubicBezTo>
                    <a:pt x="24800" y="1944915"/>
                    <a:pt x="22963" y="1942805"/>
                    <a:pt x="20667" y="1940695"/>
                  </a:cubicBezTo>
                  <a:cubicBezTo>
                    <a:pt x="19748" y="1938585"/>
                    <a:pt x="18371" y="1936474"/>
                    <a:pt x="17452" y="1934364"/>
                  </a:cubicBezTo>
                  <a:cubicBezTo>
                    <a:pt x="16534" y="1928637"/>
                    <a:pt x="15156" y="1922608"/>
                    <a:pt x="14237" y="1916881"/>
                  </a:cubicBezTo>
                  <a:cubicBezTo>
                    <a:pt x="15156" y="1913866"/>
                    <a:pt x="16534" y="1910550"/>
                    <a:pt x="17452" y="1907536"/>
                  </a:cubicBezTo>
                  <a:cubicBezTo>
                    <a:pt x="14697" y="1901206"/>
                    <a:pt x="12400" y="1894574"/>
                    <a:pt x="9645" y="1888243"/>
                  </a:cubicBezTo>
                  <a:lnTo>
                    <a:pt x="0" y="1883722"/>
                  </a:lnTo>
                  <a:lnTo>
                    <a:pt x="9645" y="1877392"/>
                  </a:lnTo>
                  <a:cubicBezTo>
                    <a:pt x="12400" y="1871966"/>
                    <a:pt x="14697" y="1866841"/>
                    <a:pt x="17452" y="1861415"/>
                  </a:cubicBezTo>
                  <a:cubicBezTo>
                    <a:pt x="19748" y="1857195"/>
                    <a:pt x="21586" y="1852975"/>
                    <a:pt x="23882" y="1848754"/>
                  </a:cubicBezTo>
                  <a:cubicBezTo>
                    <a:pt x="22963" y="1845137"/>
                    <a:pt x="21586" y="1841218"/>
                    <a:pt x="20667" y="1837601"/>
                  </a:cubicBezTo>
                  <a:cubicBezTo>
                    <a:pt x="22963" y="1833381"/>
                    <a:pt x="24800" y="1829161"/>
                    <a:pt x="27097" y="1824940"/>
                  </a:cubicBezTo>
                  <a:cubicBezTo>
                    <a:pt x="29393" y="1818007"/>
                    <a:pt x="31230" y="1811074"/>
                    <a:pt x="33526" y="1804141"/>
                  </a:cubicBezTo>
                  <a:cubicBezTo>
                    <a:pt x="32608" y="1797810"/>
                    <a:pt x="31230" y="1791480"/>
                    <a:pt x="30312" y="1785150"/>
                  </a:cubicBezTo>
                  <a:cubicBezTo>
                    <a:pt x="29393" y="1780327"/>
                    <a:pt x="28015" y="1775805"/>
                    <a:pt x="27097" y="1770982"/>
                  </a:cubicBezTo>
                  <a:lnTo>
                    <a:pt x="27097" y="1758020"/>
                  </a:lnTo>
                  <a:cubicBezTo>
                    <a:pt x="24800" y="1755005"/>
                    <a:pt x="22963" y="1751689"/>
                    <a:pt x="20667" y="1748675"/>
                  </a:cubicBezTo>
                  <a:cubicBezTo>
                    <a:pt x="17452" y="1745359"/>
                    <a:pt x="14237" y="1742345"/>
                    <a:pt x="11022" y="1739029"/>
                  </a:cubicBezTo>
                  <a:lnTo>
                    <a:pt x="11022" y="1727875"/>
                  </a:lnTo>
                  <a:cubicBezTo>
                    <a:pt x="11941" y="1724861"/>
                    <a:pt x="13319" y="1721545"/>
                    <a:pt x="14237" y="1718531"/>
                  </a:cubicBezTo>
                  <a:cubicBezTo>
                    <a:pt x="16534" y="1716421"/>
                    <a:pt x="18371" y="1714310"/>
                    <a:pt x="20667" y="1712200"/>
                  </a:cubicBezTo>
                  <a:lnTo>
                    <a:pt x="30312" y="1699540"/>
                  </a:lnTo>
                  <a:cubicBezTo>
                    <a:pt x="29393" y="1698033"/>
                    <a:pt x="28015" y="1696224"/>
                    <a:pt x="27097" y="1694717"/>
                  </a:cubicBezTo>
                  <a:cubicBezTo>
                    <a:pt x="29393" y="1688386"/>
                    <a:pt x="31230" y="1681755"/>
                    <a:pt x="33526" y="1675424"/>
                  </a:cubicBezTo>
                  <a:cubicBezTo>
                    <a:pt x="37660" y="1670300"/>
                    <a:pt x="41793" y="1664874"/>
                    <a:pt x="45926" y="1659749"/>
                  </a:cubicBezTo>
                  <a:cubicBezTo>
                    <a:pt x="48682" y="1659146"/>
                    <a:pt x="51438" y="1658845"/>
                    <a:pt x="54193" y="1658242"/>
                  </a:cubicBezTo>
                  <a:cubicBezTo>
                    <a:pt x="56030" y="1652816"/>
                    <a:pt x="58327" y="1647691"/>
                    <a:pt x="60164" y="1642265"/>
                  </a:cubicBezTo>
                  <a:lnTo>
                    <a:pt x="60164" y="1629605"/>
                  </a:lnTo>
                  <a:cubicBezTo>
                    <a:pt x="63379" y="1625987"/>
                    <a:pt x="66593" y="1622069"/>
                    <a:pt x="69808" y="1618451"/>
                  </a:cubicBezTo>
                  <a:cubicBezTo>
                    <a:pt x="73942" y="1615136"/>
                    <a:pt x="78534" y="1612121"/>
                    <a:pt x="82668" y="1608805"/>
                  </a:cubicBezTo>
                  <a:cubicBezTo>
                    <a:pt x="88638" y="1600365"/>
                    <a:pt x="94149" y="1591924"/>
                    <a:pt x="100120" y="1583484"/>
                  </a:cubicBezTo>
                  <a:lnTo>
                    <a:pt x="100120" y="1581977"/>
                  </a:lnTo>
                  <a:lnTo>
                    <a:pt x="109764" y="1575646"/>
                  </a:lnTo>
                  <a:cubicBezTo>
                    <a:pt x="116653" y="1574441"/>
                    <a:pt x="123083" y="1573536"/>
                    <a:pt x="129972" y="1572331"/>
                  </a:cubicBezTo>
                  <a:cubicBezTo>
                    <a:pt x="135483" y="1566905"/>
                    <a:pt x="140535" y="1561780"/>
                    <a:pt x="146046" y="1556354"/>
                  </a:cubicBezTo>
                  <a:lnTo>
                    <a:pt x="158905" y="1547009"/>
                  </a:lnTo>
                  <a:cubicBezTo>
                    <a:pt x="164876" y="1541282"/>
                    <a:pt x="170387" y="1535253"/>
                    <a:pt x="176357" y="1529525"/>
                  </a:cubicBezTo>
                  <a:cubicBezTo>
                    <a:pt x="174061" y="1518372"/>
                    <a:pt x="172224" y="1507219"/>
                    <a:pt x="169928" y="1496065"/>
                  </a:cubicBezTo>
                  <a:cubicBezTo>
                    <a:pt x="173143" y="1488529"/>
                    <a:pt x="176357" y="1481295"/>
                    <a:pt x="179572" y="1473758"/>
                  </a:cubicBezTo>
                  <a:lnTo>
                    <a:pt x="179572" y="1465921"/>
                  </a:lnTo>
                  <a:cubicBezTo>
                    <a:pt x="186002" y="1459591"/>
                    <a:pt x="191972" y="1453260"/>
                    <a:pt x="198402" y="1446930"/>
                  </a:cubicBezTo>
                  <a:lnTo>
                    <a:pt x="219069" y="1434269"/>
                  </a:lnTo>
                  <a:cubicBezTo>
                    <a:pt x="224580" y="1431556"/>
                    <a:pt x="229632" y="1428843"/>
                    <a:pt x="235143" y="1426130"/>
                  </a:cubicBezTo>
                  <a:cubicBezTo>
                    <a:pt x="239736" y="1416484"/>
                    <a:pt x="244788" y="1407139"/>
                    <a:pt x="249380" y="1397493"/>
                  </a:cubicBezTo>
                  <a:cubicBezTo>
                    <a:pt x="252595" y="1393876"/>
                    <a:pt x="255351" y="1390259"/>
                    <a:pt x="258566" y="1386641"/>
                  </a:cubicBezTo>
                  <a:lnTo>
                    <a:pt x="273262" y="1386641"/>
                  </a:lnTo>
                  <a:cubicBezTo>
                    <a:pt x="277396" y="1389656"/>
                    <a:pt x="281529" y="1392972"/>
                    <a:pt x="285662" y="1395986"/>
                  </a:cubicBezTo>
                  <a:lnTo>
                    <a:pt x="308166" y="1395986"/>
                  </a:lnTo>
                  <a:cubicBezTo>
                    <a:pt x="315055" y="1396589"/>
                    <a:pt x="321944" y="1396890"/>
                    <a:pt x="328833" y="1397493"/>
                  </a:cubicBezTo>
                  <a:lnTo>
                    <a:pt x="341233" y="1397493"/>
                  </a:lnTo>
                  <a:lnTo>
                    <a:pt x="361900" y="1386641"/>
                  </a:lnTo>
                  <a:lnTo>
                    <a:pt x="385782" y="1380311"/>
                  </a:lnTo>
                  <a:cubicBezTo>
                    <a:pt x="389915" y="1376995"/>
                    <a:pt x="394508" y="1373981"/>
                    <a:pt x="398641" y="1370665"/>
                  </a:cubicBezTo>
                  <a:lnTo>
                    <a:pt x="420686" y="1364334"/>
                  </a:lnTo>
                  <a:lnTo>
                    <a:pt x="457427" y="1358004"/>
                  </a:lnTo>
                  <a:lnTo>
                    <a:pt x="493709" y="1356195"/>
                  </a:lnTo>
                  <a:cubicBezTo>
                    <a:pt x="497383" y="1357703"/>
                    <a:pt x="501057" y="1359511"/>
                    <a:pt x="504731" y="1361018"/>
                  </a:cubicBezTo>
                  <a:lnTo>
                    <a:pt x="527235" y="1349865"/>
                  </a:lnTo>
                  <a:lnTo>
                    <a:pt x="550657" y="1349865"/>
                  </a:lnTo>
                  <a:cubicBezTo>
                    <a:pt x="552954" y="1351975"/>
                    <a:pt x="554791" y="1354085"/>
                    <a:pt x="557087" y="1356195"/>
                  </a:cubicBezTo>
                  <a:cubicBezTo>
                    <a:pt x="562598" y="1355291"/>
                    <a:pt x="567650" y="1354085"/>
                    <a:pt x="573161" y="1353181"/>
                  </a:cubicBezTo>
                  <a:cubicBezTo>
                    <a:pt x="580969" y="1349865"/>
                    <a:pt x="589236" y="1346851"/>
                    <a:pt x="597043" y="1343535"/>
                  </a:cubicBezTo>
                  <a:cubicBezTo>
                    <a:pt x="603013" y="1345645"/>
                    <a:pt x="608525" y="1347755"/>
                    <a:pt x="614495" y="1349865"/>
                  </a:cubicBezTo>
                  <a:lnTo>
                    <a:pt x="614495" y="1358004"/>
                  </a:lnTo>
                  <a:cubicBezTo>
                    <a:pt x="620925" y="1355291"/>
                    <a:pt x="626895" y="1352578"/>
                    <a:pt x="633325" y="1349865"/>
                  </a:cubicBezTo>
                  <a:lnTo>
                    <a:pt x="633325" y="1356195"/>
                  </a:lnTo>
                  <a:lnTo>
                    <a:pt x="620925" y="1364334"/>
                  </a:lnTo>
                  <a:lnTo>
                    <a:pt x="620925" y="1380311"/>
                  </a:lnTo>
                  <a:cubicBezTo>
                    <a:pt x="624140" y="1382421"/>
                    <a:pt x="626895" y="1384531"/>
                    <a:pt x="630110" y="1386641"/>
                  </a:cubicBezTo>
                  <a:cubicBezTo>
                    <a:pt x="629191" y="1393574"/>
                    <a:pt x="627814" y="1400206"/>
                    <a:pt x="626895" y="1407139"/>
                  </a:cubicBezTo>
                  <a:cubicBezTo>
                    <a:pt x="621843" y="1411360"/>
                    <a:pt x="616332" y="1415580"/>
                    <a:pt x="611280" y="1419800"/>
                  </a:cubicBezTo>
                  <a:cubicBezTo>
                    <a:pt x="613577" y="1424020"/>
                    <a:pt x="615414" y="1428240"/>
                    <a:pt x="617710" y="1432461"/>
                  </a:cubicBezTo>
                  <a:lnTo>
                    <a:pt x="626895" y="1432461"/>
                  </a:lnTo>
                  <a:cubicBezTo>
                    <a:pt x="629191" y="1437284"/>
                    <a:pt x="631029" y="1442107"/>
                    <a:pt x="633325" y="1446930"/>
                  </a:cubicBezTo>
                  <a:cubicBezTo>
                    <a:pt x="636540" y="1447834"/>
                    <a:pt x="639755" y="1449040"/>
                    <a:pt x="642969" y="1449944"/>
                  </a:cubicBezTo>
                  <a:lnTo>
                    <a:pt x="666851" y="1456275"/>
                  </a:lnTo>
                  <a:lnTo>
                    <a:pt x="679251" y="1456275"/>
                  </a:lnTo>
                  <a:cubicBezTo>
                    <a:pt x="684303" y="1457480"/>
                    <a:pt x="688896" y="1458385"/>
                    <a:pt x="693948" y="1459591"/>
                  </a:cubicBezTo>
                  <a:cubicBezTo>
                    <a:pt x="704051" y="1463208"/>
                    <a:pt x="713696" y="1467127"/>
                    <a:pt x="723800" y="1470744"/>
                  </a:cubicBezTo>
                  <a:cubicBezTo>
                    <a:pt x="727933" y="1478280"/>
                    <a:pt x="732526" y="1485515"/>
                    <a:pt x="736659" y="1493051"/>
                  </a:cubicBezTo>
                  <a:cubicBezTo>
                    <a:pt x="743089" y="1493955"/>
                    <a:pt x="749059" y="1495161"/>
                    <a:pt x="755489" y="1496065"/>
                  </a:cubicBezTo>
                  <a:lnTo>
                    <a:pt x="785800" y="1508726"/>
                  </a:lnTo>
                  <a:lnTo>
                    <a:pt x="809682" y="1519879"/>
                  </a:lnTo>
                  <a:lnTo>
                    <a:pt x="819327" y="1513549"/>
                  </a:lnTo>
                  <a:cubicBezTo>
                    <a:pt x="823460" y="1509932"/>
                    <a:pt x="827593" y="1506013"/>
                    <a:pt x="831727" y="1502396"/>
                  </a:cubicBezTo>
                  <a:cubicBezTo>
                    <a:pt x="829430" y="1496065"/>
                    <a:pt x="827593" y="1489735"/>
                    <a:pt x="825297" y="1483405"/>
                  </a:cubicBezTo>
                  <a:lnTo>
                    <a:pt x="834942" y="1470744"/>
                  </a:lnTo>
                  <a:lnTo>
                    <a:pt x="849179" y="1459591"/>
                  </a:lnTo>
                  <a:cubicBezTo>
                    <a:pt x="853312" y="1458385"/>
                    <a:pt x="857905" y="1457480"/>
                    <a:pt x="862038" y="1456275"/>
                  </a:cubicBezTo>
                  <a:lnTo>
                    <a:pt x="895564" y="1462605"/>
                  </a:lnTo>
                  <a:cubicBezTo>
                    <a:pt x="897401" y="1465318"/>
                    <a:pt x="899698" y="1468031"/>
                    <a:pt x="901535" y="1470744"/>
                  </a:cubicBezTo>
                  <a:lnTo>
                    <a:pt x="907965" y="1470744"/>
                  </a:lnTo>
                  <a:cubicBezTo>
                    <a:pt x="910720" y="1472854"/>
                    <a:pt x="913016" y="1474964"/>
                    <a:pt x="915772" y="1477074"/>
                  </a:cubicBezTo>
                  <a:cubicBezTo>
                    <a:pt x="923120" y="1477979"/>
                    <a:pt x="930928" y="1479184"/>
                    <a:pt x="938276" y="1480089"/>
                  </a:cubicBezTo>
                  <a:cubicBezTo>
                    <a:pt x="940572" y="1483405"/>
                    <a:pt x="942409" y="1486419"/>
                    <a:pt x="944706" y="1489735"/>
                  </a:cubicBezTo>
                  <a:lnTo>
                    <a:pt x="971343" y="1489735"/>
                  </a:lnTo>
                  <a:cubicBezTo>
                    <a:pt x="978232" y="1490941"/>
                    <a:pt x="985121" y="1491845"/>
                    <a:pt x="992010" y="1493051"/>
                  </a:cubicBezTo>
                  <a:cubicBezTo>
                    <a:pt x="1000736" y="1496065"/>
                    <a:pt x="1009003" y="1499381"/>
                    <a:pt x="1017729" y="1502396"/>
                  </a:cubicBezTo>
                  <a:cubicBezTo>
                    <a:pt x="1020484" y="1503601"/>
                    <a:pt x="1022780" y="1504506"/>
                    <a:pt x="1025536" y="1505711"/>
                  </a:cubicBezTo>
                  <a:lnTo>
                    <a:pt x="1044366" y="1496065"/>
                  </a:lnTo>
                  <a:cubicBezTo>
                    <a:pt x="1046662" y="1495161"/>
                    <a:pt x="1048499" y="1493955"/>
                    <a:pt x="1050796" y="1493051"/>
                  </a:cubicBezTo>
                  <a:cubicBezTo>
                    <a:pt x="1057684" y="1491845"/>
                    <a:pt x="1064573" y="1490941"/>
                    <a:pt x="1071462" y="1489735"/>
                  </a:cubicBezTo>
                  <a:cubicBezTo>
                    <a:pt x="1076974" y="1490941"/>
                    <a:pt x="1082025" y="1491845"/>
                    <a:pt x="1087537" y="1493051"/>
                  </a:cubicBezTo>
                  <a:cubicBezTo>
                    <a:pt x="1089833" y="1497271"/>
                    <a:pt x="1091670" y="1501491"/>
                    <a:pt x="1093966" y="1505711"/>
                  </a:cubicBezTo>
                  <a:cubicBezTo>
                    <a:pt x="1095344" y="1502396"/>
                    <a:pt x="1097181" y="1499381"/>
                    <a:pt x="1098559" y="1496065"/>
                  </a:cubicBezTo>
                  <a:cubicBezTo>
                    <a:pt x="1104989" y="1498175"/>
                    <a:pt x="1110959" y="1500285"/>
                    <a:pt x="1117389" y="1502396"/>
                  </a:cubicBezTo>
                  <a:lnTo>
                    <a:pt x="1133463" y="1502396"/>
                  </a:lnTo>
                  <a:lnTo>
                    <a:pt x="1144485" y="1496065"/>
                  </a:lnTo>
                  <a:cubicBezTo>
                    <a:pt x="1146782" y="1493955"/>
                    <a:pt x="1148619" y="1491845"/>
                    <a:pt x="1150915" y="1489735"/>
                  </a:cubicBezTo>
                  <a:cubicBezTo>
                    <a:pt x="1149996" y="1488831"/>
                    <a:pt x="1148619" y="1487625"/>
                    <a:pt x="1147700" y="1486720"/>
                  </a:cubicBezTo>
                  <a:cubicBezTo>
                    <a:pt x="1149996" y="1482500"/>
                    <a:pt x="1151834" y="1477979"/>
                    <a:pt x="1154130" y="1473758"/>
                  </a:cubicBezTo>
                  <a:cubicBezTo>
                    <a:pt x="1156426" y="1468031"/>
                    <a:pt x="1158263" y="1462002"/>
                    <a:pt x="1160560" y="1456275"/>
                  </a:cubicBezTo>
                  <a:cubicBezTo>
                    <a:pt x="1161478" y="1455370"/>
                    <a:pt x="1162856" y="1454165"/>
                    <a:pt x="1163774" y="1453260"/>
                  </a:cubicBezTo>
                  <a:cubicBezTo>
                    <a:pt x="1166989" y="1445423"/>
                    <a:pt x="1169745" y="1437284"/>
                    <a:pt x="1172960" y="1429446"/>
                  </a:cubicBezTo>
                  <a:cubicBezTo>
                    <a:pt x="1175715" y="1424020"/>
                    <a:pt x="1178471" y="1418896"/>
                    <a:pt x="1181226" y="1413470"/>
                  </a:cubicBezTo>
                  <a:cubicBezTo>
                    <a:pt x="1182145" y="1412565"/>
                    <a:pt x="1183523" y="1411360"/>
                    <a:pt x="1184441" y="1410455"/>
                  </a:cubicBezTo>
                  <a:cubicBezTo>
                    <a:pt x="1183523" y="1405632"/>
                    <a:pt x="1182145" y="1400809"/>
                    <a:pt x="1181226" y="1395986"/>
                  </a:cubicBezTo>
                  <a:cubicBezTo>
                    <a:pt x="1183523" y="1391766"/>
                    <a:pt x="1185360" y="1387546"/>
                    <a:pt x="1187656" y="1383325"/>
                  </a:cubicBezTo>
                  <a:lnTo>
                    <a:pt x="1178012" y="1370665"/>
                  </a:lnTo>
                  <a:cubicBezTo>
                    <a:pt x="1181226" y="1367349"/>
                    <a:pt x="1184441" y="1364334"/>
                    <a:pt x="1187656" y="1361018"/>
                  </a:cubicBezTo>
                  <a:cubicBezTo>
                    <a:pt x="1183523" y="1362224"/>
                    <a:pt x="1178930" y="1363129"/>
                    <a:pt x="1174797" y="1364334"/>
                  </a:cubicBezTo>
                  <a:lnTo>
                    <a:pt x="1154130" y="1358004"/>
                  </a:lnTo>
                  <a:cubicBezTo>
                    <a:pt x="1148619" y="1362224"/>
                    <a:pt x="1143567" y="1366444"/>
                    <a:pt x="1138056" y="1370665"/>
                  </a:cubicBezTo>
                  <a:cubicBezTo>
                    <a:pt x="1127952" y="1371569"/>
                    <a:pt x="1118307" y="1372775"/>
                    <a:pt x="1108204" y="1373679"/>
                  </a:cubicBezTo>
                  <a:lnTo>
                    <a:pt x="1087537" y="1361018"/>
                  </a:lnTo>
                  <a:lnTo>
                    <a:pt x="1065033" y="1361018"/>
                  </a:lnTo>
                  <a:cubicBezTo>
                    <a:pt x="1063655" y="1364334"/>
                    <a:pt x="1061818" y="1367349"/>
                    <a:pt x="1060440" y="1370665"/>
                  </a:cubicBezTo>
                  <a:cubicBezTo>
                    <a:pt x="1054929" y="1371569"/>
                    <a:pt x="1049877" y="1372775"/>
                    <a:pt x="1044366" y="1373679"/>
                  </a:cubicBezTo>
                  <a:cubicBezTo>
                    <a:pt x="1037477" y="1369459"/>
                    <a:pt x="1031047" y="1365239"/>
                    <a:pt x="1024158" y="1361018"/>
                  </a:cubicBezTo>
                  <a:lnTo>
                    <a:pt x="998440" y="1361018"/>
                  </a:lnTo>
                  <a:cubicBezTo>
                    <a:pt x="993847" y="1353181"/>
                    <a:pt x="988795" y="1345042"/>
                    <a:pt x="984202" y="1337204"/>
                  </a:cubicBezTo>
                  <a:cubicBezTo>
                    <a:pt x="979150" y="1332080"/>
                    <a:pt x="973639" y="1326654"/>
                    <a:pt x="968587" y="1321529"/>
                  </a:cubicBezTo>
                  <a:cubicBezTo>
                    <a:pt x="972721" y="1315802"/>
                    <a:pt x="976854" y="1309773"/>
                    <a:pt x="980987" y="1304046"/>
                  </a:cubicBezTo>
                  <a:lnTo>
                    <a:pt x="965373" y="1291084"/>
                  </a:lnTo>
                  <a:cubicBezTo>
                    <a:pt x="973180" y="1282040"/>
                    <a:pt x="980987" y="1273298"/>
                    <a:pt x="988795" y="1264255"/>
                  </a:cubicBezTo>
                  <a:lnTo>
                    <a:pt x="1024158" y="1264255"/>
                  </a:lnTo>
                  <a:cubicBezTo>
                    <a:pt x="1026914" y="1257925"/>
                    <a:pt x="1029210" y="1251594"/>
                    <a:pt x="1031966" y="1245264"/>
                  </a:cubicBezTo>
                  <a:lnTo>
                    <a:pt x="1074677" y="1245264"/>
                  </a:lnTo>
                  <a:cubicBezTo>
                    <a:pt x="1083863" y="1240441"/>
                    <a:pt x="1092589" y="1235618"/>
                    <a:pt x="1101774" y="1230795"/>
                  </a:cubicBezTo>
                  <a:lnTo>
                    <a:pt x="1130248" y="1224464"/>
                  </a:lnTo>
                  <a:lnTo>
                    <a:pt x="1166989" y="1224464"/>
                  </a:lnTo>
                  <a:cubicBezTo>
                    <a:pt x="1178930" y="1230795"/>
                    <a:pt x="1191330" y="1237125"/>
                    <a:pt x="1203271" y="1243455"/>
                  </a:cubicBezTo>
                  <a:cubicBezTo>
                    <a:pt x="1213375" y="1244963"/>
                    <a:pt x="1223479" y="1246771"/>
                    <a:pt x="1233582" y="1248279"/>
                  </a:cubicBezTo>
                  <a:cubicBezTo>
                    <a:pt x="1242768" y="1247374"/>
                    <a:pt x="1251494" y="1246168"/>
                    <a:pt x="1260679" y="1245264"/>
                  </a:cubicBezTo>
                  <a:cubicBezTo>
                    <a:pt x="1267109" y="1246168"/>
                    <a:pt x="1273079" y="1247374"/>
                    <a:pt x="1279509" y="1248279"/>
                  </a:cubicBezTo>
                  <a:cubicBezTo>
                    <a:pt x="1289613" y="1244661"/>
                    <a:pt x="1299716" y="1240742"/>
                    <a:pt x="1309820" y="1237125"/>
                  </a:cubicBezTo>
                  <a:cubicBezTo>
                    <a:pt x="1310739" y="1232905"/>
                    <a:pt x="1312117" y="1228685"/>
                    <a:pt x="1313035" y="1224464"/>
                  </a:cubicBezTo>
                  <a:cubicBezTo>
                    <a:pt x="1310739" y="1217531"/>
                    <a:pt x="1308902" y="1210900"/>
                    <a:pt x="1306605" y="1203966"/>
                  </a:cubicBezTo>
                  <a:cubicBezTo>
                    <a:pt x="1301094" y="1201856"/>
                    <a:pt x="1296042" y="1199746"/>
                    <a:pt x="1290531" y="1197636"/>
                  </a:cubicBezTo>
                  <a:cubicBezTo>
                    <a:pt x="1286857" y="1196430"/>
                    <a:pt x="1283183" y="1195526"/>
                    <a:pt x="1279509" y="1194320"/>
                  </a:cubicBezTo>
                  <a:cubicBezTo>
                    <a:pt x="1277213" y="1191004"/>
                    <a:pt x="1275375" y="1187990"/>
                    <a:pt x="1273079" y="1184674"/>
                  </a:cubicBezTo>
                  <a:lnTo>
                    <a:pt x="1243227" y="1164176"/>
                  </a:lnTo>
                  <a:lnTo>
                    <a:pt x="1214293" y="1151515"/>
                  </a:lnTo>
                  <a:cubicBezTo>
                    <a:pt x="1208323" y="1146089"/>
                    <a:pt x="1202812" y="1140965"/>
                    <a:pt x="1196841" y="1135539"/>
                  </a:cubicBezTo>
                  <a:cubicBezTo>
                    <a:pt x="1201434" y="1134031"/>
                    <a:pt x="1206486" y="1132223"/>
                    <a:pt x="1211079" y="1130715"/>
                  </a:cubicBezTo>
                  <a:cubicBezTo>
                    <a:pt x="1218427" y="1123481"/>
                    <a:pt x="1226234" y="1115945"/>
                    <a:pt x="1233582" y="1108710"/>
                  </a:cubicBezTo>
                  <a:cubicBezTo>
                    <a:pt x="1229449" y="1105394"/>
                    <a:pt x="1224856" y="1102380"/>
                    <a:pt x="1220723" y="1099064"/>
                  </a:cubicBezTo>
                  <a:cubicBezTo>
                    <a:pt x="1230827" y="1094241"/>
                    <a:pt x="1240931" y="1089719"/>
                    <a:pt x="1251035" y="1084896"/>
                  </a:cubicBezTo>
                  <a:lnTo>
                    <a:pt x="1251035" y="1081580"/>
                  </a:lnTo>
                  <a:cubicBezTo>
                    <a:pt x="1245064" y="1082786"/>
                    <a:pt x="1239553" y="1083690"/>
                    <a:pt x="1233582" y="1084896"/>
                  </a:cubicBezTo>
                  <a:cubicBezTo>
                    <a:pt x="1226234" y="1085800"/>
                    <a:pt x="1218427" y="1087006"/>
                    <a:pt x="1211079" y="1087910"/>
                  </a:cubicBezTo>
                  <a:cubicBezTo>
                    <a:pt x="1207404" y="1090623"/>
                    <a:pt x="1203730" y="1093035"/>
                    <a:pt x="1200056" y="1095748"/>
                  </a:cubicBezTo>
                  <a:lnTo>
                    <a:pt x="1178012" y="1095748"/>
                  </a:lnTo>
                  <a:lnTo>
                    <a:pt x="1160560" y="1105394"/>
                  </a:lnTo>
                  <a:lnTo>
                    <a:pt x="1160560" y="1127701"/>
                  </a:lnTo>
                  <a:cubicBezTo>
                    <a:pt x="1165152" y="1128605"/>
                    <a:pt x="1170204" y="1129811"/>
                    <a:pt x="1174797" y="1130715"/>
                  </a:cubicBezTo>
                  <a:lnTo>
                    <a:pt x="1193627" y="1130715"/>
                  </a:lnTo>
                  <a:cubicBezTo>
                    <a:pt x="1192708" y="1133428"/>
                    <a:pt x="1191330" y="1136141"/>
                    <a:pt x="1190412" y="1138854"/>
                  </a:cubicBezTo>
                  <a:cubicBezTo>
                    <a:pt x="1182604" y="1139759"/>
                    <a:pt x="1174797" y="1140965"/>
                    <a:pt x="1166989" y="1141869"/>
                  </a:cubicBezTo>
                  <a:lnTo>
                    <a:pt x="1136678" y="1160860"/>
                  </a:lnTo>
                  <a:cubicBezTo>
                    <a:pt x="1132544" y="1158750"/>
                    <a:pt x="1127952" y="1156640"/>
                    <a:pt x="1123818" y="1154530"/>
                  </a:cubicBezTo>
                  <a:cubicBezTo>
                    <a:pt x="1126115" y="1149405"/>
                    <a:pt x="1127952" y="1143979"/>
                    <a:pt x="1130248" y="1138854"/>
                  </a:cubicBezTo>
                  <a:lnTo>
                    <a:pt x="1104989" y="1132524"/>
                  </a:lnTo>
                  <a:cubicBezTo>
                    <a:pt x="1107285" y="1131017"/>
                    <a:pt x="1109122" y="1129208"/>
                    <a:pt x="1111418" y="1127701"/>
                  </a:cubicBezTo>
                  <a:cubicBezTo>
                    <a:pt x="1117848" y="1125591"/>
                    <a:pt x="1123818" y="1123481"/>
                    <a:pt x="1130248" y="1121371"/>
                  </a:cubicBezTo>
                  <a:cubicBezTo>
                    <a:pt x="1127952" y="1118055"/>
                    <a:pt x="1126115" y="1115040"/>
                    <a:pt x="1123818" y="1111725"/>
                  </a:cubicBezTo>
                  <a:lnTo>
                    <a:pt x="1087537" y="1105394"/>
                  </a:lnTo>
                  <a:lnTo>
                    <a:pt x="1087537" y="1095748"/>
                  </a:lnTo>
                  <a:cubicBezTo>
                    <a:pt x="1081107" y="1096954"/>
                    <a:pt x="1074677" y="1097858"/>
                    <a:pt x="1068248" y="1099064"/>
                  </a:cubicBezTo>
                  <a:cubicBezTo>
                    <a:pt x="1065492" y="1104490"/>
                    <a:pt x="1063196" y="1109614"/>
                    <a:pt x="1060440" y="1115040"/>
                  </a:cubicBezTo>
                  <a:cubicBezTo>
                    <a:pt x="1054010" y="1121974"/>
                    <a:pt x="1048040" y="1128605"/>
                    <a:pt x="1041610" y="1135539"/>
                  </a:cubicBezTo>
                  <a:cubicBezTo>
                    <a:pt x="1042529" y="1136744"/>
                    <a:pt x="1043447" y="1137649"/>
                    <a:pt x="1044366" y="1138854"/>
                  </a:cubicBezTo>
                  <a:lnTo>
                    <a:pt x="1031966" y="1145185"/>
                  </a:lnTo>
                  <a:cubicBezTo>
                    <a:pt x="1029210" y="1143979"/>
                    <a:pt x="1026914" y="1143075"/>
                    <a:pt x="1024158" y="1141869"/>
                  </a:cubicBezTo>
                  <a:cubicBezTo>
                    <a:pt x="1023240" y="1153927"/>
                    <a:pt x="1021862" y="1166286"/>
                    <a:pt x="1020943" y="1178344"/>
                  </a:cubicBezTo>
                  <a:cubicBezTo>
                    <a:pt x="1016810" y="1181659"/>
                    <a:pt x="1012217" y="1184674"/>
                    <a:pt x="1008084" y="1187990"/>
                  </a:cubicBezTo>
                  <a:lnTo>
                    <a:pt x="998440" y="1206981"/>
                  </a:lnTo>
                  <a:cubicBezTo>
                    <a:pt x="1001654" y="1212708"/>
                    <a:pt x="1004869" y="1218737"/>
                    <a:pt x="1008084" y="1224464"/>
                  </a:cubicBezTo>
                  <a:lnTo>
                    <a:pt x="1008084" y="1234111"/>
                  </a:lnTo>
                  <a:cubicBezTo>
                    <a:pt x="1014054" y="1237125"/>
                    <a:pt x="1019566" y="1240441"/>
                    <a:pt x="1025536" y="1243455"/>
                  </a:cubicBezTo>
                  <a:lnTo>
                    <a:pt x="1024158" y="1245264"/>
                  </a:lnTo>
                  <a:cubicBezTo>
                    <a:pt x="1015432" y="1246168"/>
                    <a:pt x="1007166" y="1247374"/>
                    <a:pt x="998440" y="1248279"/>
                  </a:cubicBezTo>
                  <a:cubicBezTo>
                    <a:pt x="994306" y="1251594"/>
                    <a:pt x="990173" y="1254609"/>
                    <a:pt x="986039" y="1257925"/>
                  </a:cubicBezTo>
                  <a:cubicBezTo>
                    <a:pt x="980069" y="1262145"/>
                    <a:pt x="974558" y="1266365"/>
                    <a:pt x="968587" y="1270585"/>
                  </a:cubicBezTo>
                  <a:cubicBezTo>
                    <a:pt x="966291" y="1267269"/>
                    <a:pt x="964454" y="1264255"/>
                    <a:pt x="962158" y="1260939"/>
                  </a:cubicBezTo>
                  <a:lnTo>
                    <a:pt x="962158" y="1254609"/>
                  </a:lnTo>
                  <a:cubicBezTo>
                    <a:pt x="958024" y="1253705"/>
                    <a:pt x="953432" y="1252499"/>
                    <a:pt x="949298" y="1251594"/>
                  </a:cubicBezTo>
                  <a:cubicBezTo>
                    <a:pt x="945624" y="1250389"/>
                    <a:pt x="941950" y="1249484"/>
                    <a:pt x="938276" y="1248279"/>
                  </a:cubicBezTo>
                  <a:lnTo>
                    <a:pt x="911179" y="1257925"/>
                  </a:lnTo>
                  <a:cubicBezTo>
                    <a:pt x="915772" y="1263351"/>
                    <a:pt x="920824" y="1268475"/>
                    <a:pt x="925417" y="1273901"/>
                  </a:cubicBezTo>
                  <a:cubicBezTo>
                    <a:pt x="922202" y="1274806"/>
                    <a:pt x="918987" y="1276011"/>
                    <a:pt x="915772" y="1276916"/>
                  </a:cubicBezTo>
                  <a:lnTo>
                    <a:pt x="904750" y="1276916"/>
                  </a:lnTo>
                  <a:lnTo>
                    <a:pt x="892350" y="1264255"/>
                  </a:lnTo>
                  <a:cubicBezTo>
                    <a:pt x="890053" y="1265159"/>
                    <a:pt x="888216" y="1266365"/>
                    <a:pt x="885920" y="1267269"/>
                  </a:cubicBezTo>
                  <a:cubicBezTo>
                    <a:pt x="888216" y="1272997"/>
                    <a:pt x="890053" y="1279026"/>
                    <a:pt x="892350" y="1284753"/>
                  </a:cubicBezTo>
                  <a:cubicBezTo>
                    <a:pt x="896483" y="1288973"/>
                    <a:pt x="900616" y="1293495"/>
                    <a:pt x="904750" y="1297715"/>
                  </a:cubicBezTo>
                  <a:cubicBezTo>
                    <a:pt x="901535" y="1299825"/>
                    <a:pt x="898779" y="1301936"/>
                    <a:pt x="895564" y="1304046"/>
                  </a:cubicBezTo>
                  <a:cubicBezTo>
                    <a:pt x="899698" y="1307060"/>
                    <a:pt x="903831" y="1310376"/>
                    <a:pt x="907965" y="1313390"/>
                  </a:cubicBezTo>
                  <a:lnTo>
                    <a:pt x="918987" y="1321529"/>
                  </a:lnTo>
                  <a:lnTo>
                    <a:pt x="918987" y="1337204"/>
                  </a:lnTo>
                  <a:lnTo>
                    <a:pt x="898320" y="1330874"/>
                  </a:lnTo>
                  <a:cubicBezTo>
                    <a:pt x="900616" y="1335094"/>
                    <a:pt x="902453" y="1339315"/>
                    <a:pt x="904750" y="1343535"/>
                  </a:cubicBezTo>
                  <a:cubicBezTo>
                    <a:pt x="900616" y="1344741"/>
                    <a:pt x="896483" y="1345645"/>
                    <a:pt x="892350" y="1346851"/>
                  </a:cubicBezTo>
                  <a:cubicBezTo>
                    <a:pt x="895564" y="1352578"/>
                    <a:pt x="898320" y="1358607"/>
                    <a:pt x="901535" y="1364334"/>
                  </a:cubicBezTo>
                  <a:lnTo>
                    <a:pt x="885920" y="1364334"/>
                  </a:lnTo>
                  <a:lnTo>
                    <a:pt x="865253" y="1356195"/>
                  </a:lnTo>
                  <a:cubicBezTo>
                    <a:pt x="862957" y="1349865"/>
                    <a:pt x="861120" y="1343535"/>
                    <a:pt x="858823" y="1337204"/>
                  </a:cubicBezTo>
                  <a:cubicBezTo>
                    <a:pt x="857905" y="1331477"/>
                    <a:pt x="856527" y="1325448"/>
                    <a:pt x="855608" y="1319721"/>
                  </a:cubicBezTo>
                  <a:cubicBezTo>
                    <a:pt x="851475" y="1315500"/>
                    <a:pt x="846882" y="1311280"/>
                    <a:pt x="842749" y="1307060"/>
                  </a:cubicBezTo>
                  <a:cubicBezTo>
                    <a:pt x="839994" y="1301634"/>
                    <a:pt x="837697" y="1296510"/>
                    <a:pt x="834942" y="1291084"/>
                  </a:cubicBezTo>
                  <a:lnTo>
                    <a:pt x="834942" y="1284753"/>
                  </a:lnTo>
                  <a:lnTo>
                    <a:pt x="828512" y="1284753"/>
                  </a:lnTo>
                  <a:lnTo>
                    <a:pt x="828512" y="1280232"/>
                  </a:lnTo>
                  <a:cubicBezTo>
                    <a:pt x="824379" y="1276011"/>
                    <a:pt x="820245" y="1271490"/>
                    <a:pt x="816112" y="1267269"/>
                  </a:cubicBezTo>
                  <a:lnTo>
                    <a:pt x="816112" y="1257925"/>
                  </a:lnTo>
                  <a:lnTo>
                    <a:pt x="816112" y="1240441"/>
                  </a:lnTo>
                  <a:cubicBezTo>
                    <a:pt x="817030" y="1237125"/>
                    <a:pt x="818408" y="1234111"/>
                    <a:pt x="819327" y="1230795"/>
                  </a:cubicBezTo>
                  <a:cubicBezTo>
                    <a:pt x="818408" y="1229890"/>
                    <a:pt x="817030" y="1228685"/>
                    <a:pt x="816112" y="1227780"/>
                  </a:cubicBezTo>
                  <a:cubicBezTo>
                    <a:pt x="813815" y="1226575"/>
                    <a:pt x="811978" y="1225670"/>
                    <a:pt x="809682" y="1224464"/>
                  </a:cubicBezTo>
                  <a:cubicBezTo>
                    <a:pt x="807386" y="1221450"/>
                    <a:pt x="805549" y="1218134"/>
                    <a:pt x="803252" y="1215120"/>
                  </a:cubicBezTo>
                  <a:cubicBezTo>
                    <a:pt x="801875" y="1213010"/>
                    <a:pt x="800038" y="1210598"/>
                    <a:pt x="798660" y="1208488"/>
                  </a:cubicBezTo>
                  <a:cubicBezTo>
                    <a:pt x="791312" y="1205775"/>
                    <a:pt x="783504" y="1203363"/>
                    <a:pt x="776156" y="1200650"/>
                  </a:cubicBezTo>
                  <a:lnTo>
                    <a:pt x="760541" y="1191306"/>
                  </a:lnTo>
                  <a:cubicBezTo>
                    <a:pt x="753652" y="1189196"/>
                    <a:pt x="746763" y="1186784"/>
                    <a:pt x="739874" y="1184674"/>
                  </a:cubicBezTo>
                  <a:cubicBezTo>
                    <a:pt x="733904" y="1177741"/>
                    <a:pt x="728392" y="1171109"/>
                    <a:pt x="722422" y="1164176"/>
                  </a:cubicBezTo>
                  <a:lnTo>
                    <a:pt x="727015" y="1164176"/>
                  </a:lnTo>
                  <a:cubicBezTo>
                    <a:pt x="724259" y="1158750"/>
                    <a:pt x="721963" y="1153625"/>
                    <a:pt x="719207" y="1148199"/>
                  </a:cubicBezTo>
                  <a:lnTo>
                    <a:pt x="719207" y="1138854"/>
                  </a:lnTo>
                  <a:cubicBezTo>
                    <a:pt x="713696" y="1137649"/>
                    <a:pt x="708644" y="1136744"/>
                    <a:pt x="703133" y="1135539"/>
                  </a:cubicBezTo>
                  <a:cubicBezTo>
                    <a:pt x="699918" y="1139759"/>
                    <a:pt x="697163" y="1143979"/>
                    <a:pt x="693948" y="1148199"/>
                  </a:cubicBezTo>
                  <a:cubicBezTo>
                    <a:pt x="693029" y="1145185"/>
                    <a:pt x="691651" y="1141869"/>
                    <a:pt x="690733" y="1138854"/>
                  </a:cubicBezTo>
                  <a:lnTo>
                    <a:pt x="690733" y="1130715"/>
                  </a:lnTo>
                  <a:lnTo>
                    <a:pt x="690733" y="1127701"/>
                  </a:lnTo>
                  <a:lnTo>
                    <a:pt x="693948" y="1127701"/>
                  </a:lnTo>
                  <a:cubicBezTo>
                    <a:pt x="688896" y="1126495"/>
                    <a:pt x="684303" y="1125591"/>
                    <a:pt x="679251" y="1124385"/>
                  </a:cubicBezTo>
                  <a:cubicBezTo>
                    <a:pt x="672822" y="1127098"/>
                    <a:pt x="666851" y="1129811"/>
                    <a:pt x="660421" y="1132524"/>
                  </a:cubicBezTo>
                  <a:lnTo>
                    <a:pt x="660421" y="1145185"/>
                  </a:lnTo>
                  <a:cubicBezTo>
                    <a:pt x="659503" y="1148199"/>
                    <a:pt x="658125" y="1151515"/>
                    <a:pt x="657207" y="1154530"/>
                  </a:cubicBezTo>
                  <a:lnTo>
                    <a:pt x="666851" y="1167190"/>
                  </a:lnTo>
                  <a:lnTo>
                    <a:pt x="687518" y="1181659"/>
                  </a:lnTo>
                  <a:cubicBezTo>
                    <a:pt x="690733" y="1187990"/>
                    <a:pt x="693488" y="1194320"/>
                    <a:pt x="696703" y="1200650"/>
                  </a:cubicBezTo>
                  <a:cubicBezTo>
                    <a:pt x="705429" y="1208488"/>
                    <a:pt x="713696" y="1216627"/>
                    <a:pt x="722422" y="1224464"/>
                  </a:cubicBezTo>
                  <a:lnTo>
                    <a:pt x="736659" y="1224464"/>
                  </a:lnTo>
                  <a:lnTo>
                    <a:pt x="746304" y="1230795"/>
                  </a:lnTo>
                  <a:lnTo>
                    <a:pt x="736659" y="1237125"/>
                  </a:lnTo>
                  <a:lnTo>
                    <a:pt x="758704" y="1245264"/>
                  </a:lnTo>
                  <a:cubicBezTo>
                    <a:pt x="764674" y="1247374"/>
                    <a:pt x="770185" y="1249484"/>
                    <a:pt x="776156" y="1251594"/>
                  </a:cubicBezTo>
                  <a:lnTo>
                    <a:pt x="795445" y="1264255"/>
                  </a:lnTo>
                  <a:cubicBezTo>
                    <a:pt x="796363" y="1266365"/>
                    <a:pt x="797741" y="1268475"/>
                    <a:pt x="798660" y="1270585"/>
                  </a:cubicBezTo>
                  <a:cubicBezTo>
                    <a:pt x="796363" y="1274203"/>
                    <a:pt x="794526" y="1278121"/>
                    <a:pt x="792230" y="1281739"/>
                  </a:cubicBezTo>
                  <a:lnTo>
                    <a:pt x="782586" y="1267269"/>
                  </a:lnTo>
                  <a:cubicBezTo>
                    <a:pt x="774778" y="1266365"/>
                    <a:pt x="766511" y="1265159"/>
                    <a:pt x="758704" y="1264255"/>
                  </a:cubicBezTo>
                  <a:cubicBezTo>
                    <a:pt x="756408" y="1269982"/>
                    <a:pt x="754570" y="1276011"/>
                    <a:pt x="752274" y="1281739"/>
                  </a:cubicBezTo>
                  <a:cubicBezTo>
                    <a:pt x="757326" y="1284753"/>
                    <a:pt x="761919" y="1288069"/>
                    <a:pt x="766971" y="1291084"/>
                  </a:cubicBezTo>
                  <a:cubicBezTo>
                    <a:pt x="766052" y="1295304"/>
                    <a:pt x="764674" y="1299825"/>
                    <a:pt x="763756" y="1304046"/>
                  </a:cubicBezTo>
                  <a:cubicBezTo>
                    <a:pt x="761000" y="1304950"/>
                    <a:pt x="758245" y="1306156"/>
                    <a:pt x="755489" y="1307060"/>
                  </a:cubicBezTo>
                  <a:lnTo>
                    <a:pt x="743089" y="1327860"/>
                  </a:lnTo>
                  <a:cubicBezTo>
                    <a:pt x="739874" y="1328764"/>
                    <a:pt x="736659" y="1329970"/>
                    <a:pt x="733444" y="1330874"/>
                  </a:cubicBezTo>
                  <a:lnTo>
                    <a:pt x="733444" y="1327860"/>
                  </a:lnTo>
                  <a:cubicBezTo>
                    <a:pt x="734363" y="1325750"/>
                    <a:pt x="735741" y="1323639"/>
                    <a:pt x="736659" y="1321529"/>
                  </a:cubicBezTo>
                  <a:lnTo>
                    <a:pt x="736659" y="1307060"/>
                  </a:lnTo>
                  <a:cubicBezTo>
                    <a:pt x="738956" y="1306156"/>
                    <a:pt x="740793" y="1304950"/>
                    <a:pt x="743089" y="1304046"/>
                  </a:cubicBezTo>
                  <a:cubicBezTo>
                    <a:pt x="740793" y="1298620"/>
                    <a:pt x="738956" y="1293495"/>
                    <a:pt x="736659" y="1288069"/>
                  </a:cubicBezTo>
                  <a:cubicBezTo>
                    <a:pt x="733444" y="1283246"/>
                    <a:pt x="730230" y="1278724"/>
                    <a:pt x="727015" y="1273901"/>
                  </a:cubicBezTo>
                  <a:cubicBezTo>
                    <a:pt x="725637" y="1272695"/>
                    <a:pt x="723800" y="1271791"/>
                    <a:pt x="722422" y="1270585"/>
                  </a:cubicBezTo>
                  <a:cubicBezTo>
                    <a:pt x="719207" y="1267269"/>
                    <a:pt x="715992" y="1264255"/>
                    <a:pt x="712777" y="1260939"/>
                  </a:cubicBezTo>
                  <a:cubicBezTo>
                    <a:pt x="707266" y="1258829"/>
                    <a:pt x="702214" y="1256719"/>
                    <a:pt x="696703" y="1254609"/>
                  </a:cubicBezTo>
                  <a:cubicBezTo>
                    <a:pt x="693488" y="1251594"/>
                    <a:pt x="690733" y="1248279"/>
                    <a:pt x="687518" y="1245264"/>
                  </a:cubicBezTo>
                  <a:lnTo>
                    <a:pt x="673281" y="1243455"/>
                  </a:lnTo>
                  <a:cubicBezTo>
                    <a:pt x="667770" y="1239235"/>
                    <a:pt x="662718" y="1235015"/>
                    <a:pt x="657207" y="1230795"/>
                  </a:cubicBezTo>
                  <a:cubicBezTo>
                    <a:pt x="649399" y="1224464"/>
                    <a:pt x="641132" y="1218134"/>
                    <a:pt x="633325" y="1211804"/>
                  </a:cubicBezTo>
                  <a:lnTo>
                    <a:pt x="617710" y="1200650"/>
                  </a:lnTo>
                  <a:cubicBezTo>
                    <a:pt x="616791" y="1191004"/>
                    <a:pt x="615414" y="1181659"/>
                    <a:pt x="614495" y="1172013"/>
                  </a:cubicBezTo>
                  <a:cubicBezTo>
                    <a:pt x="610821" y="1170506"/>
                    <a:pt x="607147" y="1168697"/>
                    <a:pt x="603473" y="1167190"/>
                  </a:cubicBezTo>
                  <a:lnTo>
                    <a:pt x="584184" y="1160860"/>
                  </a:lnTo>
                  <a:cubicBezTo>
                    <a:pt x="580510" y="1162066"/>
                    <a:pt x="576835" y="1162970"/>
                    <a:pt x="573161" y="1164176"/>
                  </a:cubicBezTo>
                  <a:cubicBezTo>
                    <a:pt x="569028" y="1167793"/>
                    <a:pt x="564435" y="1171712"/>
                    <a:pt x="560302" y="1175329"/>
                  </a:cubicBezTo>
                  <a:cubicBezTo>
                    <a:pt x="558006" y="1176233"/>
                    <a:pt x="556169" y="1177439"/>
                    <a:pt x="553872" y="1178344"/>
                  </a:cubicBezTo>
                  <a:cubicBezTo>
                    <a:pt x="546065" y="1183770"/>
                    <a:pt x="538257" y="1188894"/>
                    <a:pt x="530450" y="1194320"/>
                  </a:cubicBezTo>
                  <a:cubicBezTo>
                    <a:pt x="517131" y="1191004"/>
                    <a:pt x="503813" y="1187990"/>
                    <a:pt x="490494" y="1184674"/>
                  </a:cubicBezTo>
                  <a:cubicBezTo>
                    <a:pt x="479472" y="1187990"/>
                    <a:pt x="468449" y="1191004"/>
                    <a:pt x="457427" y="1194320"/>
                  </a:cubicBezTo>
                  <a:cubicBezTo>
                    <a:pt x="456508" y="1199143"/>
                    <a:pt x="455131" y="1203665"/>
                    <a:pt x="454212" y="1208488"/>
                  </a:cubicBezTo>
                  <a:lnTo>
                    <a:pt x="454212" y="1227780"/>
                  </a:lnTo>
                  <a:lnTo>
                    <a:pt x="431708" y="1245264"/>
                  </a:lnTo>
                  <a:cubicBezTo>
                    <a:pt x="423901" y="1246168"/>
                    <a:pt x="415634" y="1247374"/>
                    <a:pt x="407826" y="1248279"/>
                  </a:cubicBezTo>
                  <a:cubicBezTo>
                    <a:pt x="406908" y="1251594"/>
                    <a:pt x="405530" y="1254609"/>
                    <a:pt x="404612" y="1257925"/>
                  </a:cubicBezTo>
                  <a:cubicBezTo>
                    <a:pt x="400478" y="1263351"/>
                    <a:pt x="396345" y="1268475"/>
                    <a:pt x="392211" y="1273901"/>
                  </a:cubicBezTo>
                  <a:cubicBezTo>
                    <a:pt x="389456" y="1280834"/>
                    <a:pt x="387160" y="1287466"/>
                    <a:pt x="384404" y="1294399"/>
                  </a:cubicBezTo>
                  <a:cubicBezTo>
                    <a:pt x="387160" y="1298620"/>
                    <a:pt x="389456" y="1302840"/>
                    <a:pt x="392211" y="1307060"/>
                  </a:cubicBezTo>
                  <a:cubicBezTo>
                    <a:pt x="387619" y="1311280"/>
                    <a:pt x="382567" y="1315500"/>
                    <a:pt x="377974" y="1319721"/>
                  </a:cubicBezTo>
                  <a:cubicBezTo>
                    <a:pt x="375678" y="1325448"/>
                    <a:pt x="373841" y="1331477"/>
                    <a:pt x="371545" y="1337204"/>
                  </a:cubicBezTo>
                  <a:cubicBezTo>
                    <a:pt x="366033" y="1339315"/>
                    <a:pt x="360982" y="1341425"/>
                    <a:pt x="355470" y="1343535"/>
                  </a:cubicBezTo>
                  <a:cubicBezTo>
                    <a:pt x="350878" y="1349262"/>
                    <a:pt x="345826" y="1355291"/>
                    <a:pt x="341233" y="1361018"/>
                  </a:cubicBezTo>
                  <a:lnTo>
                    <a:pt x="310922" y="1361018"/>
                  </a:lnTo>
                  <a:lnTo>
                    <a:pt x="292092" y="1361018"/>
                  </a:lnTo>
                  <a:cubicBezTo>
                    <a:pt x="286581" y="1363129"/>
                    <a:pt x="281529" y="1365239"/>
                    <a:pt x="276018" y="1367349"/>
                  </a:cubicBezTo>
                  <a:cubicBezTo>
                    <a:pt x="273262" y="1371569"/>
                    <a:pt x="270966" y="1376091"/>
                    <a:pt x="268210" y="1380311"/>
                  </a:cubicBezTo>
                  <a:cubicBezTo>
                    <a:pt x="264995" y="1379105"/>
                    <a:pt x="261781" y="1378201"/>
                    <a:pt x="258566" y="1376995"/>
                  </a:cubicBezTo>
                  <a:cubicBezTo>
                    <a:pt x="255351" y="1373679"/>
                    <a:pt x="252595" y="1370665"/>
                    <a:pt x="249380" y="1367349"/>
                  </a:cubicBezTo>
                  <a:cubicBezTo>
                    <a:pt x="247084" y="1362526"/>
                    <a:pt x="245247" y="1358004"/>
                    <a:pt x="242951" y="1353181"/>
                  </a:cubicBezTo>
                  <a:cubicBezTo>
                    <a:pt x="236980" y="1351975"/>
                    <a:pt x="231469" y="1351071"/>
                    <a:pt x="225499" y="1349865"/>
                  </a:cubicBezTo>
                  <a:lnTo>
                    <a:pt x="215854" y="1356195"/>
                  </a:lnTo>
                  <a:cubicBezTo>
                    <a:pt x="210802" y="1355291"/>
                    <a:pt x="205291" y="1354085"/>
                    <a:pt x="200239" y="1353181"/>
                  </a:cubicBezTo>
                  <a:cubicBezTo>
                    <a:pt x="197484" y="1354085"/>
                    <a:pt x="194728" y="1355291"/>
                    <a:pt x="191972" y="1356195"/>
                  </a:cubicBezTo>
                  <a:cubicBezTo>
                    <a:pt x="192891" y="1349865"/>
                    <a:pt x="194269" y="1343535"/>
                    <a:pt x="195187" y="1337204"/>
                  </a:cubicBezTo>
                  <a:cubicBezTo>
                    <a:pt x="194269" y="1332080"/>
                    <a:pt x="192891" y="1326654"/>
                    <a:pt x="191972" y="1321529"/>
                  </a:cubicBezTo>
                  <a:cubicBezTo>
                    <a:pt x="188758" y="1320926"/>
                    <a:pt x="186002" y="1320324"/>
                    <a:pt x="182787" y="1319721"/>
                  </a:cubicBezTo>
                  <a:cubicBezTo>
                    <a:pt x="181869" y="1315500"/>
                    <a:pt x="180491" y="1311280"/>
                    <a:pt x="179572" y="1307060"/>
                  </a:cubicBezTo>
                  <a:lnTo>
                    <a:pt x="179572" y="1291084"/>
                  </a:lnTo>
                  <a:cubicBezTo>
                    <a:pt x="182787" y="1288069"/>
                    <a:pt x="185543" y="1284753"/>
                    <a:pt x="188758" y="1281739"/>
                  </a:cubicBezTo>
                  <a:lnTo>
                    <a:pt x="188758" y="1270585"/>
                  </a:lnTo>
                  <a:cubicBezTo>
                    <a:pt x="191054" y="1265159"/>
                    <a:pt x="192891" y="1260035"/>
                    <a:pt x="195187" y="1254609"/>
                  </a:cubicBezTo>
                  <a:lnTo>
                    <a:pt x="195187" y="1245264"/>
                  </a:lnTo>
                  <a:cubicBezTo>
                    <a:pt x="192891" y="1242551"/>
                    <a:pt x="191054" y="1239838"/>
                    <a:pt x="188758" y="1237125"/>
                  </a:cubicBezTo>
                  <a:lnTo>
                    <a:pt x="188758" y="1227780"/>
                  </a:lnTo>
                  <a:lnTo>
                    <a:pt x="188758" y="1206981"/>
                  </a:lnTo>
                  <a:cubicBezTo>
                    <a:pt x="185543" y="1203966"/>
                    <a:pt x="182787" y="1200650"/>
                    <a:pt x="179572" y="1197636"/>
                  </a:cubicBezTo>
                  <a:lnTo>
                    <a:pt x="209424" y="1175329"/>
                  </a:lnTo>
                  <a:lnTo>
                    <a:pt x="239736" y="1181659"/>
                  </a:lnTo>
                  <a:lnTo>
                    <a:pt x="268210" y="1181659"/>
                  </a:lnTo>
                  <a:cubicBezTo>
                    <a:pt x="276018" y="1182564"/>
                    <a:pt x="284284" y="1183770"/>
                    <a:pt x="292092" y="1184674"/>
                  </a:cubicBezTo>
                  <a:lnTo>
                    <a:pt x="310922" y="1184674"/>
                  </a:lnTo>
                  <a:lnTo>
                    <a:pt x="347663" y="1184674"/>
                  </a:lnTo>
                  <a:cubicBezTo>
                    <a:pt x="350418" y="1179549"/>
                    <a:pt x="352715" y="1174123"/>
                    <a:pt x="355470" y="1168999"/>
                  </a:cubicBezTo>
                  <a:cubicBezTo>
                    <a:pt x="357767" y="1150912"/>
                    <a:pt x="359604" y="1133127"/>
                    <a:pt x="361900" y="1115040"/>
                  </a:cubicBezTo>
                  <a:cubicBezTo>
                    <a:pt x="354093" y="1105093"/>
                    <a:pt x="345826" y="1094844"/>
                    <a:pt x="338018" y="1084896"/>
                  </a:cubicBezTo>
                  <a:lnTo>
                    <a:pt x="322403" y="1071934"/>
                  </a:lnTo>
                  <a:lnTo>
                    <a:pt x="288877" y="1062589"/>
                  </a:lnTo>
                  <a:cubicBezTo>
                    <a:pt x="287959" y="1054752"/>
                    <a:pt x="286581" y="1046613"/>
                    <a:pt x="285662" y="1038775"/>
                  </a:cubicBezTo>
                  <a:cubicBezTo>
                    <a:pt x="294848" y="1037569"/>
                    <a:pt x="303574" y="1036665"/>
                    <a:pt x="312759" y="1035459"/>
                  </a:cubicBezTo>
                  <a:cubicBezTo>
                    <a:pt x="324700" y="1036665"/>
                    <a:pt x="337100" y="1037569"/>
                    <a:pt x="349041" y="1038775"/>
                  </a:cubicBezTo>
                  <a:cubicBezTo>
                    <a:pt x="348581" y="1028827"/>
                    <a:pt x="348122" y="1018578"/>
                    <a:pt x="347663" y="1008631"/>
                  </a:cubicBezTo>
                  <a:cubicBezTo>
                    <a:pt x="353633" y="1012248"/>
                    <a:pt x="359144" y="1016167"/>
                    <a:pt x="365115" y="1019784"/>
                  </a:cubicBezTo>
                  <a:lnTo>
                    <a:pt x="417471" y="998985"/>
                  </a:lnTo>
                  <a:cubicBezTo>
                    <a:pt x="420227" y="991147"/>
                    <a:pt x="422523" y="983008"/>
                    <a:pt x="425278" y="975171"/>
                  </a:cubicBezTo>
                  <a:lnTo>
                    <a:pt x="444567" y="968840"/>
                  </a:lnTo>
                  <a:cubicBezTo>
                    <a:pt x="450538" y="966730"/>
                    <a:pt x="456049" y="964620"/>
                    <a:pt x="462020" y="962510"/>
                  </a:cubicBezTo>
                  <a:lnTo>
                    <a:pt x="471664" y="956180"/>
                  </a:lnTo>
                  <a:lnTo>
                    <a:pt x="493709" y="910059"/>
                  </a:lnTo>
                  <a:lnTo>
                    <a:pt x="520805" y="902221"/>
                  </a:lnTo>
                  <a:lnTo>
                    <a:pt x="538257" y="902221"/>
                  </a:lnTo>
                  <a:cubicBezTo>
                    <a:pt x="540554" y="900111"/>
                    <a:pt x="542391" y="898001"/>
                    <a:pt x="544687" y="895891"/>
                  </a:cubicBezTo>
                  <a:cubicBezTo>
                    <a:pt x="551117" y="894685"/>
                    <a:pt x="557087" y="893781"/>
                    <a:pt x="563517" y="892575"/>
                  </a:cubicBezTo>
                  <a:cubicBezTo>
                    <a:pt x="565813" y="895891"/>
                    <a:pt x="567650" y="898905"/>
                    <a:pt x="569946" y="902221"/>
                  </a:cubicBezTo>
                  <a:cubicBezTo>
                    <a:pt x="573621" y="895891"/>
                    <a:pt x="577295" y="889259"/>
                    <a:pt x="580969" y="882929"/>
                  </a:cubicBezTo>
                  <a:cubicBezTo>
                    <a:pt x="578672" y="878709"/>
                    <a:pt x="576835" y="874488"/>
                    <a:pt x="574539" y="870268"/>
                  </a:cubicBezTo>
                  <a:lnTo>
                    <a:pt x="574539" y="856100"/>
                  </a:lnTo>
                  <a:cubicBezTo>
                    <a:pt x="573161" y="850674"/>
                    <a:pt x="571324" y="845550"/>
                    <a:pt x="569946" y="840124"/>
                  </a:cubicBezTo>
                  <a:cubicBezTo>
                    <a:pt x="569028" y="828970"/>
                    <a:pt x="567650" y="818118"/>
                    <a:pt x="566732" y="806965"/>
                  </a:cubicBezTo>
                  <a:cubicBezTo>
                    <a:pt x="569028" y="802745"/>
                    <a:pt x="570865" y="798223"/>
                    <a:pt x="573161" y="794003"/>
                  </a:cubicBezTo>
                  <a:lnTo>
                    <a:pt x="574539" y="789481"/>
                  </a:lnTo>
                  <a:cubicBezTo>
                    <a:pt x="580969" y="788275"/>
                    <a:pt x="587398" y="787371"/>
                    <a:pt x="593828" y="786165"/>
                  </a:cubicBezTo>
                  <a:cubicBezTo>
                    <a:pt x="597043" y="782849"/>
                    <a:pt x="600258" y="779835"/>
                    <a:pt x="603473" y="776519"/>
                  </a:cubicBezTo>
                  <a:cubicBezTo>
                    <a:pt x="609443" y="773505"/>
                    <a:pt x="614954" y="770189"/>
                    <a:pt x="620925" y="767174"/>
                  </a:cubicBezTo>
                  <a:lnTo>
                    <a:pt x="620925" y="786165"/>
                  </a:lnTo>
                  <a:cubicBezTo>
                    <a:pt x="618628" y="788878"/>
                    <a:pt x="616791" y="791290"/>
                    <a:pt x="614495" y="794003"/>
                  </a:cubicBezTo>
                  <a:cubicBezTo>
                    <a:pt x="615414" y="797319"/>
                    <a:pt x="616791" y="800333"/>
                    <a:pt x="617710" y="803649"/>
                  </a:cubicBezTo>
                  <a:lnTo>
                    <a:pt x="630110" y="809979"/>
                  </a:lnTo>
                  <a:cubicBezTo>
                    <a:pt x="627814" y="813295"/>
                    <a:pt x="625977" y="816310"/>
                    <a:pt x="623680" y="819626"/>
                  </a:cubicBezTo>
                  <a:cubicBezTo>
                    <a:pt x="621843" y="818420"/>
                    <a:pt x="619547" y="817515"/>
                    <a:pt x="617710" y="816310"/>
                  </a:cubicBezTo>
                  <a:cubicBezTo>
                    <a:pt x="611739" y="824147"/>
                    <a:pt x="606228" y="832286"/>
                    <a:pt x="600258" y="840124"/>
                  </a:cubicBezTo>
                  <a:cubicBezTo>
                    <a:pt x="603473" y="845550"/>
                    <a:pt x="606228" y="850674"/>
                    <a:pt x="609443" y="856100"/>
                  </a:cubicBezTo>
                  <a:lnTo>
                    <a:pt x="609443" y="865445"/>
                  </a:lnTo>
                  <a:cubicBezTo>
                    <a:pt x="616332" y="866952"/>
                    <a:pt x="623221" y="868761"/>
                    <a:pt x="630110" y="870268"/>
                  </a:cubicBezTo>
                  <a:lnTo>
                    <a:pt x="630110" y="876598"/>
                  </a:lnTo>
                  <a:lnTo>
                    <a:pt x="630110" y="882929"/>
                  </a:lnTo>
                  <a:lnTo>
                    <a:pt x="650777" y="876598"/>
                  </a:lnTo>
                  <a:cubicBezTo>
                    <a:pt x="654910" y="874488"/>
                    <a:pt x="659503" y="872378"/>
                    <a:pt x="663636" y="870268"/>
                  </a:cubicBezTo>
                  <a:lnTo>
                    <a:pt x="690733" y="879914"/>
                  </a:lnTo>
                  <a:cubicBezTo>
                    <a:pt x="692570" y="884135"/>
                    <a:pt x="694866" y="888355"/>
                    <a:pt x="696703" y="892575"/>
                  </a:cubicBezTo>
                  <a:cubicBezTo>
                    <a:pt x="703133" y="889259"/>
                    <a:pt x="709563" y="886245"/>
                    <a:pt x="715992" y="882929"/>
                  </a:cubicBezTo>
                  <a:lnTo>
                    <a:pt x="749519" y="867254"/>
                  </a:lnTo>
                  <a:cubicBezTo>
                    <a:pt x="759622" y="863636"/>
                    <a:pt x="769267" y="859718"/>
                    <a:pt x="779371" y="856100"/>
                  </a:cubicBezTo>
                  <a:lnTo>
                    <a:pt x="798660" y="862431"/>
                  </a:lnTo>
                  <a:cubicBezTo>
                    <a:pt x="799119" y="865144"/>
                    <a:pt x="799578" y="867555"/>
                    <a:pt x="800038" y="870268"/>
                  </a:cubicBezTo>
                  <a:lnTo>
                    <a:pt x="822542" y="870268"/>
                  </a:lnTo>
                  <a:cubicBezTo>
                    <a:pt x="823460" y="865445"/>
                    <a:pt x="824379" y="860923"/>
                    <a:pt x="825297" y="856100"/>
                  </a:cubicBezTo>
                  <a:cubicBezTo>
                    <a:pt x="836319" y="852784"/>
                    <a:pt x="847801" y="849770"/>
                    <a:pt x="858823" y="846454"/>
                  </a:cubicBezTo>
                  <a:cubicBezTo>
                    <a:pt x="856527" y="838617"/>
                    <a:pt x="854690" y="830478"/>
                    <a:pt x="852394" y="822640"/>
                  </a:cubicBezTo>
                  <a:lnTo>
                    <a:pt x="852394" y="797319"/>
                  </a:lnTo>
                  <a:cubicBezTo>
                    <a:pt x="856527" y="790386"/>
                    <a:pt x="861120" y="783452"/>
                    <a:pt x="865253" y="776519"/>
                  </a:cubicBezTo>
                  <a:cubicBezTo>
                    <a:pt x="872142" y="773505"/>
                    <a:pt x="879031" y="770189"/>
                    <a:pt x="885920" y="767174"/>
                  </a:cubicBezTo>
                  <a:cubicBezTo>
                    <a:pt x="892350" y="775615"/>
                    <a:pt x="898320" y="784055"/>
                    <a:pt x="904750" y="792496"/>
                  </a:cubicBezTo>
                  <a:lnTo>
                    <a:pt x="918987" y="792496"/>
                  </a:lnTo>
                  <a:cubicBezTo>
                    <a:pt x="919905" y="784055"/>
                    <a:pt x="921283" y="775615"/>
                    <a:pt x="922202" y="767174"/>
                  </a:cubicBezTo>
                  <a:cubicBezTo>
                    <a:pt x="923120" y="761447"/>
                    <a:pt x="924498" y="755418"/>
                    <a:pt x="925417" y="749691"/>
                  </a:cubicBezTo>
                  <a:lnTo>
                    <a:pt x="918987" y="749691"/>
                  </a:lnTo>
                  <a:cubicBezTo>
                    <a:pt x="914394" y="746375"/>
                    <a:pt x="909342" y="743360"/>
                    <a:pt x="904750" y="740044"/>
                  </a:cubicBezTo>
                  <a:lnTo>
                    <a:pt x="904750" y="721053"/>
                  </a:lnTo>
                  <a:cubicBezTo>
                    <a:pt x="913935" y="717436"/>
                    <a:pt x="922661" y="713517"/>
                    <a:pt x="931846" y="709900"/>
                  </a:cubicBezTo>
                  <a:lnTo>
                    <a:pt x="958943" y="709900"/>
                  </a:lnTo>
                  <a:cubicBezTo>
                    <a:pt x="967210" y="711106"/>
                    <a:pt x="975936" y="712010"/>
                    <a:pt x="984202" y="713216"/>
                  </a:cubicBezTo>
                  <a:cubicBezTo>
                    <a:pt x="992010" y="712010"/>
                    <a:pt x="1000277" y="711106"/>
                    <a:pt x="1008084" y="709900"/>
                  </a:cubicBezTo>
                  <a:lnTo>
                    <a:pt x="1028751" y="690909"/>
                  </a:lnTo>
                  <a:lnTo>
                    <a:pt x="1008084" y="676440"/>
                  </a:lnTo>
                  <a:lnTo>
                    <a:pt x="965373" y="678248"/>
                  </a:lnTo>
                  <a:lnTo>
                    <a:pt x="928631" y="690909"/>
                  </a:lnTo>
                  <a:lnTo>
                    <a:pt x="892350" y="700254"/>
                  </a:lnTo>
                  <a:cubicBezTo>
                    <a:pt x="888216" y="693924"/>
                    <a:pt x="883624" y="687593"/>
                    <a:pt x="879490" y="681263"/>
                  </a:cubicBezTo>
                  <a:cubicBezTo>
                    <a:pt x="872601" y="678550"/>
                    <a:pt x="865712" y="676138"/>
                    <a:pt x="858823" y="673425"/>
                  </a:cubicBezTo>
                  <a:cubicBezTo>
                    <a:pt x="859742" y="661368"/>
                    <a:pt x="861120" y="649008"/>
                    <a:pt x="862038" y="636951"/>
                  </a:cubicBezTo>
                  <a:cubicBezTo>
                    <a:pt x="858823" y="627304"/>
                    <a:pt x="855608" y="617960"/>
                    <a:pt x="852394" y="608314"/>
                  </a:cubicBezTo>
                  <a:cubicBezTo>
                    <a:pt x="855608" y="600476"/>
                    <a:pt x="858823" y="592337"/>
                    <a:pt x="862038" y="584499"/>
                  </a:cubicBezTo>
                  <a:cubicBezTo>
                    <a:pt x="869846" y="578169"/>
                    <a:pt x="878112" y="571839"/>
                    <a:pt x="885920" y="565509"/>
                  </a:cubicBezTo>
                  <a:lnTo>
                    <a:pt x="935061" y="524211"/>
                  </a:lnTo>
                  <a:cubicBezTo>
                    <a:pt x="939194" y="522101"/>
                    <a:pt x="943787" y="519991"/>
                    <a:pt x="947921" y="517880"/>
                  </a:cubicBezTo>
                  <a:lnTo>
                    <a:pt x="947921" y="504918"/>
                  </a:lnTo>
                  <a:cubicBezTo>
                    <a:pt x="937357" y="497985"/>
                    <a:pt x="926335" y="491353"/>
                    <a:pt x="915772" y="484420"/>
                  </a:cubicBezTo>
                  <a:lnTo>
                    <a:pt x="879490" y="495574"/>
                  </a:lnTo>
                  <a:cubicBezTo>
                    <a:pt x="872601" y="505220"/>
                    <a:pt x="865712" y="514565"/>
                    <a:pt x="858823" y="524211"/>
                  </a:cubicBezTo>
                  <a:lnTo>
                    <a:pt x="858823" y="544709"/>
                  </a:lnTo>
                  <a:lnTo>
                    <a:pt x="825297" y="568523"/>
                  </a:lnTo>
                  <a:cubicBezTo>
                    <a:pt x="811060" y="580279"/>
                    <a:pt x="796823" y="591734"/>
                    <a:pt x="782586" y="603490"/>
                  </a:cubicBezTo>
                  <a:cubicBezTo>
                    <a:pt x="776156" y="618261"/>
                    <a:pt x="770185" y="633333"/>
                    <a:pt x="763756" y="648104"/>
                  </a:cubicBezTo>
                  <a:cubicBezTo>
                    <a:pt x="770185" y="657449"/>
                    <a:pt x="776156" y="667095"/>
                    <a:pt x="782586" y="676440"/>
                  </a:cubicBezTo>
                  <a:cubicBezTo>
                    <a:pt x="788556" y="681263"/>
                    <a:pt x="794067" y="686086"/>
                    <a:pt x="800038" y="690909"/>
                  </a:cubicBezTo>
                  <a:cubicBezTo>
                    <a:pt x="794067" y="704173"/>
                    <a:pt x="788556" y="717436"/>
                    <a:pt x="782586" y="730700"/>
                  </a:cubicBezTo>
                  <a:cubicBezTo>
                    <a:pt x="774778" y="731604"/>
                    <a:pt x="766511" y="732810"/>
                    <a:pt x="758704" y="733714"/>
                  </a:cubicBezTo>
                  <a:cubicBezTo>
                    <a:pt x="756408" y="753308"/>
                    <a:pt x="754570" y="772902"/>
                    <a:pt x="752274" y="792496"/>
                  </a:cubicBezTo>
                  <a:cubicBezTo>
                    <a:pt x="747222" y="801539"/>
                    <a:pt x="741711" y="810582"/>
                    <a:pt x="736659" y="819626"/>
                  </a:cubicBezTo>
                  <a:cubicBezTo>
                    <a:pt x="728852" y="818420"/>
                    <a:pt x="720585" y="817515"/>
                    <a:pt x="712777" y="816310"/>
                  </a:cubicBezTo>
                  <a:cubicBezTo>
                    <a:pt x="707266" y="824147"/>
                    <a:pt x="702214" y="832286"/>
                    <a:pt x="696703" y="840124"/>
                  </a:cubicBezTo>
                  <a:lnTo>
                    <a:pt x="676496" y="840124"/>
                  </a:lnTo>
                  <a:cubicBezTo>
                    <a:pt x="673281" y="830176"/>
                    <a:pt x="670066" y="819927"/>
                    <a:pt x="666851" y="809979"/>
                  </a:cubicBezTo>
                  <a:lnTo>
                    <a:pt x="647562" y="776519"/>
                  </a:lnTo>
                  <a:cubicBezTo>
                    <a:pt x="642969" y="762351"/>
                    <a:pt x="637918" y="747882"/>
                    <a:pt x="633325" y="733714"/>
                  </a:cubicBezTo>
                  <a:cubicBezTo>
                    <a:pt x="628273" y="725877"/>
                    <a:pt x="622762" y="717738"/>
                    <a:pt x="617710" y="709900"/>
                  </a:cubicBezTo>
                  <a:cubicBezTo>
                    <a:pt x="603013" y="723164"/>
                    <a:pt x="587858" y="736427"/>
                    <a:pt x="573161" y="749691"/>
                  </a:cubicBezTo>
                  <a:cubicBezTo>
                    <a:pt x="563517" y="751198"/>
                    <a:pt x="554332" y="753007"/>
                    <a:pt x="544687" y="754514"/>
                  </a:cubicBezTo>
                  <a:lnTo>
                    <a:pt x="511161" y="740044"/>
                  </a:lnTo>
                  <a:cubicBezTo>
                    <a:pt x="508864" y="728891"/>
                    <a:pt x="507027" y="718039"/>
                    <a:pt x="504731" y="706886"/>
                  </a:cubicBezTo>
                  <a:cubicBezTo>
                    <a:pt x="501975" y="681564"/>
                    <a:pt x="499679" y="655942"/>
                    <a:pt x="496924" y="630620"/>
                  </a:cubicBezTo>
                  <a:cubicBezTo>
                    <a:pt x="503813" y="622180"/>
                    <a:pt x="510701" y="613438"/>
                    <a:pt x="517590" y="604998"/>
                  </a:cubicBezTo>
                  <a:cubicBezTo>
                    <a:pt x="536420" y="595954"/>
                    <a:pt x="555709" y="587212"/>
                    <a:pt x="574539" y="578169"/>
                  </a:cubicBezTo>
                  <a:cubicBezTo>
                    <a:pt x="590154" y="566111"/>
                    <a:pt x="605310" y="553752"/>
                    <a:pt x="620925" y="541694"/>
                  </a:cubicBezTo>
                  <a:cubicBezTo>
                    <a:pt x="634243" y="524814"/>
                    <a:pt x="647103" y="507631"/>
                    <a:pt x="660421" y="490750"/>
                  </a:cubicBezTo>
                  <a:cubicBezTo>
                    <a:pt x="678792" y="466936"/>
                    <a:pt x="697622" y="443122"/>
                    <a:pt x="715992" y="419308"/>
                  </a:cubicBezTo>
                  <a:lnTo>
                    <a:pt x="752274" y="389164"/>
                  </a:lnTo>
                  <a:lnTo>
                    <a:pt x="812897" y="343043"/>
                  </a:lnTo>
                  <a:cubicBezTo>
                    <a:pt x="828053" y="336110"/>
                    <a:pt x="843668" y="329478"/>
                    <a:pt x="858823" y="322545"/>
                  </a:cubicBezTo>
                  <a:cubicBezTo>
                    <a:pt x="872142" y="323449"/>
                    <a:pt x="885001" y="324655"/>
                    <a:pt x="898320" y="325559"/>
                  </a:cubicBezTo>
                  <a:cubicBezTo>
                    <a:pt x="908424" y="315612"/>
                    <a:pt x="918528" y="305363"/>
                    <a:pt x="928631" y="295415"/>
                  </a:cubicBezTo>
                  <a:lnTo>
                    <a:pt x="968587" y="295415"/>
                  </a:lnTo>
                  <a:lnTo>
                    <a:pt x="1008084" y="285769"/>
                  </a:lnTo>
                  <a:cubicBezTo>
                    <a:pt x="1031506" y="295716"/>
                    <a:pt x="1054470" y="305965"/>
                    <a:pt x="1077892" y="315913"/>
                  </a:cubicBezTo>
                  <a:lnTo>
                    <a:pt x="1050796" y="325559"/>
                  </a:lnTo>
                  <a:cubicBezTo>
                    <a:pt x="1058603" y="334603"/>
                    <a:pt x="1066870" y="343646"/>
                    <a:pt x="1074677" y="352689"/>
                  </a:cubicBezTo>
                  <a:cubicBezTo>
                    <a:pt x="1082025" y="347866"/>
                    <a:pt x="1089833" y="343043"/>
                    <a:pt x="1097181" y="338220"/>
                  </a:cubicBezTo>
                  <a:cubicBezTo>
                    <a:pt x="1109122" y="345153"/>
                    <a:pt x="1121522" y="352086"/>
                    <a:pt x="1133463" y="359020"/>
                  </a:cubicBezTo>
                  <a:lnTo>
                    <a:pt x="1193627" y="371680"/>
                  </a:lnTo>
                  <a:lnTo>
                    <a:pt x="1279509" y="414485"/>
                  </a:lnTo>
                  <a:cubicBezTo>
                    <a:pt x="1285479" y="420213"/>
                    <a:pt x="1290990" y="426242"/>
                    <a:pt x="1296961" y="431969"/>
                  </a:cubicBezTo>
                  <a:lnTo>
                    <a:pt x="1296961" y="455783"/>
                  </a:lnTo>
                  <a:cubicBezTo>
                    <a:pt x="1289153" y="463319"/>
                    <a:pt x="1280887" y="470554"/>
                    <a:pt x="1273079" y="478090"/>
                  </a:cubicBezTo>
                  <a:lnTo>
                    <a:pt x="1233582" y="484420"/>
                  </a:lnTo>
                  <a:lnTo>
                    <a:pt x="1136678" y="459099"/>
                  </a:lnTo>
                  <a:cubicBezTo>
                    <a:pt x="1131167" y="460003"/>
                    <a:pt x="1126115" y="461209"/>
                    <a:pt x="1120604" y="462113"/>
                  </a:cubicBezTo>
                  <a:lnTo>
                    <a:pt x="1157345" y="490750"/>
                  </a:lnTo>
                  <a:lnTo>
                    <a:pt x="1157345" y="508234"/>
                  </a:lnTo>
                  <a:cubicBezTo>
                    <a:pt x="1158263" y="520292"/>
                    <a:pt x="1159641" y="532651"/>
                    <a:pt x="1160560" y="544709"/>
                  </a:cubicBezTo>
                  <a:lnTo>
                    <a:pt x="1190412" y="554355"/>
                  </a:lnTo>
                  <a:cubicBezTo>
                    <a:pt x="1195923" y="557370"/>
                    <a:pt x="1200975" y="560685"/>
                    <a:pt x="1206486" y="563700"/>
                  </a:cubicBezTo>
                  <a:cubicBezTo>
                    <a:pt x="1207404" y="557370"/>
                    <a:pt x="1208782" y="551039"/>
                    <a:pt x="1209701" y="544709"/>
                  </a:cubicBezTo>
                  <a:cubicBezTo>
                    <a:pt x="1204190" y="539283"/>
                    <a:pt x="1199138" y="534158"/>
                    <a:pt x="1193627" y="528732"/>
                  </a:cubicBezTo>
                  <a:cubicBezTo>
                    <a:pt x="1199138" y="525115"/>
                    <a:pt x="1204190" y="521498"/>
                    <a:pt x="1209701" y="517880"/>
                  </a:cubicBezTo>
                  <a:lnTo>
                    <a:pt x="1263435" y="538379"/>
                  </a:lnTo>
                  <a:cubicBezTo>
                    <a:pt x="1269864" y="535063"/>
                    <a:pt x="1276294" y="532048"/>
                    <a:pt x="1282724" y="528732"/>
                  </a:cubicBezTo>
                  <a:cubicBezTo>
                    <a:pt x="1277213" y="520895"/>
                    <a:pt x="1272161" y="512756"/>
                    <a:pt x="1266649" y="504918"/>
                  </a:cubicBezTo>
                  <a:lnTo>
                    <a:pt x="1319006" y="468444"/>
                  </a:lnTo>
                  <a:lnTo>
                    <a:pt x="1339672" y="468444"/>
                  </a:lnTo>
                  <a:cubicBezTo>
                    <a:pt x="1347021" y="472664"/>
                    <a:pt x="1354828" y="476884"/>
                    <a:pt x="1362176" y="481104"/>
                  </a:cubicBezTo>
                  <a:cubicBezTo>
                    <a:pt x="1365850" y="473870"/>
                    <a:pt x="1369525" y="466334"/>
                    <a:pt x="1373199" y="459099"/>
                  </a:cubicBezTo>
                  <a:cubicBezTo>
                    <a:pt x="1367228" y="451261"/>
                    <a:pt x="1361717" y="443122"/>
                    <a:pt x="1355747" y="435285"/>
                  </a:cubicBezTo>
                  <a:lnTo>
                    <a:pt x="1366769" y="414485"/>
                  </a:lnTo>
                  <a:cubicBezTo>
                    <a:pt x="1360799" y="406045"/>
                    <a:pt x="1355287" y="397604"/>
                    <a:pt x="1349317" y="389164"/>
                  </a:cubicBezTo>
                  <a:lnTo>
                    <a:pt x="1409480" y="405140"/>
                  </a:lnTo>
                  <a:cubicBezTo>
                    <a:pt x="1414992" y="410868"/>
                    <a:pt x="1420044" y="416595"/>
                    <a:pt x="1425555" y="422323"/>
                  </a:cubicBezTo>
                  <a:cubicBezTo>
                    <a:pt x="1415451" y="423529"/>
                    <a:pt x="1405347" y="424433"/>
                    <a:pt x="1395243" y="425639"/>
                  </a:cubicBezTo>
                  <a:lnTo>
                    <a:pt x="1395243" y="450960"/>
                  </a:lnTo>
                  <a:cubicBezTo>
                    <a:pt x="1401214" y="454577"/>
                    <a:pt x="1406725" y="458496"/>
                    <a:pt x="1412695" y="462113"/>
                  </a:cubicBezTo>
                  <a:lnTo>
                    <a:pt x="1446222" y="452769"/>
                  </a:lnTo>
                  <a:cubicBezTo>
                    <a:pt x="1448518" y="444931"/>
                    <a:pt x="1450355" y="436792"/>
                    <a:pt x="1452651" y="428955"/>
                  </a:cubicBezTo>
                  <a:lnTo>
                    <a:pt x="1498578" y="411471"/>
                  </a:lnTo>
                  <a:lnTo>
                    <a:pt x="1574815" y="379518"/>
                  </a:lnTo>
                  <a:cubicBezTo>
                    <a:pt x="1580786" y="380724"/>
                    <a:pt x="1586297" y="381628"/>
                    <a:pt x="1592267" y="382834"/>
                  </a:cubicBezTo>
                  <a:cubicBezTo>
                    <a:pt x="1585378" y="390370"/>
                    <a:pt x="1578490" y="397604"/>
                    <a:pt x="1571601" y="405140"/>
                  </a:cubicBezTo>
                  <a:cubicBezTo>
                    <a:pt x="1580786" y="406045"/>
                    <a:pt x="1589512" y="407251"/>
                    <a:pt x="1598697" y="408155"/>
                  </a:cubicBezTo>
                  <a:cubicBezTo>
                    <a:pt x="1603749" y="403935"/>
                    <a:pt x="1609260" y="399714"/>
                    <a:pt x="1614312" y="395494"/>
                  </a:cubicBezTo>
                  <a:cubicBezTo>
                    <a:pt x="1628549" y="394288"/>
                    <a:pt x="1643246" y="393384"/>
                    <a:pt x="1657483" y="392178"/>
                  </a:cubicBezTo>
                  <a:cubicBezTo>
                    <a:pt x="1667587" y="387054"/>
                    <a:pt x="1677231" y="381628"/>
                    <a:pt x="1687335" y="376503"/>
                  </a:cubicBezTo>
                  <a:cubicBezTo>
                    <a:pt x="1696520" y="384944"/>
                    <a:pt x="1705246" y="393384"/>
                    <a:pt x="1714432" y="401825"/>
                  </a:cubicBezTo>
                  <a:cubicBezTo>
                    <a:pt x="1722239" y="393384"/>
                    <a:pt x="1730506" y="384944"/>
                    <a:pt x="1738313" y="376503"/>
                  </a:cubicBezTo>
                  <a:cubicBezTo>
                    <a:pt x="1731424" y="368666"/>
                    <a:pt x="1724535" y="360527"/>
                    <a:pt x="1717646" y="352689"/>
                  </a:cubicBezTo>
                  <a:lnTo>
                    <a:pt x="1727291" y="340029"/>
                  </a:lnTo>
                  <a:lnTo>
                    <a:pt x="1793884" y="352689"/>
                  </a:lnTo>
                  <a:cubicBezTo>
                    <a:pt x="1803988" y="355704"/>
                    <a:pt x="1814092" y="359020"/>
                    <a:pt x="1824196" y="362034"/>
                  </a:cubicBezTo>
                  <a:lnTo>
                    <a:pt x="1903189" y="408155"/>
                  </a:lnTo>
                  <a:cubicBezTo>
                    <a:pt x="1908700" y="400619"/>
                    <a:pt x="1913752" y="393384"/>
                    <a:pt x="1919263" y="385848"/>
                  </a:cubicBezTo>
                  <a:cubicBezTo>
                    <a:pt x="1911915" y="380121"/>
                    <a:pt x="1904567" y="374092"/>
                    <a:pt x="1897219" y="368364"/>
                  </a:cubicBezTo>
                  <a:lnTo>
                    <a:pt x="1897219" y="359020"/>
                  </a:lnTo>
                  <a:cubicBezTo>
                    <a:pt x="1888033" y="357814"/>
                    <a:pt x="1879307" y="356909"/>
                    <a:pt x="1870122" y="355704"/>
                  </a:cubicBezTo>
                  <a:cubicBezTo>
                    <a:pt x="1872418" y="349976"/>
                    <a:pt x="1874255" y="343947"/>
                    <a:pt x="1876552" y="338220"/>
                  </a:cubicBezTo>
                  <a:cubicBezTo>
                    <a:pt x="1872418" y="326464"/>
                    <a:pt x="1867826" y="315009"/>
                    <a:pt x="1863692" y="303252"/>
                  </a:cubicBezTo>
                  <a:lnTo>
                    <a:pt x="1863692" y="295415"/>
                  </a:lnTo>
                  <a:cubicBezTo>
                    <a:pt x="1877011" y="282151"/>
                    <a:pt x="1889870" y="268888"/>
                    <a:pt x="1903189" y="255624"/>
                  </a:cubicBezTo>
                  <a:cubicBezTo>
                    <a:pt x="1908700" y="243567"/>
                    <a:pt x="1913752" y="231207"/>
                    <a:pt x="1919263" y="219150"/>
                  </a:cubicBezTo>
                  <a:lnTo>
                    <a:pt x="1936715" y="209504"/>
                  </a:lnTo>
                  <a:lnTo>
                    <a:pt x="1995501" y="219150"/>
                  </a:lnTo>
                  <a:cubicBezTo>
                    <a:pt x="1996420" y="226987"/>
                    <a:pt x="1997797" y="235126"/>
                    <a:pt x="1998716" y="242964"/>
                  </a:cubicBezTo>
                  <a:cubicBezTo>
                    <a:pt x="1992286" y="255021"/>
                    <a:pt x="1985856" y="267381"/>
                    <a:pt x="1979427" y="279438"/>
                  </a:cubicBezTo>
                  <a:cubicBezTo>
                    <a:pt x="1983560" y="283659"/>
                    <a:pt x="1988153" y="287879"/>
                    <a:pt x="1992286" y="292099"/>
                  </a:cubicBezTo>
                  <a:cubicBezTo>
                    <a:pt x="1994582" y="299937"/>
                    <a:pt x="1996420" y="308076"/>
                    <a:pt x="1998716" y="315913"/>
                  </a:cubicBezTo>
                  <a:cubicBezTo>
                    <a:pt x="1996420" y="334603"/>
                    <a:pt x="1994582" y="352991"/>
                    <a:pt x="1992286" y="371680"/>
                  </a:cubicBezTo>
                  <a:cubicBezTo>
                    <a:pt x="2001471" y="379518"/>
                    <a:pt x="2010197" y="387657"/>
                    <a:pt x="2019383" y="395494"/>
                  </a:cubicBezTo>
                  <a:cubicBezTo>
                    <a:pt x="2015249" y="403332"/>
                    <a:pt x="2010657" y="411471"/>
                    <a:pt x="2006523" y="419308"/>
                  </a:cubicBezTo>
                  <a:cubicBezTo>
                    <a:pt x="1993205" y="437696"/>
                    <a:pt x="1980345" y="456386"/>
                    <a:pt x="1967027" y="474774"/>
                  </a:cubicBezTo>
                  <a:lnTo>
                    <a:pt x="1989071" y="481104"/>
                  </a:lnTo>
                  <a:cubicBezTo>
                    <a:pt x="1992745" y="475980"/>
                    <a:pt x="1996420" y="470554"/>
                    <a:pt x="2000094" y="465429"/>
                  </a:cubicBezTo>
                  <a:lnTo>
                    <a:pt x="2025812" y="455783"/>
                  </a:lnTo>
                  <a:cubicBezTo>
                    <a:pt x="2027649" y="450056"/>
                    <a:pt x="2029946" y="444027"/>
                    <a:pt x="2031783" y="438299"/>
                  </a:cubicBezTo>
                  <a:cubicBezTo>
                    <a:pt x="2037753" y="431969"/>
                    <a:pt x="2043264" y="425639"/>
                    <a:pt x="2049235" y="419308"/>
                  </a:cubicBezTo>
                  <a:cubicBezTo>
                    <a:pt x="2044642" y="412375"/>
                    <a:pt x="2039590" y="405442"/>
                    <a:pt x="2034998" y="398509"/>
                  </a:cubicBezTo>
                  <a:cubicBezTo>
                    <a:pt x="2038672" y="390671"/>
                    <a:pt x="2042805" y="382532"/>
                    <a:pt x="2046479" y="374695"/>
                  </a:cubicBezTo>
                  <a:cubicBezTo>
                    <a:pt x="2038672" y="373790"/>
                    <a:pt x="2030405" y="372585"/>
                    <a:pt x="2022598" y="371680"/>
                  </a:cubicBezTo>
                  <a:cubicBezTo>
                    <a:pt x="2020301" y="364144"/>
                    <a:pt x="2018464" y="356909"/>
                    <a:pt x="2016168" y="349373"/>
                  </a:cubicBezTo>
                  <a:cubicBezTo>
                    <a:pt x="2022598" y="336110"/>
                    <a:pt x="2028568" y="322846"/>
                    <a:pt x="2034998" y="309583"/>
                  </a:cubicBezTo>
                  <a:cubicBezTo>
                    <a:pt x="2024435" y="298429"/>
                    <a:pt x="2013872" y="287577"/>
                    <a:pt x="2003308" y="276424"/>
                  </a:cubicBezTo>
                  <a:cubicBezTo>
                    <a:pt x="2017546" y="267381"/>
                    <a:pt x="2032242" y="258337"/>
                    <a:pt x="2046479" y="249294"/>
                  </a:cubicBezTo>
                  <a:cubicBezTo>
                    <a:pt x="2044183" y="239346"/>
                    <a:pt x="2042346" y="229097"/>
                    <a:pt x="2040050" y="219150"/>
                  </a:cubicBezTo>
                  <a:lnTo>
                    <a:pt x="2049235" y="219150"/>
                  </a:lnTo>
                  <a:cubicBezTo>
                    <a:pt x="2053368" y="226083"/>
                    <a:pt x="2057961" y="233016"/>
                    <a:pt x="2062094" y="239949"/>
                  </a:cubicBezTo>
                  <a:cubicBezTo>
                    <a:pt x="2058879" y="254117"/>
                    <a:pt x="2055665" y="268586"/>
                    <a:pt x="2052450" y="282754"/>
                  </a:cubicBezTo>
                  <a:lnTo>
                    <a:pt x="2076331" y="289085"/>
                  </a:lnTo>
                  <a:cubicBezTo>
                    <a:pt x="2072657" y="279137"/>
                    <a:pt x="2068983" y="268888"/>
                    <a:pt x="2065309" y="258940"/>
                  </a:cubicBezTo>
                  <a:lnTo>
                    <a:pt x="2104806" y="239949"/>
                  </a:lnTo>
                  <a:lnTo>
                    <a:pt x="2149354" y="239949"/>
                  </a:lnTo>
                  <a:lnTo>
                    <a:pt x="2192525" y="261955"/>
                  </a:lnTo>
                  <a:cubicBezTo>
                    <a:pt x="2184718" y="250198"/>
                    <a:pt x="2176451" y="238744"/>
                    <a:pt x="2168643" y="226987"/>
                  </a:cubicBezTo>
                  <a:lnTo>
                    <a:pt x="2168643" y="185689"/>
                  </a:lnTo>
                  <a:cubicBezTo>
                    <a:pt x="2181962" y="182675"/>
                    <a:pt x="2194821" y="179359"/>
                    <a:pt x="2208140" y="176345"/>
                  </a:cubicBezTo>
                  <a:lnTo>
                    <a:pt x="2260496" y="179359"/>
                  </a:lnTo>
                  <a:lnTo>
                    <a:pt x="2308259" y="173029"/>
                  </a:lnTo>
                  <a:cubicBezTo>
                    <a:pt x="2302289" y="165191"/>
                    <a:pt x="2296778" y="157052"/>
                    <a:pt x="2290807" y="149215"/>
                  </a:cubicBezTo>
                  <a:cubicBezTo>
                    <a:pt x="2299993" y="138664"/>
                    <a:pt x="2308719" y="128114"/>
                    <a:pt x="2317904" y="117563"/>
                  </a:cubicBezTo>
                  <a:lnTo>
                    <a:pt x="2341786" y="117563"/>
                  </a:lnTo>
                  <a:lnTo>
                    <a:pt x="2384497" y="96764"/>
                  </a:lnTo>
                  <a:lnTo>
                    <a:pt x="2443283" y="87419"/>
                  </a:lnTo>
                  <a:cubicBezTo>
                    <a:pt x="2446039" y="84103"/>
                    <a:pt x="2448335" y="81088"/>
                    <a:pt x="2451091" y="77773"/>
                  </a:cubicBezTo>
                  <a:lnTo>
                    <a:pt x="2506661" y="74758"/>
                  </a:lnTo>
                  <a:cubicBezTo>
                    <a:pt x="2513091" y="77773"/>
                    <a:pt x="2519062" y="81088"/>
                    <a:pt x="2525491" y="84103"/>
                  </a:cubicBezTo>
                  <a:lnTo>
                    <a:pt x="2576469" y="60289"/>
                  </a:lnTo>
                  <a:lnTo>
                    <a:pt x="2616425" y="60289"/>
                  </a:lnTo>
                  <a:cubicBezTo>
                    <a:pt x="2618262" y="53959"/>
                    <a:pt x="2620559" y="47628"/>
                    <a:pt x="2622396" y="41298"/>
                  </a:cubicBezTo>
                  <a:lnTo>
                    <a:pt x="2643063" y="20498"/>
                  </a:lnTo>
                  <a:close/>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08" name="Freeform 213">
              <a:extLst>
                <a:ext uri="{FF2B5EF4-FFF2-40B4-BE49-F238E27FC236}">
                  <a16:creationId xmlns:a16="http://schemas.microsoft.com/office/drawing/2014/main" id="{5DBE25D9-2EFA-4704-A893-87DB5F7B8010}"/>
                </a:ext>
              </a:extLst>
            </p:cNvPr>
            <p:cNvSpPr>
              <a:spLocks/>
            </p:cNvSpPr>
            <p:nvPr/>
          </p:nvSpPr>
          <p:spPr bwMode="auto">
            <a:xfrm>
              <a:off x="2233614" y="2286050"/>
              <a:ext cx="61913" cy="20647"/>
            </a:xfrm>
            <a:custGeom>
              <a:avLst/>
              <a:gdLst>
                <a:gd name="T0" fmla="*/ 0 w 39"/>
                <a:gd name="T1" fmla="*/ 0 h 13"/>
                <a:gd name="T2" fmla="*/ 29 w 39"/>
                <a:gd name="T3" fmla="*/ 0 h 13"/>
                <a:gd name="T4" fmla="*/ 39 w 39"/>
                <a:gd name="T5" fmla="*/ 7 h 13"/>
                <a:gd name="T6" fmla="*/ 37 w 39"/>
                <a:gd name="T7" fmla="*/ 11 h 13"/>
                <a:gd name="T8" fmla="*/ 31 w 39"/>
                <a:gd name="T9" fmla="*/ 13 h 13"/>
                <a:gd name="T10" fmla="*/ 4 w 39"/>
                <a:gd name="T11" fmla="*/ 9 h 13"/>
                <a:gd name="T12" fmla="*/ 0 w 39"/>
                <a:gd name="T13" fmla="*/ 0 h 13"/>
              </a:gdLst>
              <a:ahLst/>
              <a:cxnLst>
                <a:cxn ang="0">
                  <a:pos x="T0" y="T1"/>
                </a:cxn>
                <a:cxn ang="0">
                  <a:pos x="T2" y="T3"/>
                </a:cxn>
                <a:cxn ang="0">
                  <a:pos x="T4" y="T5"/>
                </a:cxn>
                <a:cxn ang="0">
                  <a:pos x="T6" y="T7"/>
                </a:cxn>
                <a:cxn ang="0">
                  <a:pos x="T8" y="T9"/>
                </a:cxn>
                <a:cxn ang="0">
                  <a:pos x="T10" y="T11"/>
                </a:cxn>
                <a:cxn ang="0">
                  <a:pos x="T12" y="T13"/>
                </a:cxn>
              </a:cxnLst>
              <a:rect l="0" t="0" r="r" b="b"/>
              <a:pathLst>
                <a:path w="39" h="13">
                  <a:moveTo>
                    <a:pt x="0" y="0"/>
                  </a:moveTo>
                  <a:lnTo>
                    <a:pt x="29" y="0"/>
                  </a:lnTo>
                  <a:lnTo>
                    <a:pt x="39" y="7"/>
                  </a:lnTo>
                  <a:lnTo>
                    <a:pt x="37" y="11"/>
                  </a:lnTo>
                  <a:lnTo>
                    <a:pt x="31" y="13"/>
                  </a:lnTo>
                  <a:lnTo>
                    <a:pt x="4" y="9"/>
                  </a:lnTo>
                  <a:lnTo>
                    <a:pt x="0" y="0"/>
                  </a:lnTo>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09" name="Freeform 215">
              <a:extLst>
                <a:ext uri="{FF2B5EF4-FFF2-40B4-BE49-F238E27FC236}">
                  <a16:creationId xmlns:a16="http://schemas.microsoft.com/office/drawing/2014/main" id="{29B620F7-0074-46F2-818A-E372DD46E9B9}"/>
                </a:ext>
              </a:extLst>
            </p:cNvPr>
            <p:cNvSpPr>
              <a:spLocks/>
            </p:cNvSpPr>
            <p:nvPr/>
          </p:nvSpPr>
          <p:spPr bwMode="auto">
            <a:xfrm>
              <a:off x="1855789" y="2270168"/>
              <a:ext cx="82550" cy="36530"/>
            </a:xfrm>
            <a:custGeom>
              <a:avLst/>
              <a:gdLst>
                <a:gd name="T0" fmla="*/ 33 w 52"/>
                <a:gd name="T1" fmla="*/ 0 h 23"/>
                <a:gd name="T2" fmla="*/ 52 w 52"/>
                <a:gd name="T3" fmla="*/ 6 h 23"/>
                <a:gd name="T4" fmla="*/ 48 w 52"/>
                <a:gd name="T5" fmla="*/ 14 h 23"/>
                <a:gd name="T6" fmla="*/ 21 w 52"/>
                <a:gd name="T7" fmla="*/ 23 h 23"/>
                <a:gd name="T8" fmla="*/ 0 w 52"/>
                <a:gd name="T9" fmla="*/ 14 h 23"/>
                <a:gd name="T10" fmla="*/ 14 w 52"/>
                <a:gd name="T11" fmla="*/ 4 h 23"/>
                <a:gd name="T12" fmla="*/ 33 w 52"/>
                <a:gd name="T13" fmla="*/ 0 h 23"/>
              </a:gdLst>
              <a:ahLst/>
              <a:cxnLst>
                <a:cxn ang="0">
                  <a:pos x="T0" y="T1"/>
                </a:cxn>
                <a:cxn ang="0">
                  <a:pos x="T2" y="T3"/>
                </a:cxn>
                <a:cxn ang="0">
                  <a:pos x="T4" y="T5"/>
                </a:cxn>
                <a:cxn ang="0">
                  <a:pos x="T6" y="T7"/>
                </a:cxn>
                <a:cxn ang="0">
                  <a:pos x="T8" y="T9"/>
                </a:cxn>
                <a:cxn ang="0">
                  <a:pos x="T10" y="T11"/>
                </a:cxn>
                <a:cxn ang="0">
                  <a:pos x="T12" y="T13"/>
                </a:cxn>
              </a:cxnLst>
              <a:rect l="0" t="0" r="r" b="b"/>
              <a:pathLst>
                <a:path w="52" h="23">
                  <a:moveTo>
                    <a:pt x="33" y="0"/>
                  </a:moveTo>
                  <a:lnTo>
                    <a:pt x="52" y="6"/>
                  </a:lnTo>
                  <a:lnTo>
                    <a:pt x="48" y="14"/>
                  </a:lnTo>
                  <a:lnTo>
                    <a:pt x="21" y="23"/>
                  </a:lnTo>
                  <a:lnTo>
                    <a:pt x="0" y="14"/>
                  </a:lnTo>
                  <a:lnTo>
                    <a:pt x="14" y="4"/>
                  </a:lnTo>
                  <a:lnTo>
                    <a:pt x="33" y="0"/>
                  </a:lnTo>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10" name="Freeform 217">
              <a:extLst>
                <a:ext uri="{FF2B5EF4-FFF2-40B4-BE49-F238E27FC236}">
                  <a16:creationId xmlns:a16="http://schemas.microsoft.com/office/drawing/2014/main" id="{F3CAC812-50E7-4B95-990D-92F16851921E}"/>
                </a:ext>
              </a:extLst>
            </p:cNvPr>
            <p:cNvSpPr>
              <a:spLocks/>
            </p:cNvSpPr>
            <p:nvPr/>
          </p:nvSpPr>
          <p:spPr bwMode="auto">
            <a:xfrm>
              <a:off x="4822825" y="2257462"/>
              <a:ext cx="92075" cy="49235"/>
            </a:xfrm>
            <a:custGeom>
              <a:avLst/>
              <a:gdLst>
                <a:gd name="T0" fmla="*/ 31 w 58"/>
                <a:gd name="T1" fmla="*/ 0 h 31"/>
                <a:gd name="T2" fmla="*/ 39 w 58"/>
                <a:gd name="T3" fmla="*/ 12 h 31"/>
                <a:gd name="T4" fmla="*/ 58 w 58"/>
                <a:gd name="T5" fmla="*/ 18 h 31"/>
                <a:gd name="T6" fmla="*/ 27 w 58"/>
                <a:gd name="T7" fmla="*/ 31 h 31"/>
                <a:gd name="T8" fmla="*/ 0 w 58"/>
                <a:gd name="T9" fmla="*/ 23 h 31"/>
                <a:gd name="T10" fmla="*/ 10 w 58"/>
                <a:gd name="T11" fmla="*/ 16 h 31"/>
                <a:gd name="T12" fmla="*/ 2 w 58"/>
                <a:gd name="T13" fmla="*/ 4 h 31"/>
                <a:gd name="T14" fmla="*/ 31 w 58"/>
                <a:gd name="T15" fmla="*/ 0 h 3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 h="31">
                  <a:moveTo>
                    <a:pt x="31" y="0"/>
                  </a:moveTo>
                  <a:lnTo>
                    <a:pt x="39" y="12"/>
                  </a:lnTo>
                  <a:lnTo>
                    <a:pt x="58" y="18"/>
                  </a:lnTo>
                  <a:lnTo>
                    <a:pt x="27" y="31"/>
                  </a:lnTo>
                  <a:lnTo>
                    <a:pt x="0" y="23"/>
                  </a:lnTo>
                  <a:lnTo>
                    <a:pt x="10" y="16"/>
                  </a:lnTo>
                  <a:lnTo>
                    <a:pt x="2" y="4"/>
                  </a:lnTo>
                  <a:lnTo>
                    <a:pt x="31" y="0"/>
                  </a:lnTo>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11" name="Freeform 219">
              <a:extLst>
                <a:ext uri="{FF2B5EF4-FFF2-40B4-BE49-F238E27FC236}">
                  <a16:creationId xmlns:a16="http://schemas.microsoft.com/office/drawing/2014/main" id="{9F74C8B0-94F2-48B7-A12C-87822D0C0896}"/>
                </a:ext>
              </a:extLst>
            </p:cNvPr>
            <p:cNvSpPr>
              <a:spLocks/>
            </p:cNvSpPr>
            <p:nvPr/>
          </p:nvSpPr>
          <p:spPr bwMode="auto">
            <a:xfrm>
              <a:off x="1881189" y="2239992"/>
              <a:ext cx="63500" cy="20647"/>
            </a:xfrm>
            <a:custGeom>
              <a:avLst/>
              <a:gdLst>
                <a:gd name="T0" fmla="*/ 13 w 40"/>
                <a:gd name="T1" fmla="*/ 0 h 13"/>
                <a:gd name="T2" fmla="*/ 21 w 40"/>
                <a:gd name="T3" fmla="*/ 0 h 13"/>
                <a:gd name="T4" fmla="*/ 40 w 40"/>
                <a:gd name="T5" fmla="*/ 6 h 13"/>
                <a:gd name="T6" fmla="*/ 23 w 40"/>
                <a:gd name="T7" fmla="*/ 13 h 13"/>
                <a:gd name="T8" fmla="*/ 0 w 40"/>
                <a:gd name="T9" fmla="*/ 13 h 13"/>
                <a:gd name="T10" fmla="*/ 0 w 40"/>
                <a:gd name="T11" fmla="*/ 8 h 13"/>
                <a:gd name="T12" fmla="*/ 13 w 40"/>
                <a:gd name="T13" fmla="*/ 0 h 13"/>
              </a:gdLst>
              <a:ahLst/>
              <a:cxnLst>
                <a:cxn ang="0">
                  <a:pos x="T0" y="T1"/>
                </a:cxn>
                <a:cxn ang="0">
                  <a:pos x="T2" y="T3"/>
                </a:cxn>
                <a:cxn ang="0">
                  <a:pos x="T4" y="T5"/>
                </a:cxn>
                <a:cxn ang="0">
                  <a:pos x="T6" y="T7"/>
                </a:cxn>
                <a:cxn ang="0">
                  <a:pos x="T8" y="T9"/>
                </a:cxn>
                <a:cxn ang="0">
                  <a:pos x="T10" y="T11"/>
                </a:cxn>
                <a:cxn ang="0">
                  <a:pos x="T12" y="T13"/>
                </a:cxn>
              </a:cxnLst>
              <a:rect l="0" t="0" r="r" b="b"/>
              <a:pathLst>
                <a:path w="40" h="13">
                  <a:moveTo>
                    <a:pt x="13" y="0"/>
                  </a:moveTo>
                  <a:lnTo>
                    <a:pt x="21" y="0"/>
                  </a:lnTo>
                  <a:lnTo>
                    <a:pt x="40" y="6"/>
                  </a:lnTo>
                  <a:lnTo>
                    <a:pt x="23" y="13"/>
                  </a:lnTo>
                  <a:lnTo>
                    <a:pt x="0" y="13"/>
                  </a:lnTo>
                  <a:lnTo>
                    <a:pt x="0" y="8"/>
                  </a:lnTo>
                  <a:lnTo>
                    <a:pt x="13" y="0"/>
                  </a:lnTo>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12" name="Freeform 221">
              <a:extLst>
                <a:ext uri="{FF2B5EF4-FFF2-40B4-BE49-F238E27FC236}">
                  <a16:creationId xmlns:a16="http://schemas.microsoft.com/office/drawing/2014/main" id="{2E12C447-8365-4CDD-B414-4713C9F3312F}"/>
                </a:ext>
              </a:extLst>
            </p:cNvPr>
            <p:cNvSpPr>
              <a:spLocks/>
            </p:cNvSpPr>
            <p:nvPr/>
          </p:nvSpPr>
          <p:spPr bwMode="auto">
            <a:xfrm>
              <a:off x="2185989" y="2236816"/>
              <a:ext cx="66675" cy="49235"/>
            </a:xfrm>
            <a:custGeom>
              <a:avLst/>
              <a:gdLst>
                <a:gd name="T0" fmla="*/ 0 w 42"/>
                <a:gd name="T1" fmla="*/ 0 h 31"/>
                <a:gd name="T2" fmla="*/ 19 w 42"/>
                <a:gd name="T3" fmla="*/ 2 h 31"/>
                <a:gd name="T4" fmla="*/ 26 w 42"/>
                <a:gd name="T5" fmla="*/ 4 h 31"/>
                <a:gd name="T6" fmla="*/ 42 w 42"/>
                <a:gd name="T7" fmla="*/ 13 h 31"/>
                <a:gd name="T8" fmla="*/ 38 w 42"/>
                <a:gd name="T9" fmla="*/ 25 h 31"/>
                <a:gd name="T10" fmla="*/ 19 w 42"/>
                <a:gd name="T11" fmla="*/ 31 h 31"/>
                <a:gd name="T12" fmla="*/ 7 w 42"/>
                <a:gd name="T13" fmla="*/ 25 h 31"/>
                <a:gd name="T14" fmla="*/ 2 w 42"/>
                <a:gd name="T15" fmla="*/ 13 h 31"/>
                <a:gd name="T16" fmla="*/ 0 w 42"/>
                <a:gd name="T17"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 h="31">
                  <a:moveTo>
                    <a:pt x="0" y="0"/>
                  </a:moveTo>
                  <a:lnTo>
                    <a:pt x="19" y="2"/>
                  </a:lnTo>
                  <a:lnTo>
                    <a:pt x="26" y="4"/>
                  </a:lnTo>
                  <a:lnTo>
                    <a:pt x="42" y="13"/>
                  </a:lnTo>
                  <a:lnTo>
                    <a:pt x="38" y="25"/>
                  </a:lnTo>
                  <a:lnTo>
                    <a:pt x="19" y="31"/>
                  </a:lnTo>
                  <a:lnTo>
                    <a:pt x="7" y="25"/>
                  </a:lnTo>
                  <a:lnTo>
                    <a:pt x="2" y="13"/>
                  </a:lnTo>
                  <a:lnTo>
                    <a:pt x="0" y="0"/>
                  </a:lnTo>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13" name="Freeform 223">
              <a:extLst>
                <a:ext uri="{FF2B5EF4-FFF2-40B4-BE49-F238E27FC236}">
                  <a16:creationId xmlns:a16="http://schemas.microsoft.com/office/drawing/2014/main" id="{0FAECF81-15AA-462F-9551-9676A33F3B81}"/>
                </a:ext>
              </a:extLst>
            </p:cNvPr>
            <p:cNvSpPr>
              <a:spLocks/>
            </p:cNvSpPr>
            <p:nvPr/>
          </p:nvSpPr>
          <p:spPr bwMode="auto">
            <a:xfrm>
              <a:off x="2036764" y="2216168"/>
              <a:ext cx="127000" cy="66705"/>
            </a:xfrm>
            <a:custGeom>
              <a:avLst/>
              <a:gdLst>
                <a:gd name="T0" fmla="*/ 0 w 80"/>
                <a:gd name="T1" fmla="*/ 0 h 42"/>
                <a:gd name="T2" fmla="*/ 26 w 80"/>
                <a:gd name="T3" fmla="*/ 3 h 42"/>
                <a:gd name="T4" fmla="*/ 65 w 80"/>
                <a:gd name="T5" fmla="*/ 15 h 42"/>
                <a:gd name="T6" fmla="*/ 74 w 80"/>
                <a:gd name="T7" fmla="*/ 28 h 42"/>
                <a:gd name="T8" fmla="*/ 80 w 80"/>
                <a:gd name="T9" fmla="*/ 42 h 42"/>
                <a:gd name="T10" fmla="*/ 57 w 80"/>
                <a:gd name="T11" fmla="*/ 40 h 42"/>
                <a:gd name="T12" fmla="*/ 34 w 80"/>
                <a:gd name="T13" fmla="*/ 28 h 42"/>
                <a:gd name="T14" fmla="*/ 3 w 80"/>
                <a:gd name="T15" fmla="*/ 28 h 42"/>
                <a:gd name="T16" fmla="*/ 17 w 80"/>
                <a:gd name="T17" fmla="*/ 19 h 42"/>
                <a:gd name="T18" fmla="*/ 0 w 80"/>
                <a:gd name="T19" fmla="*/ 11 h 42"/>
                <a:gd name="T20" fmla="*/ 0 w 80"/>
                <a:gd name="T21"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0" h="42">
                  <a:moveTo>
                    <a:pt x="0" y="0"/>
                  </a:moveTo>
                  <a:lnTo>
                    <a:pt x="26" y="3"/>
                  </a:lnTo>
                  <a:lnTo>
                    <a:pt x="65" y="15"/>
                  </a:lnTo>
                  <a:lnTo>
                    <a:pt x="74" y="28"/>
                  </a:lnTo>
                  <a:lnTo>
                    <a:pt x="80" y="42"/>
                  </a:lnTo>
                  <a:lnTo>
                    <a:pt x="57" y="40"/>
                  </a:lnTo>
                  <a:lnTo>
                    <a:pt x="34" y="28"/>
                  </a:lnTo>
                  <a:lnTo>
                    <a:pt x="3" y="28"/>
                  </a:lnTo>
                  <a:lnTo>
                    <a:pt x="17" y="19"/>
                  </a:lnTo>
                  <a:lnTo>
                    <a:pt x="0" y="11"/>
                  </a:lnTo>
                  <a:lnTo>
                    <a:pt x="0" y="0"/>
                  </a:lnTo>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14" name="Freeform 225">
              <a:extLst>
                <a:ext uri="{FF2B5EF4-FFF2-40B4-BE49-F238E27FC236}">
                  <a16:creationId xmlns:a16="http://schemas.microsoft.com/office/drawing/2014/main" id="{F56D0D12-139F-4C10-B577-98C2F79104BF}"/>
                </a:ext>
              </a:extLst>
            </p:cNvPr>
            <p:cNvSpPr>
              <a:spLocks/>
            </p:cNvSpPr>
            <p:nvPr/>
          </p:nvSpPr>
          <p:spPr bwMode="auto">
            <a:xfrm>
              <a:off x="6569075" y="2212992"/>
              <a:ext cx="130175" cy="69882"/>
            </a:xfrm>
            <a:custGeom>
              <a:avLst/>
              <a:gdLst>
                <a:gd name="T0" fmla="*/ 36 w 82"/>
                <a:gd name="T1" fmla="*/ 0 h 44"/>
                <a:gd name="T2" fmla="*/ 46 w 82"/>
                <a:gd name="T3" fmla="*/ 3 h 44"/>
                <a:gd name="T4" fmla="*/ 82 w 82"/>
                <a:gd name="T5" fmla="*/ 21 h 44"/>
                <a:gd name="T6" fmla="*/ 77 w 82"/>
                <a:gd name="T7" fmla="*/ 30 h 44"/>
                <a:gd name="T8" fmla="*/ 0 w 82"/>
                <a:gd name="T9" fmla="*/ 44 h 44"/>
                <a:gd name="T10" fmla="*/ 23 w 82"/>
                <a:gd name="T11" fmla="*/ 3 h 44"/>
                <a:gd name="T12" fmla="*/ 36 w 82"/>
                <a:gd name="T13" fmla="*/ 0 h 44"/>
              </a:gdLst>
              <a:ahLst/>
              <a:cxnLst>
                <a:cxn ang="0">
                  <a:pos x="T0" y="T1"/>
                </a:cxn>
                <a:cxn ang="0">
                  <a:pos x="T2" y="T3"/>
                </a:cxn>
                <a:cxn ang="0">
                  <a:pos x="T4" y="T5"/>
                </a:cxn>
                <a:cxn ang="0">
                  <a:pos x="T6" y="T7"/>
                </a:cxn>
                <a:cxn ang="0">
                  <a:pos x="T8" y="T9"/>
                </a:cxn>
                <a:cxn ang="0">
                  <a:pos x="T10" y="T11"/>
                </a:cxn>
                <a:cxn ang="0">
                  <a:pos x="T12" y="T13"/>
                </a:cxn>
              </a:cxnLst>
              <a:rect l="0" t="0" r="r" b="b"/>
              <a:pathLst>
                <a:path w="82" h="44">
                  <a:moveTo>
                    <a:pt x="36" y="0"/>
                  </a:moveTo>
                  <a:lnTo>
                    <a:pt x="46" y="3"/>
                  </a:lnTo>
                  <a:lnTo>
                    <a:pt x="82" y="21"/>
                  </a:lnTo>
                  <a:lnTo>
                    <a:pt x="77" y="30"/>
                  </a:lnTo>
                  <a:lnTo>
                    <a:pt x="0" y="44"/>
                  </a:lnTo>
                  <a:lnTo>
                    <a:pt x="23" y="3"/>
                  </a:lnTo>
                  <a:lnTo>
                    <a:pt x="36" y="0"/>
                  </a:lnTo>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15" name="Freeform 227">
              <a:extLst>
                <a:ext uri="{FF2B5EF4-FFF2-40B4-BE49-F238E27FC236}">
                  <a16:creationId xmlns:a16="http://schemas.microsoft.com/office/drawing/2014/main" id="{CA784634-F767-42DC-9FB5-945BC614F07C}"/>
                </a:ext>
              </a:extLst>
            </p:cNvPr>
            <p:cNvSpPr>
              <a:spLocks/>
            </p:cNvSpPr>
            <p:nvPr/>
          </p:nvSpPr>
          <p:spPr bwMode="auto">
            <a:xfrm>
              <a:off x="4597400" y="2179640"/>
              <a:ext cx="244475" cy="157234"/>
            </a:xfrm>
            <a:custGeom>
              <a:avLst/>
              <a:gdLst>
                <a:gd name="T0" fmla="*/ 90 w 154"/>
                <a:gd name="T1" fmla="*/ 0 h 99"/>
                <a:gd name="T2" fmla="*/ 110 w 154"/>
                <a:gd name="T3" fmla="*/ 11 h 99"/>
                <a:gd name="T4" fmla="*/ 154 w 154"/>
                <a:gd name="T5" fmla="*/ 34 h 99"/>
                <a:gd name="T6" fmla="*/ 119 w 154"/>
                <a:gd name="T7" fmla="*/ 46 h 99"/>
                <a:gd name="T8" fmla="*/ 114 w 154"/>
                <a:gd name="T9" fmla="*/ 67 h 99"/>
                <a:gd name="T10" fmla="*/ 100 w 154"/>
                <a:gd name="T11" fmla="*/ 72 h 99"/>
                <a:gd name="T12" fmla="*/ 92 w 154"/>
                <a:gd name="T13" fmla="*/ 99 h 99"/>
                <a:gd name="T14" fmla="*/ 75 w 154"/>
                <a:gd name="T15" fmla="*/ 99 h 99"/>
                <a:gd name="T16" fmla="*/ 46 w 154"/>
                <a:gd name="T17" fmla="*/ 82 h 99"/>
                <a:gd name="T18" fmla="*/ 60 w 154"/>
                <a:gd name="T19" fmla="*/ 71 h 99"/>
                <a:gd name="T20" fmla="*/ 39 w 154"/>
                <a:gd name="T21" fmla="*/ 63 h 99"/>
                <a:gd name="T22" fmla="*/ 10 w 154"/>
                <a:gd name="T23" fmla="*/ 36 h 99"/>
                <a:gd name="T24" fmla="*/ 0 w 154"/>
                <a:gd name="T25" fmla="*/ 13 h 99"/>
                <a:gd name="T26" fmla="*/ 39 w 154"/>
                <a:gd name="T27" fmla="*/ 1 h 99"/>
                <a:gd name="T28" fmla="*/ 46 w 154"/>
                <a:gd name="T29" fmla="*/ 11 h 99"/>
                <a:gd name="T30" fmla="*/ 66 w 154"/>
                <a:gd name="T31" fmla="*/ 11 h 99"/>
                <a:gd name="T32" fmla="*/ 71 w 154"/>
                <a:gd name="T33" fmla="*/ 1 h 99"/>
                <a:gd name="T34" fmla="*/ 90 w 154"/>
                <a:gd name="T35" fmla="*/ 0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4" h="99">
                  <a:moveTo>
                    <a:pt x="90" y="0"/>
                  </a:moveTo>
                  <a:lnTo>
                    <a:pt x="110" y="11"/>
                  </a:lnTo>
                  <a:lnTo>
                    <a:pt x="154" y="34"/>
                  </a:lnTo>
                  <a:lnTo>
                    <a:pt x="119" y="46"/>
                  </a:lnTo>
                  <a:lnTo>
                    <a:pt x="114" y="67"/>
                  </a:lnTo>
                  <a:lnTo>
                    <a:pt x="100" y="72"/>
                  </a:lnTo>
                  <a:lnTo>
                    <a:pt x="92" y="99"/>
                  </a:lnTo>
                  <a:lnTo>
                    <a:pt x="75" y="99"/>
                  </a:lnTo>
                  <a:lnTo>
                    <a:pt x="46" y="82"/>
                  </a:lnTo>
                  <a:lnTo>
                    <a:pt x="60" y="71"/>
                  </a:lnTo>
                  <a:lnTo>
                    <a:pt x="39" y="63"/>
                  </a:lnTo>
                  <a:lnTo>
                    <a:pt x="10" y="36"/>
                  </a:lnTo>
                  <a:lnTo>
                    <a:pt x="0" y="13"/>
                  </a:lnTo>
                  <a:lnTo>
                    <a:pt x="39" y="1"/>
                  </a:lnTo>
                  <a:lnTo>
                    <a:pt x="46" y="11"/>
                  </a:lnTo>
                  <a:lnTo>
                    <a:pt x="66" y="11"/>
                  </a:lnTo>
                  <a:lnTo>
                    <a:pt x="71" y="1"/>
                  </a:lnTo>
                  <a:lnTo>
                    <a:pt x="90" y="0"/>
                  </a:lnTo>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16" name="Freeform 229">
              <a:extLst>
                <a:ext uri="{FF2B5EF4-FFF2-40B4-BE49-F238E27FC236}">
                  <a16:creationId xmlns:a16="http://schemas.microsoft.com/office/drawing/2014/main" id="{CA63FD32-14AA-47FC-B09F-75444D0BAF02}"/>
                </a:ext>
              </a:extLst>
            </p:cNvPr>
            <p:cNvSpPr>
              <a:spLocks/>
            </p:cNvSpPr>
            <p:nvPr/>
          </p:nvSpPr>
          <p:spPr bwMode="auto">
            <a:xfrm>
              <a:off x="4749800" y="2144699"/>
              <a:ext cx="222250" cy="65117"/>
            </a:xfrm>
            <a:custGeom>
              <a:avLst/>
              <a:gdLst>
                <a:gd name="T0" fmla="*/ 79 w 140"/>
                <a:gd name="T1" fmla="*/ 0 h 41"/>
                <a:gd name="T2" fmla="*/ 113 w 140"/>
                <a:gd name="T3" fmla="*/ 8 h 41"/>
                <a:gd name="T4" fmla="*/ 140 w 140"/>
                <a:gd name="T5" fmla="*/ 22 h 41"/>
                <a:gd name="T6" fmla="*/ 121 w 140"/>
                <a:gd name="T7" fmla="*/ 37 h 41"/>
                <a:gd name="T8" fmla="*/ 81 w 140"/>
                <a:gd name="T9" fmla="*/ 41 h 41"/>
                <a:gd name="T10" fmla="*/ 39 w 140"/>
                <a:gd name="T11" fmla="*/ 35 h 41"/>
                <a:gd name="T12" fmla="*/ 37 w 140"/>
                <a:gd name="T13" fmla="*/ 27 h 41"/>
                <a:gd name="T14" fmla="*/ 18 w 140"/>
                <a:gd name="T15" fmla="*/ 27 h 41"/>
                <a:gd name="T16" fmla="*/ 0 w 140"/>
                <a:gd name="T17" fmla="*/ 12 h 41"/>
                <a:gd name="T18" fmla="*/ 44 w 140"/>
                <a:gd name="T19" fmla="*/ 4 h 41"/>
                <a:gd name="T20" fmla="*/ 64 w 140"/>
                <a:gd name="T21" fmla="*/ 10 h 41"/>
                <a:gd name="T22" fmla="*/ 79 w 140"/>
                <a:gd name="T23" fmla="*/ 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0" h="41">
                  <a:moveTo>
                    <a:pt x="79" y="0"/>
                  </a:moveTo>
                  <a:lnTo>
                    <a:pt x="113" y="8"/>
                  </a:lnTo>
                  <a:lnTo>
                    <a:pt x="140" y="22"/>
                  </a:lnTo>
                  <a:lnTo>
                    <a:pt x="121" y="37"/>
                  </a:lnTo>
                  <a:lnTo>
                    <a:pt x="81" y="41"/>
                  </a:lnTo>
                  <a:lnTo>
                    <a:pt x="39" y="35"/>
                  </a:lnTo>
                  <a:lnTo>
                    <a:pt x="37" y="27"/>
                  </a:lnTo>
                  <a:lnTo>
                    <a:pt x="18" y="27"/>
                  </a:lnTo>
                  <a:lnTo>
                    <a:pt x="0" y="12"/>
                  </a:lnTo>
                  <a:lnTo>
                    <a:pt x="44" y="4"/>
                  </a:lnTo>
                  <a:lnTo>
                    <a:pt x="64" y="10"/>
                  </a:lnTo>
                  <a:lnTo>
                    <a:pt x="79" y="0"/>
                  </a:lnTo>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17" name="Freeform 231">
              <a:extLst>
                <a:ext uri="{FF2B5EF4-FFF2-40B4-BE49-F238E27FC236}">
                  <a16:creationId xmlns:a16="http://schemas.microsoft.com/office/drawing/2014/main" id="{04237488-F960-4B21-B6B0-320649307880}"/>
                </a:ext>
              </a:extLst>
            </p:cNvPr>
            <p:cNvSpPr>
              <a:spLocks/>
            </p:cNvSpPr>
            <p:nvPr/>
          </p:nvSpPr>
          <p:spPr bwMode="auto">
            <a:xfrm>
              <a:off x="5359400" y="2133581"/>
              <a:ext cx="149225" cy="47647"/>
            </a:xfrm>
            <a:custGeom>
              <a:avLst/>
              <a:gdLst>
                <a:gd name="T0" fmla="*/ 71 w 94"/>
                <a:gd name="T1" fmla="*/ 0 h 30"/>
                <a:gd name="T2" fmla="*/ 94 w 94"/>
                <a:gd name="T3" fmla="*/ 7 h 30"/>
                <a:gd name="T4" fmla="*/ 88 w 94"/>
                <a:gd name="T5" fmla="*/ 13 h 30"/>
                <a:gd name="T6" fmla="*/ 69 w 94"/>
                <a:gd name="T7" fmla="*/ 15 h 30"/>
                <a:gd name="T8" fmla="*/ 58 w 94"/>
                <a:gd name="T9" fmla="*/ 19 h 30"/>
                <a:gd name="T10" fmla="*/ 56 w 94"/>
                <a:gd name="T11" fmla="*/ 25 h 30"/>
                <a:gd name="T12" fmla="*/ 38 w 94"/>
                <a:gd name="T13" fmla="*/ 30 h 30"/>
                <a:gd name="T14" fmla="*/ 23 w 94"/>
                <a:gd name="T15" fmla="*/ 21 h 30"/>
                <a:gd name="T16" fmla="*/ 33 w 94"/>
                <a:gd name="T17" fmla="*/ 11 h 30"/>
                <a:gd name="T18" fmla="*/ 0 w 94"/>
                <a:gd name="T19" fmla="*/ 11 h 30"/>
                <a:gd name="T20" fmla="*/ 27 w 94"/>
                <a:gd name="T21" fmla="*/ 5 h 30"/>
                <a:gd name="T22" fmla="*/ 48 w 94"/>
                <a:gd name="T23" fmla="*/ 5 h 30"/>
                <a:gd name="T24" fmla="*/ 52 w 94"/>
                <a:gd name="T25" fmla="*/ 13 h 30"/>
                <a:gd name="T26" fmla="*/ 61 w 94"/>
                <a:gd name="T27" fmla="*/ 5 h 30"/>
                <a:gd name="T28" fmla="*/ 71 w 94"/>
                <a:gd name="T29"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30">
                  <a:moveTo>
                    <a:pt x="71" y="0"/>
                  </a:moveTo>
                  <a:lnTo>
                    <a:pt x="94" y="7"/>
                  </a:lnTo>
                  <a:lnTo>
                    <a:pt x="88" y="13"/>
                  </a:lnTo>
                  <a:lnTo>
                    <a:pt x="69" y="15"/>
                  </a:lnTo>
                  <a:lnTo>
                    <a:pt x="58" y="19"/>
                  </a:lnTo>
                  <a:lnTo>
                    <a:pt x="56" y="25"/>
                  </a:lnTo>
                  <a:lnTo>
                    <a:pt x="38" y="30"/>
                  </a:lnTo>
                  <a:lnTo>
                    <a:pt x="23" y="21"/>
                  </a:lnTo>
                  <a:lnTo>
                    <a:pt x="33" y="11"/>
                  </a:lnTo>
                  <a:lnTo>
                    <a:pt x="0" y="11"/>
                  </a:lnTo>
                  <a:lnTo>
                    <a:pt x="27" y="5"/>
                  </a:lnTo>
                  <a:lnTo>
                    <a:pt x="48" y="5"/>
                  </a:lnTo>
                  <a:lnTo>
                    <a:pt x="52" y="13"/>
                  </a:lnTo>
                  <a:lnTo>
                    <a:pt x="61" y="5"/>
                  </a:lnTo>
                  <a:lnTo>
                    <a:pt x="71" y="0"/>
                  </a:lnTo>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18" name="Freeform 233">
              <a:extLst>
                <a:ext uri="{FF2B5EF4-FFF2-40B4-BE49-F238E27FC236}">
                  <a16:creationId xmlns:a16="http://schemas.microsoft.com/office/drawing/2014/main" id="{7B8DB531-273B-45F3-8BE0-BA83C12F90E7}"/>
                </a:ext>
              </a:extLst>
            </p:cNvPr>
            <p:cNvSpPr>
              <a:spLocks/>
            </p:cNvSpPr>
            <p:nvPr/>
          </p:nvSpPr>
          <p:spPr bwMode="auto">
            <a:xfrm>
              <a:off x="6383338" y="2117699"/>
              <a:ext cx="200025" cy="125470"/>
            </a:xfrm>
            <a:custGeom>
              <a:avLst/>
              <a:gdLst>
                <a:gd name="T0" fmla="*/ 67 w 126"/>
                <a:gd name="T1" fmla="*/ 0 h 79"/>
                <a:gd name="T2" fmla="*/ 94 w 126"/>
                <a:gd name="T3" fmla="*/ 15 h 79"/>
                <a:gd name="T4" fmla="*/ 126 w 126"/>
                <a:gd name="T5" fmla="*/ 46 h 79"/>
                <a:gd name="T6" fmla="*/ 123 w 126"/>
                <a:gd name="T7" fmla="*/ 75 h 79"/>
                <a:gd name="T8" fmla="*/ 92 w 126"/>
                <a:gd name="T9" fmla="*/ 79 h 79"/>
                <a:gd name="T10" fmla="*/ 53 w 126"/>
                <a:gd name="T11" fmla="*/ 69 h 79"/>
                <a:gd name="T12" fmla="*/ 30 w 126"/>
                <a:gd name="T13" fmla="*/ 58 h 79"/>
                <a:gd name="T14" fmla="*/ 21 w 126"/>
                <a:gd name="T15" fmla="*/ 35 h 79"/>
                <a:gd name="T16" fmla="*/ 0 w 126"/>
                <a:gd name="T17" fmla="*/ 29 h 79"/>
                <a:gd name="T18" fmla="*/ 36 w 126"/>
                <a:gd name="T19" fmla="*/ 6 h 79"/>
                <a:gd name="T20" fmla="*/ 67 w 126"/>
                <a:gd name="T21" fmla="*/ 0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6" h="79">
                  <a:moveTo>
                    <a:pt x="67" y="0"/>
                  </a:moveTo>
                  <a:lnTo>
                    <a:pt x="94" y="15"/>
                  </a:lnTo>
                  <a:lnTo>
                    <a:pt x="126" y="46"/>
                  </a:lnTo>
                  <a:lnTo>
                    <a:pt x="123" y="75"/>
                  </a:lnTo>
                  <a:lnTo>
                    <a:pt x="92" y="79"/>
                  </a:lnTo>
                  <a:lnTo>
                    <a:pt x="53" y="69"/>
                  </a:lnTo>
                  <a:lnTo>
                    <a:pt x="30" y="58"/>
                  </a:lnTo>
                  <a:lnTo>
                    <a:pt x="21" y="35"/>
                  </a:lnTo>
                  <a:lnTo>
                    <a:pt x="0" y="29"/>
                  </a:lnTo>
                  <a:lnTo>
                    <a:pt x="36" y="6"/>
                  </a:lnTo>
                  <a:lnTo>
                    <a:pt x="67" y="0"/>
                  </a:lnTo>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19" name="Freeform 235">
              <a:extLst>
                <a:ext uri="{FF2B5EF4-FFF2-40B4-BE49-F238E27FC236}">
                  <a16:creationId xmlns:a16="http://schemas.microsoft.com/office/drawing/2014/main" id="{669D55B3-0142-40D5-99DE-C45DB7631CEA}"/>
                </a:ext>
              </a:extLst>
            </p:cNvPr>
            <p:cNvSpPr>
              <a:spLocks/>
            </p:cNvSpPr>
            <p:nvPr/>
          </p:nvSpPr>
          <p:spPr bwMode="auto">
            <a:xfrm>
              <a:off x="2230439" y="2117699"/>
              <a:ext cx="241300" cy="149292"/>
            </a:xfrm>
            <a:custGeom>
              <a:avLst/>
              <a:gdLst>
                <a:gd name="T0" fmla="*/ 60 w 152"/>
                <a:gd name="T1" fmla="*/ 0 h 94"/>
                <a:gd name="T2" fmla="*/ 77 w 152"/>
                <a:gd name="T3" fmla="*/ 15 h 94"/>
                <a:gd name="T4" fmla="*/ 100 w 152"/>
                <a:gd name="T5" fmla="*/ 23 h 94"/>
                <a:gd name="T6" fmla="*/ 123 w 152"/>
                <a:gd name="T7" fmla="*/ 29 h 94"/>
                <a:gd name="T8" fmla="*/ 135 w 152"/>
                <a:gd name="T9" fmla="*/ 50 h 94"/>
                <a:gd name="T10" fmla="*/ 152 w 152"/>
                <a:gd name="T11" fmla="*/ 62 h 94"/>
                <a:gd name="T12" fmla="*/ 133 w 152"/>
                <a:gd name="T13" fmla="*/ 69 h 94"/>
                <a:gd name="T14" fmla="*/ 106 w 152"/>
                <a:gd name="T15" fmla="*/ 92 h 94"/>
                <a:gd name="T16" fmla="*/ 81 w 152"/>
                <a:gd name="T17" fmla="*/ 94 h 94"/>
                <a:gd name="T18" fmla="*/ 52 w 152"/>
                <a:gd name="T19" fmla="*/ 90 h 94"/>
                <a:gd name="T20" fmla="*/ 39 w 152"/>
                <a:gd name="T21" fmla="*/ 79 h 94"/>
                <a:gd name="T22" fmla="*/ 39 w 152"/>
                <a:gd name="T23" fmla="*/ 67 h 94"/>
                <a:gd name="T24" fmla="*/ 50 w 152"/>
                <a:gd name="T25" fmla="*/ 60 h 94"/>
                <a:gd name="T26" fmla="*/ 23 w 152"/>
                <a:gd name="T27" fmla="*/ 60 h 94"/>
                <a:gd name="T28" fmla="*/ 8 w 152"/>
                <a:gd name="T29" fmla="*/ 50 h 94"/>
                <a:gd name="T30" fmla="*/ 0 w 152"/>
                <a:gd name="T31" fmla="*/ 35 h 94"/>
                <a:gd name="T32" fmla="*/ 10 w 152"/>
                <a:gd name="T33" fmla="*/ 21 h 94"/>
                <a:gd name="T34" fmla="*/ 18 w 152"/>
                <a:gd name="T35" fmla="*/ 12 h 94"/>
                <a:gd name="T36" fmla="*/ 33 w 152"/>
                <a:gd name="T37" fmla="*/ 8 h 94"/>
                <a:gd name="T38" fmla="*/ 27 w 152"/>
                <a:gd name="T39" fmla="*/ 2 h 94"/>
                <a:gd name="T40" fmla="*/ 60 w 152"/>
                <a:gd name="T41" fmla="*/ 0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52" h="94">
                  <a:moveTo>
                    <a:pt x="60" y="0"/>
                  </a:moveTo>
                  <a:lnTo>
                    <a:pt x="77" y="15"/>
                  </a:lnTo>
                  <a:lnTo>
                    <a:pt x="100" y="23"/>
                  </a:lnTo>
                  <a:lnTo>
                    <a:pt x="123" y="29"/>
                  </a:lnTo>
                  <a:lnTo>
                    <a:pt x="135" y="50"/>
                  </a:lnTo>
                  <a:lnTo>
                    <a:pt x="152" y="62"/>
                  </a:lnTo>
                  <a:lnTo>
                    <a:pt x="133" y="69"/>
                  </a:lnTo>
                  <a:lnTo>
                    <a:pt x="106" y="92"/>
                  </a:lnTo>
                  <a:lnTo>
                    <a:pt x="81" y="94"/>
                  </a:lnTo>
                  <a:lnTo>
                    <a:pt x="52" y="90"/>
                  </a:lnTo>
                  <a:lnTo>
                    <a:pt x="39" y="79"/>
                  </a:lnTo>
                  <a:lnTo>
                    <a:pt x="39" y="67"/>
                  </a:lnTo>
                  <a:lnTo>
                    <a:pt x="50" y="60"/>
                  </a:lnTo>
                  <a:lnTo>
                    <a:pt x="23" y="60"/>
                  </a:lnTo>
                  <a:lnTo>
                    <a:pt x="8" y="50"/>
                  </a:lnTo>
                  <a:lnTo>
                    <a:pt x="0" y="35"/>
                  </a:lnTo>
                  <a:lnTo>
                    <a:pt x="10" y="21"/>
                  </a:lnTo>
                  <a:lnTo>
                    <a:pt x="18" y="12"/>
                  </a:lnTo>
                  <a:lnTo>
                    <a:pt x="33" y="8"/>
                  </a:lnTo>
                  <a:lnTo>
                    <a:pt x="27" y="2"/>
                  </a:lnTo>
                  <a:lnTo>
                    <a:pt x="60" y="0"/>
                  </a:lnTo>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20" name="Freeform 237">
              <a:extLst>
                <a:ext uri="{FF2B5EF4-FFF2-40B4-BE49-F238E27FC236}">
                  <a16:creationId xmlns:a16="http://schemas.microsoft.com/office/drawing/2014/main" id="{04E93950-36C0-4067-B760-3199B0DD239B}"/>
                </a:ext>
              </a:extLst>
            </p:cNvPr>
            <p:cNvSpPr>
              <a:spLocks/>
            </p:cNvSpPr>
            <p:nvPr/>
          </p:nvSpPr>
          <p:spPr bwMode="auto">
            <a:xfrm>
              <a:off x="2339976" y="2011289"/>
              <a:ext cx="661988" cy="354173"/>
            </a:xfrm>
            <a:custGeom>
              <a:avLst/>
              <a:gdLst>
                <a:gd name="T0" fmla="*/ 292 w 417"/>
                <a:gd name="T1" fmla="*/ 2 h 223"/>
                <a:gd name="T2" fmla="*/ 359 w 417"/>
                <a:gd name="T3" fmla="*/ 6 h 223"/>
                <a:gd name="T4" fmla="*/ 417 w 417"/>
                <a:gd name="T5" fmla="*/ 19 h 223"/>
                <a:gd name="T6" fmla="*/ 380 w 417"/>
                <a:gd name="T7" fmla="*/ 44 h 223"/>
                <a:gd name="T8" fmla="*/ 334 w 417"/>
                <a:gd name="T9" fmla="*/ 58 h 223"/>
                <a:gd name="T10" fmla="*/ 330 w 417"/>
                <a:gd name="T11" fmla="*/ 79 h 223"/>
                <a:gd name="T12" fmla="*/ 284 w 417"/>
                <a:gd name="T13" fmla="*/ 113 h 223"/>
                <a:gd name="T14" fmla="*/ 248 w 417"/>
                <a:gd name="T15" fmla="*/ 125 h 223"/>
                <a:gd name="T16" fmla="*/ 225 w 417"/>
                <a:gd name="T17" fmla="*/ 130 h 223"/>
                <a:gd name="T18" fmla="*/ 227 w 417"/>
                <a:gd name="T19" fmla="*/ 152 h 223"/>
                <a:gd name="T20" fmla="*/ 192 w 417"/>
                <a:gd name="T21" fmla="*/ 171 h 223"/>
                <a:gd name="T22" fmla="*/ 167 w 417"/>
                <a:gd name="T23" fmla="*/ 194 h 223"/>
                <a:gd name="T24" fmla="*/ 190 w 417"/>
                <a:gd name="T25" fmla="*/ 198 h 223"/>
                <a:gd name="T26" fmla="*/ 154 w 417"/>
                <a:gd name="T27" fmla="*/ 223 h 223"/>
                <a:gd name="T28" fmla="*/ 77 w 417"/>
                <a:gd name="T29" fmla="*/ 219 h 223"/>
                <a:gd name="T30" fmla="*/ 31 w 417"/>
                <a:gd name="T31" fmla="*/ 213 h 223"/>
                <a:gd name="T32" fmla="*/ 54 w 417"/>
                <a:gd name="T33" fmla="*/ 194 h 223"/>
                <a:gd name="T34" fmla="*/ 56 w 417"/>
                <a:gd name="T35" fmla="*/ 171 h 223"/>
                <a:gd name="T36" fmla="*/ 73 w 417"/>
                <a:gd name="T37" fmla="*/ 163 h 223"/>
                <a:gd name="T38" fmla="*/ 64 w 417"/>
                <a:gd name="T39" fmla="*/ 146 h 223"/>
                <a:gd name="T40" fmla="*/ 93 w 417"/>
                <a:gd name="T41" fmla="*/ 127 h 223"/>
                <a:gd name="T42" fmla="*/ 66 w 417"/>
                <a:gd name="T43" fmla="*/ 98 h 223"/>
                <a:gd name="T44" fmla="*/ 116 w 417"/>
                <a:gd name="T45" fmla="*/ 104 h 223"/>
                <a:gd name="T46" fmla="*/ 106 w 417"/>
                <a:gd name="T47" fmla="*/ 88 h 223"/>
                <a:gd name="T48" fmla="*/ 33 w 417"/>
                <a:gd name="T49" fmla="*/ 81 h 223"/>
                <a:gd name="T50" fmla="*/ 4 w 417"/>
                <a:gd name="T51" fmla="*/ 56 h 223"/>
                <a:gd name="T52" fmla="*/ 22 w 417"/>
                <a:gd name="T53" fmla="*/ 38 h 223"/>
                <a:gd name="T54" fmla="*/ 66 w 417"/>
                <a:gd name="T55" fmla="*/ 31 h 223"/>
                <a:gd name="T56" fmla="*/ 102 w 417"/>
                <a:gd name="T57" fmla="*/ 21 h 223"/>
                <a:gd name="T58" fmla="*/ 129 w 417"/>
                <a:gd name="T59" fmla="*/ 11 h 223"/>
                <a:gd name="T60" fmla="*/ 173 w 417"/>
                <a:gd name="T61" fmla="*/ 4 h 223"/>
                <a:gd name="T62" fmla="*/ 223 w 417"/>
                <a:gd name="T63" fmla="*/ 6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17" h="223">
                  <a:moveTo>
                    <a:pt x="263" y="0"/>
                  </a:moveTo>
                  <a:lnTo>
                    <a:pt x="292" y="2"/>
                  </a:lnTo>
                  <a:lnTo>
                    <a:pt x="323" y="4"/>
                  </a:lnTo>
                  <a:lnTo>
                    <a:pt x="359" y="6"/>
                  </a:lnTo>
                  <a:lnTo>
                    <a:pt x="392" y="11"/>
                  </a:lnTo>
                  <a:lnTo>
                    <a:pt x="417" y="19"/>
                  </a:lnTo>
                  <a:lnTo>
                    <a:pt x="417" y="29"/>
                  </a:lnTo>
                  <a:lnTo>
                    <a:pt x="380" y="44"/>
                  </a:lnTo>
                  <a:lnTo>
                    <a:pt x="348" y="50"/>
                  </a:lnTo>
                  <a:lnTo>
                    <a:pt x="334" y="58"/>
                  </a:lnTo>
                  <a:lnTo>
                    <a:pt x="367" y="58"/>
                  </a:lnTo>
                  <a:lnTo>
                    <a:pt x="330" y="79"/>
                  </a:lnTo>
                  <a:lnTo>
                    <a:pt x="311" y="86"/>
                  </a:lnTo>
                  <a:lnTo>
                    <a:pt x="284" y="113"/>
                  </a:lnTo>
                  <a:lnTo>
                    <a:pt x="256" y="119"/>
                  </a:lnTo>
                  <a:lnTo>
                    <a:pt x="248" y="125"/>
                  </a:lnTo>
                  <a:lnTo>
                    <a:pt x="206" y="129"/>
                  </a:lnTo>
                  <a:lnTo>
                    <a:pt x="225" y="130"/>
                  </a:lnTo>
                  <a:lnTo>
                    <a:pt x="215" y="136"/>
                  </a:lnTo>
                  <a:lnTo>
                    <a:pt x="227" y="152"/>
                  </a:lnTo>
                  <a:lnTo>
                    <a:pt x="213" y="163"/>
                  </a:lnTo>
                  <a:lnTo>
                    <a:pt x="192" y="171"/>
                  </a:lnTo>
                  <a:lnTo>
                    <a:pt x="187" y="184"/>
                  </a:lnTo>
                  <a:lnTo>
                    <a:pt x="167" y="194"/>
                  </a:lnTo>
                  <a:lnTo>
                    <a:pt x="167" y="200"/>
                  </a:lnTo>
                  <a:lnTo>
                    <a:pt x="190" y="198"/>
                  </a:lnTo>
                  <a:lnTo>
                    <a:pt x="192" y="205"/>
                  </a:lnTo>
                  <a:lnTo>
                    <a:pt x="154" y="223"/>
                  </a:lnTo>
                  <a:lnTo>
                    <a:pt x="119" y="215"/>
                  </a:lnTo>
                  <a:lnTo>
                    <a:pt x="77" y="219"/>
                  </a:lnTo>
                  <a:lnTo>
                    <a:pt x="58" y="215"/>
                  </a:lnTo>
                  <a:lnTo>
                    <a:pt x="31" y="213"/>
                  </a:lnTo>
                  <a:lnTo>
                    <a:pt x="29" y="200"/>
                  </a:lnTo>
                  <a:lnTo>
                    <a:pt x="54" y="194"/>
                  </a:lnTo>
                  <a:lnTo>
                    <a:pt x="46" y="171"/>
                  </a:lnTo>
                  <a:lnTo>
                    <a:pt x="56" y="171"/>
                  </a:lnTo>
                  <a:lnTo>
                    <a:pt x="94" y="184"/>
                  </a:lnTo>
                  <a:lnTo>
                    <a:pt x="73" y="163"/>
                  </a:lnTo>
                  <a:lnTo>
                    <a:pt x="52" y="157"/>
                  </a:lnTo>
                  <a:lnTo>
                    <a:pt x="64" y="146"/>
                  </a:lnTo>
                  <a:lnTo>
                    <a:pt x="87" y="138"/>
                  </a:lnTo>
                  <a:lnTo>
                    <a:pt x="93" y="127"/>
                  </a:lnTo>
                  <a:lnTo>
                    <a:pt x="73" y="115"/>
                  </a:lnTo>
                  <a:lnTo>
                    <a:pt x="66" y="98"/>
                  </a:lnTo>
                  <a:lnTo>
                    <a:pt x="104" y="100"/>
                  </a:lnTo>
                  <a:lnTo>
                    <a:pt x="116" y="104"/>
                  </a:lnTo>
                  <a:lnTo>
                    <a:pt x="139" y="92"/>
                  </a:lnTo>
                  <a:lnTo>
                    <a:pt x="106" y="88"/>
                  </a:lnTo>
                  <a:lnTo>
                    <a:pt x="58" y="90"/>
                  </a:lnTo>
                  <a:lnTo>
                    <a:pt x="33" y="81"/>
                  </a:lnTo>
                  <a:lnTo>
                    <a:pt x="22" y="67"/>
                  </a:lnTo>
                  <a:lnTo>
                    <a:pt x="4" y="56"/>
                  </a:lnTo>
                  <a:lnTo>
                    <a:pt x="0" y="44"/>
                  </a:lnTo>
                  <a:lnTo>
                    <a:pt x="22" y="38"/>
                  </a:lnTo>
                  <a:lnTo>
                    <a:pt x="39" y="38"/>
                  </a:lnTo>
                  <a:lnTo>
                    <a:pt x="66" y="31"/>
                  </a:lnTo>
                  <a:lnTo>
                    <a:pt x="85" y="19"/>
                  </a:lnTo>
                  <a:lnTo>
                    <a:pt x="102" y="21"/>
                  </a:lnTo>
                  <a:lnTo>
                    <a:pt x="117" y="29"/>
                  </a:lnTo>
                  <a:lnTo>
                    <a:pt x="129" y="11"/>
                  </a:lnTo>
                  <a:lnTo>
                    <a:pt x="148" y="6"/>
                  </a:lnTo>
                  <a:lnTo>
                    <a:pt x="173" y="4"/>
                  </a:lnTo>
                  <a:lnTo>
                    <a:pt x="215" y="2"/>
                  </a:lnTo>
                  <a:lnTo>
                    <a:pt x="223" y="6"/>
                  </a:lnTo>
                  <a:lnTo>
                    <a:pt x="263" y="0"/>
                  </a:lnTo>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21" name="Freeform 239">
              <a:extLst>
                <a:ext uri="{FF2B5EF4-FFF2-40B4-BE49-F238E27FC236}">
                  <a16:creationId xmlns:a16="http://schemas.microsoft.com/office/drawing/2014/main" id="{0AD94A6C-E319-4953-AAA3-57E4494D0090}"/>
                </a:ext>
              </a:extLst>
            </p:cNvPr>
            <p:cNvSpPr>
              <a:spLocks/>
            </p:cNvSpPr>
            <p:nvPr/>
          </p:nvSpPr>
          <p:spPr bwMode="auto">
            <a:xfrm>
              <a:off x="2746375" y="1987465"/>
              <a:ext cx="1352550" cy="995813"/>
            </a:xfrm>
            <a:custGeom>
              <a:avLst/>
              <a:gdLst>
                <a:gd name="T0" fmla="*/ 731 w 852"/>
                <a:gd name="T1" fmla="*/ 30 h 627"/>
                <a:gd name="T2" fmla="*/ 577 w 852"/>
                <a:gd name="T3" fmla="*/ 49 h 627"/>
                <a:gd name="T4" fmla="*/ 675 w 852"/>
                <a:gd name="T5" fmla="*/ 63 h 627"/>
                <a:gd name="T6" fmla="*/ 698 w 852"/>
                <a:gd name="T7" fmla="*/ 84 h 627"/>
                <a:gd name="T8" fmla="*/ 844 w 852"/>
                <a:gd name="T9" fmla="*/ 67 h 627"/>
                <a:gd name="T10" fmla="*/ 786 w 852"/>
                <a:gd name="T11" fmla="*/ 109 h 627"/>
                <a:gd name="T12" fmla="*/ 758 w 852"/>
                <a:gd name="T13" fmla="*/ 140 h 627"/>
                <a:gd name="T14" fmla="*/ 763 w 852"/>
                <a:gd name="T15" fmla="*/ 213 h 627"/>
                <a:gd name="T16" fmla="*/ 746 w 852"/>
                <a:gd name="T17" fmla="*/ 239 h 627"/>
                <a:gd name="T18" fmla="*/ 752 w 852"/>
                <a:gd name="T19" fmla="*/ 289 h 627"/>
                <a:gd name="T20" fmla="*/ 733 w 852"/>
                <a:gd name="T21" fmla="*/ 312 h 627"/>
                <a:gd name="T22" fmla="*/ 710 w 852"/>
                <a:gd name="T23" fmla="*/ 335 h 627"/>
                <a:gd name="T24" fmla="*/ 683 w 852"/>
                <a:gd name="T25" fmla="*/ 335 h 627"/>
                <a:gd name="T26" fmla="*/ 713 w 852"/>
                <a:gd name="T27" fmla="*/ 366 h 627"/>
                <a:gd name="T28" fmla="*/ 683 w 852"/>
                <a:gd name="T29" fmla="*/ 380 h 627"/>
                <a:gd name="T30" fmla="*/ 654 w 852"/>
                <a:gd name="T31" fmla="*/ 397 h 627"/>
                <a:gd name="T32" fmla="*/ 673 w 852"/>
                <a:gd name="T33" fmla="*/ 420 h 627"/>
                <a:gd name="T34" fmla="*/ 577 w 852"/>
                <a:gd name="T35" fmla="*/ 447 h 627"/>
                <a:gd name="T36" fmla="*/ 514 w 852"/>
                <a:gd name="T37" fmla="*/ 499 h 627"/>
                <a:gd name="T38" fmla="*/ 466 w 852"/>
                <a:gd name="T39" fmla="*/ 512 h 627"/>
                <a:gd name="T40" fmla="*/ 454 w 852"/>
                <a:gd name="T41" fmla="*/ 539 h 627"/>
                <a:gd name="T42" fmla="*/ 431 w 852"/>
                <a:gd name="T43" fmla="*/ 589 h 627"/>
                <a:gd name="T44" fmla="*/ 397 w 852"/>
                <a:gd name="T45" fmla="*/ 627 h 627"/>
                <a:gd name="T46" fmla="*/ 335 w 852"/>
                <a:gd name="T47" fmla="*/ 598 h 627"/>
                <a:gd name="T48" fmla="*/ 295 w 852"/>
                <a:gd name="T49" fmla="*/ 537 h 627"/>
                <a:gd name="T50" fmla="*/ 280 w 852"/>
                <a:gd name="T51" fmla="*/ 479 h 627"/>
                <a:gd name="T52" fmla="*/ 303 w 852"/>
                <a:gd name="T53" fmla="*/ 433 h 627"/>
                <a:gd name="T54" fmla="*/ 297 w 852"/>
                <a:gd name="T55" fmla="*/ 412 h 627"/>
                <a:gd name="T56" fmla="*/ 261 w 852"/>
                <a:gd name="T57" fmla="*/ 412 h 627"/>
                <a:gd name="T58" fmla="*/ 278 w 852"/>
                <a:gd name="T59" fmla="*/ 380 h 627"/>
                <a:gd name="T60" fmla="*/ 268 w 852"/>
                <a:gd name="T61" fmla="*/ 364 h 627"/>
                <a:gd name="T62" fmla="*/ 259 w 852"/>
                <a:gd name="T63" fmla="*/ 335 h 627"/>
                <a:gd name="T64" fmla="*/ 224 w 852"/>
                <a:gd name="T65" fmla="*/ 278 h 627"/>
                <a:gd name="T66" fmla="*/ 169 w 852"/>
                <a:gd name="T67" fmla="*/ 239 h 627"/>
                <a:gd name="T68" fmla="*/ 67 w 852"/>
                <a:gd name="T69" fmla="*/ 239 h 627"/>
                <a:gd name="T70" fmla="*/ 63 w 852"/>
                <a:gd name="T71" fmla="*/ 205 h 627"/>
                <a:gd name="T72" fmla="*/ 0 w 852"/>
                <a:gd name="T73" fmla="*/ 182 h 627"/>
                <a:gd name="T74" fmla="*/ 107 w 852"/>
                <a:gd name="T75" fmla="*/ 140 h 627"/>
                <a:gd name="T76" fmla="*/ 86 w 852"/>
                <a:gd name="T77" fmla="*/ 105 h 627"/>
                <a:gd name="T78" fmla="*/ 149 w 852"/>
                <a:gd name="T79" fmla="*/ 65 h 627"/>
                <a:gd name="T80" fmla="*/ 266 w 852"/>
                <a:gd name="T81" fmla="*/ 49 h 627"/>
                <a:gd name="T82" fmla="*/ 353 w 852"/>
                <a:gd name="T83" fmla="*/ 55 h 627"/>
                <a:gd name="T84" fmla="*/ 368 w 852"/>
                <a:gd name="T85" fmla="*/ 49 h 627"/>
                <a:gd name="T86" fmla="*/ 466 w 852"/>
                <a:gd name="T87" fmla="*/ 17 h 6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852" h="627">
                  <a:moveTo>
                    <a:pt x="533" y="0"/>
                  </a:moveTo>
                  <a:lnTo>
                    <a:pt x="644" y="3"/>
                  </a:lnTo>
                  <a:lnTo>
                    <a:pt x="731" y="30"/>
                  </a:lnTo>
                  <a:lnTo>
                    <a:pt x="706" y="44"/>
                  </a:lnTo>
                  <a:lnTo>
                    <a:pt x="652" y="46"/>
                  </a:lnTo>
                  <a:lnTo>
                    <a:pt x="577" y="49"/>
                  </a:lnTo>
                  <a:lnTo>
                    <a:pt x="585" y="57"/>
                  </a:lnTo>
                  <a:lnTo>
                    <a:pt x="635" y="51"/>
                  </a:lnTo>
                  <a:lnTo>
                    <a:pt x="675" y="63"/>
                  </a:lnTo>
                  <a:lnTo>
                    <a:pt x="702" y="53"/>
                  </a:lnTo>
                  <a:lnTo>
                    <a:pt x="713" y="65"/>
                  </a:lnTo>
                  <a:lnTo>
                    <a:pt x="698" y="84"/>
                  </a:lnTo>
                  <a:lnTo>
                    <a:pt x="735" y="71"/>
                  </a:lnTo>
                  <a:lnTo>
                    <a:pt x="802" y="59"/>
                  </a:lnTo>
                  <a:lnTo>
                    <a:pt x="844" y="67"/>
                  </a:lnTo>
                  <a:lnTo>
                    <a:pt x="852" y="80"/>
                  </a:lnTo>
                  <a:lnTo>
                    <a:pt x="794" y="103"/>
                  </a:lnTo>
                  <a:lnTo>
                    <a:pt x="786" y="109"/>
                  </a:lnTo>
                  <a:lnTo>
                    <a:pt x="742" y="117"/>
                  </a:lnTo>
                  <a:lnTo>
                    <a:pt x="775" y="119"/>
                  </a:lnTo>
                  <a:lnTo>
                    <a:pt x="758" y="140"/>
                  </a:lnTo>
                  <a:lnTo>
                    <a:pt x="748" y="161"/>
                  </a:lnTo>
                  <a:lnTo>
                    <a:pt x="748" y="193"/>
                  </a:lnTo>
                  <a:lnTo>
                    <a:pt x="763" y="213"/>
                  </a:lnTo>
                  <a:lnTo>
                    <a:pt x="742" y="215"/>
                  </a:lnTo>
                  <a:lnTo>
                    <a:pt x="719" y="226"/>
                  </a:lnTo>
                  <a:lnTo>
                    <a:pt x="746" y="239"/>
                  </a:lnTo>
                  <a:lnTo>
                    <a:pt x="748" y="264"/>
                  </a:lnTo>
                  <a:lnTo>
                    <a:pt x="735" y="266"/>
                  </a:lnTo>
                  <a:lnTo>
                    <a:pt x="752" y="289"/>
                  </a:lnTo>
                  <a:lnTo>
                    <a:pt x="719" y="291"/>
                  </a:lnTo>
                  <a:lnTo>
                    <a:pt x="736" y="305"/>
                  </a:lnTo>
                  <a:lnTo>
                    <a:pt x="733" y="312"/>
                  </a:lnTo>
                  <a:lnTo>
                    <a:pt x="712" y="316"/>
                  </a:lnTo>
                  <a:lnTo>
                    <a:pt x="694" y="316"/>
                  </a:lnTo>
                  <a:lnTo>
                    <a:pt x="710" y="335"/>
                  </a:lnTo>
                  <a:lnTo>
                    <a:pt x="710" y="341"/>
                  </a:lnTo>
                  <a:lnTo>
                    <a:pt x="710" y="347"/>
                  </a:lnTo>
                  <a:lnTo>
                    <a:pt x="683" y="335"/>
                  </a:lnTo>
                  <a:lnTo>
                    <a:pt x="677" y="343"/>
                  </a:lnTo>
                  <a:lnTo>
                    <a:pt x="696" y="349"/>
                  </a:lnTo>
                  <a:lnTo>
                    <a:pt x="713" y="366"/>
                  </a:lnTo>
                  <a:lnTo>
                    <a:pt x="719" y="385"/>
                  </a:lnTo>
                  <a:lnTo>
                    <a:pt x="694" y="391"/>
                  </a:lnTo>
                  <a:lnTo>
                    <a:pt x="683" y="380"/>
                  </a:lnTo>
                  <a:lnTo>
                    <a:pt x="665" y="366"/>
                  </a:lnTo>
                  <a:lnTo>
                    <a:pt x="671" y="383"/>
                  </a:lnTo>
                  <a:lnTo>
                    <a:pt x="654" y="397"/>
                  </a:lnTo>
                  <a:lnTo>
                    <a:pt x="690" y="397"/>
                  </a:lnTo>
                  <a:lnTo>
                    <a:pt x="710" y="399"/>
                  </a:lnTo>
                  <a:lnTo>
                    <a:pt x="673" y="420"/>
                  </a:lnTo>
                  <a:lnTo>
                    <a:pt x="635" y="439"/>
                  </a:lnTo>
                  <a:lnTo>
                    <a:pt x="594" y="447"/>
                  </a:lnTo>
                  <a:lnTo>
                    <a:pt x="577" y="447"/>
                  </a:lnTo>
                  <a:lnTo>
                    <a:pt x="566" y="456"/>
                  </a:lnTo>
                  <a:lnTo>
                    <a:pt x="545" y="483"/>
                  </a:lnTo>
                  <a:lnTo>
                    <a:pt x="514" y="499"/>
                  </a:lnTo>
                  <a:lnTo>
                    <a:pt x="506" y="499"/>
                  </a:lnTo>
                  <a:lnTo>
                    <a:pt x="487" y="504"/>
                  </a:lnTo>
                  <a:lnTo>
                    <a:pt x="466" y="512"/>
                  </a:lnTo>
                  <a:lnTo>
                    <a:pt x="454" y="524"/>
                  </a:lnTo>
                  <a:lnTo>
                    <a:pt x="454" y="533"/>
                  </a:lnTo>
                  <a:lnTo>
                    <a:pt x="454" y="539"/>
                  </a:lnTo>
                  <a:lnTo>
                    <a:pt x="447" y="554"/>
                  </a:lnTo>
                  <a:lnTo>
                    <a:pt x="426" y="573"/>
                  </a:lnTo>
                  <a:lnTo>
                    <a:pt x="431" y="589"/>
                  </a:lnTo>
                  <a:lnTo>
                    <a:pt x="426" y="606"/>
                  </a:lnTo>
                  <a:lnTo>
                    <a:pt x="418" y="627"/>
                  </a:lnTo>
                  <a:lnTo>
                    <a:pt x="397" y="627"/>
                  </a:lnTo>
                  <a:lnTo>
                    <a:pt x="378" y="612"/>
                  </a:lnTo>
                  <a:lnTo>
                    <a:pt x="349" y="612"/>
                  </a:lnTo>
                  <a:lnTo>
                    <a:pt x="335" y="598"/>
                  </a:lnTo>
                  <a:lnTo>
                    <a:pt x="328" y="577"/>
                  </a:lnTo>
                  <a:lnTo>
                    <a:pt x="303" y="550"/>
                  </a:lnTo>
                  <a:lnTo>
                    <a:pt x="295" y="537"/>
                  </a:lnTo>
                  <a:lnTo>
                    <a:pt x="293" y="518"/>
                  </a:lnTo>
                  <a:lnTo>
                    <a:pt x="274" y="495"/>
                  </a:lnTo>
                  <a:lnTo>
                    <a:pt x="280" y="479"/>
                  </a:lnTo>
                  <a:lnTo>
                    <a:pt x="270" y="472"/>
                  </a:lnTo>
                  <a:lnTo>
                    <a:pt x="284" y="443"/>
                  </a:lnTo>
                  <a:lnTo>
                    <a:pt x="303" y="433"/>
                  </a:lnTo>
                  <a:lnTo>
                    <a:pt x="311" y="424"/>
                  </a:lnTo>
                  <a:lnTo>
                    <a:pt x="312" y="405"/>
                  </a:lnTo>
                  <a:lnTo>
                    <a:pt x="297" y="412"/>
                  </a:lnTo>
                  <a:lnTo>
                    <a:pt x="289" y="418"/>
                  </a:lnTo>
                  <a:lnTo>
                    <a:pt x="278" y="420"/>
                  </a:lnTo>
                  <a:lnTo>
                    <a:pt x="261" y="412"/>
                  </a:lnTo>
                  <a:lnTo>
                    <a:pt x="259" y="395"/>
                  </a:lnTo>
                  <a:lnTo>
                    <a:pt x="264" y="382"/>
                  </a:lnTo>
                  <a:lnTo>
                    <a:pt x="278" y="380"/>
                  </a:lnTo>
                  <a:lnTo>
                    <a:pt x="305" y="387"/>
                  </a:lnTo>
                  <a:lnTo>
                    <a:pt x="284" y="372"/>
                  </a:lnTo>
                  <a:lnTo>
                    <a:pt x="268" y="364"/>
                  </a:lnTo>
                  <a:lnTo>
                    <a:pt x="255" y="368"/>
                  </a:lnTo>
                  <a:lnTo>
                    <a:pt x="243" y="360"/>
                  </a:lnTo>
                  <a:lnTo>
                    <a:pt x="259" y="335"/>
                  </a:lnTo>
                  <a:lnTo>
                    <a:pt x="251" y="328"/>
                  </a:lnTo>
                  <a:lnTo>
                    <a:pt x="241" y="307"/>
                  </a:lnTo>
                  <a:lnTo>
                    <a:pt x="224" y="278"/>
                  </a:lnTo>
                  <a:lnTo>
                    <a:pt x="205" y="268"/>
                  </a:lnTo>
                  <a:lnTo>
                    <a:pt x="205" y="257"/>
                  </a:lnTo>
                  <a:lnTo>
                    <a:pt x="169" y="239"/>
                  </a:lnTo>
                  <a:lnTo>
                    <a:pt x="138" y="239"/>
                  </a:lnTo>
                  <a:lnTo>
                    <a:pt x="101" y="239"/>
                  </a:lnTo>
                  <a:lnTo>
                    <a:pt x="67" y="239"/>
                  </a:lnTo>
                  <a:lnTo>
                    <a:pt x="51" y="232"/>
                  </a:lnTo>
                  <a:lnTo>
                    <a:pt x="27" y="213"/>
                  </a:lnTo>
                  <a:lnTo>
                    <a:pt x="63" y="205"/>
                  </a:lnTo>
                  <a:lnTo>
                    <a:pt x="92" y="203"/>
                  </a:lnTo>
                  <a:lnTo>
                    <a:pt x="32" y="195"/>
                  </a:lnTo>
                  <a:lnTo>
                    <a:pt x="0" y="182"/>
                  </a:lnTo>
                  <a:lnTo>
                    <a:pt x="2" y="170"/>
                  </a:lnTo>
                  <a:lnTo>
                    <a:pt x="55" y="155"/>
                  </a:lnTo>
                  <a:lnTo>
                    <a:pt x="107" y="140"/>
                  </a:lnTo>
                  <a:lnTo>
                    <a:pt x="113" y="130"/>
                  </a:lnTo>
                  <a:lnTo>
                    <a:pt x="74" y="119"/>
                  </a:lnTo>
                  <a:lnTo>
                    <a:pt x="86" y="105"/>
                  </a:lnTo>
                  <a:lnTo>
                    <a:pt x="136" y="84"/>
                  </a:lnTo>
                  <a:lnTo>
                    <a:pt x="155" y="78"/>
                  </a:lnTo>
                  <a:lnTo>
                    <a:pt x="149" y="65"/>
                  </a:lnTo>
                  <a:lnTo>
                    <a:pt x="182" y="55"/>
                  </a:lnTo>
                  <a:lnTo>
                    <a:pt x="226" y="49"/>
                  </a:lnTo>
                  <a:lnTo>
                    <a:pt x="266" y="49"/>
                  </a:lnTo>
                  <a:lnTo>
                    <a:pt x="284" y="59"/>
                  </a:lnTo>
                  <a:lnTo>
                    <a:pt x="320" y="42"/>
                  </a:lnTo>
                  <a:lnTo>
                    <a:pt x="353" y="55"/>
                  </a:lnTo>
                  <a:lnTo>
                    <a:pt x="372" y="57"/>
                  </a:lnTo>
                  <a:lnTo>
                    <a:pt x="401" y="69"/>
                  </a:lnTo>
                  <a:lnTo>
                    <a:pt x="368" y="49"/>
                  </a:lnTo>
                  <a:lnTo>
                    <a:pt x="370" y="34"/>
                  </a:lnTo>
                  <a:lnTo>
                    <a:pt x="418" y="15"/>
                  </a:lnTo>
                  <a:lnTo>
                    <a:pt x="466" y="17"/>
                  </a:lnTo>
                  <a:lnTo>
                    <a:pt x="483" y="2"/>
                  </a:lnTo>
                  <a:lnTo>
                    <a:pt x="533" y="0"/>
                  </a:lnTo>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22" name="Freeform 241">
              <a:extLst>
                <a:ext uri="{FF2B5EF4-FFF2-40B4-BE49-F238E27FC236}">
                  <a16:creationId xmlns:a16="http://schemas.microsoft.com/office/drawing/2014/main" id="{E7E7E5D4-4A66-4135-9814-DE09944A66A9}"/>
                </a:ext>
              </a:extLst>
            </p:cNvPr>
            <p:cNvSpPr>
              <a:spLocks/>
            </p:cNvSpPr>
            <p:nvPr/>
          </p:nvSpPr>
          <p:spPr bwMode="auto">
            <a:xfrm>
              <a:off x="665164" y="2973749"/>
              <a:ext cx="39688" cy="22235"/>
            </a:xfrm>
            <a:custGeom>
              <a:avLst/>
              <a:gdLst>
                <a:gd name="T0" fmla="*/ 14 w 25"/>
                <a:gd name="T1" fmla="*/ 0 h 14"/>
                <a:gd name="T2" fmla="*/ 25 w 25"/>
                <a:gd name="T3" fmla="*/ 2 h 14"/>
                <a:gd name="T4" fmla="*/ 25 w 25"/>
                <a:gd name="T5" fmla="*/ 10 h 14"/>
                <a:gd name="T6" fmla="*/ 17 w 25"/>
                <a:gd name="T7" fmla="*/ 14 h 14"/>
                <a:gd name="T8" fmla="*/ 8 w 25"/>
                <a:gd name="T9" fmla="*/ 8 h 14"/>
                <a:gd name="T10" fmla="*/ 0 w 25"/>
                <a:gd name="T11" fmla="*/ 4 h 14"/>
                <a:gd name="T12" fmla="*/ 14 w 25"/>
                <a:gd name="T13" fmla="*/ 0 h 14"/>
              </a:gdLst>
              <a:ahLst/>
              <a:cxnLst>
                <a:cxn ang="0">
                  <a:pos x="T0" y="T1"/>
                </a:cxn>
                <a:cxn ang="0">
                  <a:pos x="T2" y="T3"/>
                </a:cxn>
                <a:cxn ang="0">
                  <a:pos x="T4" y="T5"/>
                </a:cxn>
                <a:cxn ang="0">
                  <a:pos x="T6" y="T7"/>
                </a:cxn>
                <a:cxn ang="0">
                  <a:pos x="T8" y="T9"/>
                </a:cxn>
                <a:cxn ang="0">
                  <a:pos x="T10" y="T11"/>
                </a:cxn>
                <a:cxn ang="0">
                  <a:pos x="T12" y="T13"/>
                </a:cxn>
              </a:cxnLst>
              <a:rect l="0" t="0" r="r" b="b"/>
              <a:pathLst>
                <a:path w="25" h="14">
                  <a:moveTo>
                    <a:pt x="14" y="0"/>
                  </a:moveTo>
                  <a:lnTo>
                    <a:pt x="25" y="2"/>
                  </a:lnTo>
                  <a:lnTo>
                    <a:pt x="25" y="10"/>
                  </a:lnTo>
                  <a:lnTo>
                    <a:pt x="17" y="14"/>
                  </a:lnTo>
                  <a:lnTo>
                    <a:pt x="8" y="8"/>
                  </a:lnTo>
                  <a:lnTo>
                    <a:pt x="0" y="4"/>
                  </a:lnTo>
                  <a:lnTo>
                    <a:pt x="14" y="0"/>
                  </a:lnTo>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23" name="Freeform 243">
              <a:extLst>
                <a:ext uri="{FF2B5EF4-FFF2-40B4-BE49-F238E27FC236}">
                  <a16:creationId xmlns:a16="http://schemas.microsoft.com/office/drawing/2014/main" id="{35290ABB-7037-4330-B66F-01176C819103}"/>
                </a:ext>
              </a:extLst>
            </p:cNvPr>
            <p:cNvSpPr>
              <a:spLocks/>
            </p:cNvSpPr>
            <p:nvPr/>
          </p:nvSpPr>
          <p:spPr bwMode="auto">
            <a:xfrm>
              <a:off x="571501" y="2857808"/>
              <a:ext cx="66675" cy="28588"/>
            </a:xfrm>
            <a:custGeom>
              <a:avLst/>
              <a:gdLst>
                <a:gd name="T0" fmla="*/ 0 w 42"/>
                <a:gd name="T1" fmla="*/ 0 h 18"/>
                <a:gd name="T2" fmla="*/ 7 w 42"/>
                <a:gd name="T3" fmla="*/ 4 h 18"/>
                <a:gd name="T4" fmla="*/ 17 w 42"/>
                <a:gd name="T5" fmla="*/ 2 h 18"/>
                <a:gd name="T6" fmla="*/ 28 w 42"/>
                <a:gd name="T7" fmla="*/ 8 h 18"/>
                <a:gd name="T8" fmla="*/ 42 w 42"/>
                <a:gd name="T9" fmla="*/ 12 h 18"/>
                <a:gd name="T10" fmla="*/ 40 w 42"/>
                <a:gd name="T11" fmla="*/ 12 h 18"/>
                <a:gd name="T12" fmla="*/ 30 w 42"/>
                <a:gd name="T13" fmla="*/ 18 h 18"/>
                <a:gd name="T14" fmla="*/ 21 w 42"/>
                <a:gd name="T15" fmla="*/ 12 h 18"/>
                <a:gd name="T16" fmla="*/ 15 w 42"/>
                <a:gd name="T17" fmla="*/ 10 h 18"/>
                <a:gd name="T18" fmla="*/ 2 w 42"/>
                <a:gd name="T19" fmla="*/ 10 h 18"/>
                <a:gd name="T20" fmla="*/ 0 w 42"/>
                <a:gd name="T21" fmla="*/ 8 h 18"/>
                <a:gd name="T22" fmla="*/ 0 w 42"/>
                <a:gd name="T2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2" h="18">
                  <a:moveTo>
                    <a:pt x="0" y="0"/>
                  </a:moveTo>
                  <a:lnTo>
                    <a:pt x="7" y="4"/>
                  </a:lnTo>
                  <a:lnTo>
                    <a:pt x="17" y="2"/>
                  </a:lnTo>
                  <a:lnTo>
                    <a:pt x="28" y="8"/>
                  </a:lnTo>
                  <a:lnTo>
                    <a:pt x="42" y="12"/>
                  </a:lnTo>
                  <a:lnTo>
                    <a:pt x="40" y="12"/>
                  </a:lnTo>
                  <a:lnTo>
                    <a:pt x="30" y="18"/>
                  </a:lnTo>
                  <a:lnTo>
                    <a:pt x="21" y="12"/>
                  </a:lnTo>
                  <a:lnTo>
                    <a:pt x="15" y="10"/>
                  </a:lnTo>
                  <a:lnTo>
                    <a:pt x="2" y="10"/>
                  </a:lnTo>
                  <a:lnTo>
                    <a:pt x="0" y="8"/>
                  </a:lnTo>
                  <a:lnTo>
                    <a:pt x="0" y="0"/>
                  </a:lnTo>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224" name="Rectangle 223">
            <a:extLst>
              <a:ext uri="{FF2B5EF4-FFF2-40B4-BE49-F238E27FC236}">
                <a16:creationId xmlns:a16="http://schemas.microsoft.com/office/drawing/2014/main" id="{C69EC4AE-281A-46D9-873E-07BB1E51B05A}"/>
              </a:ext>
            </a:extLst>
          </p:cNvPr>
          <p:cNvSpPr/>
          <p:nvPr userDrawn="1"/>
        </p:nvSpPr>
        <p:spPr>
          <a:xfrm flipV="1">
            <a:off x="974274" y="3227405"/>
            <a:ext cx="10243456" cy="1245901"/>
          </a:xfrm>
          <a:prstGeom prst="rect">
            <a:avLst/>
          </a:prstGeom>
          <a:gradFill flip="none" rotWithShape="1">
            <a:gsLst>
              <a:gs pos="0">
                <a:schemeClr val="bg1"/>
              </a:gs>
              <a:gs pos="49000">
                <a:schemeClr val="bg1">
                  <a:alpha val="60000"/>
                </a:schemeClr>
              </a:gs>
              <a:gs pos="100000">
                <a:schemeClr val="bg1">
                  <a:alpha val="0"/>
                </a:schemeClr>
              </a:gs>
            </a:gsLst>
            <a:lin ang="16200000" scaled="1"/>
            <a:tileRect/>
          </a:gra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sz="1800"/>
          </a:p>
        </p:txBody>
      </p:sp>
      <p:sp>
        <p:nvSpPr>
          <p:cNvPr id="225" name="Title 1">
            <a:extLst>
              <a:ext uri="{FF2B5EF4-FFF2-40B4-BE49-F238E27FC236}">
                <a16:creationId xmlns:a16="http://schemas.microsoft.com/office/drawing/2014/main" id="{35737774-FF6C-4629-B50A-18CFF24C5375}"/>
              </a:ext>
            </a:extLst>
          </p:cNvPr>
          <p:cNvSpPr>
            <a:spLocks noGrp="1"/>
          </p:cNvSpPr>
          <p:nvPr>
            <p:ph type="ctrTitle" hasCustomPrompt="1"/>
          </p:nvPr>
        </p:nvSpPr>
        <p:spPr>
          <a:xfrm>
            <a:off x="1929251" y="1929170"/>
            <a:ext cx="3504407" cy="220414"/>
          </a:xfrm>
        </p:spPr>
        <p:txBody>
          <a:bodyPr vert="horz" anchor="ctr" anchorCtr="0"/>
          <a:lstStyle>
            <a:lvl1pPr algn="r">
              <a:defRPr sz="1100" b="0" spc="0" baseline="0">
                <a:solidFill>
                  <a:schemeClr val="tx1"/>
                </a:solidFill>
              </a:defRPr>
            </a:lvl1pPr>
          </a:lstStyle>
          <a:p>
            <a:r>
              <a:rPr lang="en-US"/>
              <a:t>Type Name 1, Title</a:t>
            </a:r>
          </a:p>
        </p:txBody>
      </p:sp>
      <p:sp>
        <p:nvSpPr>
          <p:cNvPr id="226" name="Text Placeholder 12">
            <a:extLst>
              <a:ext uri="{FF2B5EF4-FFF2-40B4-BE49-F238E27FC236}">
                <a16:creationId xmlns:a16="http://schemas.microsoft.com/office/drawing/2014/main" id="{763DFA56-A75B-4906-9775-8AAB400E4C31}"/>
              </a:ext>
            </a:extLst>
          </p:cNvPr>
          <p:cNvSpPr>
            <a:spLocks noGrp="1"/>
          </p:cNvSpPr>
          <p:nvPr>
            <p:ph type="body" sz="quarter" idx="10" hasCustomPrompt="1"/>
          </p:nvPr>
        </p:nvSpPr>
        <p:spPr>
          <a:xfrm>
            <a:off x="1929251" y="2161154"/>
            <a:ext cx="3504407" cy="220414"/>
          </a:xfrm>
        </p:spPr>
        <p:txBody>
          <a:bodyPr anchor="ctr">
            <a:noAutofit/>
          </a:bodyPr>
          <a:lstStyle>
            <a:lvl1pPr algn="r">
              <a:buNone/>
              <a:defRPr sz="1100">
                <a:solidFill>
                  <a:schemeClr val="accent1"/>
                </a:solidFill>
              </a:defRPr>
            </a:lvl1pPr>
            <a:lvl2pPr>
              <a:defRPr sz="1200">
                <a:solidFill>
                  <a:schemeClr val="accent2"/>
                </a:solidFill>
              </a:defRPr>
            </a:lvl2pPr>
            <a:lvl3pPr>
              <a:defRPr sz="1200">
                <a:solidFill>
                  <a:schemeClr val="accent2"/>
                </a:solidFill>
              </a:defRPr>
            </a:lvl3pPr>
            <a:lvl4pPr>
              <a:defRPr sz="1200">
                <a:solidFill>
                  <a:schemeClr val="accent2"/>
                </a:solidFill>
              </a:defRPr>
            </a:lvl4pPr>
            <a:lvl5pPr>
              <a:defRPr sz="1200">
                <a:solidFill>
                  <a:schemeClr val="accent2"/>
                </a:solidFill>
              </a:defRPr>
            </a:lvl5pPr>
          </a:lstStyle>
          <a:p>
            <a:pPr lvl="0"/>
            <a:r>
              <a:rPr lang="en-US"/>
              <a:t>Type Email</a:t>
            </a:r>
          </a:p>
        </p:txBody>
      </p:sp>
      <p:sp>
        <p:nvSpPr>
          <p:cNvPr id="227" name="Text Placeholder 12">
            <a:extLst>
              <a:ext uri="{FF2B5EF4-FFF2-40B4-BE49-F238E27FC236}">
                <a16:creationId xmlns:a16="http://schemas.microsoft.com/office/drawing/2014/main" id="{1F8CE907-3C90-41EB-91C7-DA18FA106401}"/>
              </a:ext>
            </a:extLst>
          </p:cNvPr>
          <p:cNvSpPr>
            <a:spLocks noGrp="1"/>
          </p:cNvSpPr>
          <p:nvPr>
            <p:ph type="body" sz="quarter" idx="11" hasCustomPrompt="1"/>
          </p:nvPr>
        </p:nvSpPr>
        <p:spPr>
          <a:xfrm>
            <a:off x="1929251" y="2956917"/>
            <a:ext cx="3504407" cy="220414"/>
          </a:xfrm>
        </p:spPr>
        <p:txBody>
          <a:bodyPr anchor="ctr">
            <a:noAutofit/>
          </a:bodyPr>
          <a:lstStyle>
            <a:lvl1pPr algn="r">
              <a:buNone/>
              <a:defRPr sz="1100">
                <a:solidFill>
                  <a:schemeClr val="accent1"/>
                </a:solidFill>
              </a:defRPr>
            </a:lvl1pPr>
            <a:lvl2pPr>
              <a:defRPr sz="1200">
                <a:solidFill>
                  <a:schemeClr val="accent2"/>
                </a:solidFill>
              </a:defRPr>
            </a:lvl2pPr>
            <a:lvl3pPr>
              <a:defRPr sz="1200">
                <a:solidFill>
                  <a:schemeClr val="accent2"/>
                </a:solidFill>
              </a:defRPr>
            </a:lvl3pPr>
            <a:lvl4pPr>
              <a:defRPr sz="1200">
                <a:solidFill>
                  <a:schemeClr val="accent2"/>
                </a:solidFill>
              </a:defRPr>
            </a:lvl4pPr>
            <a:lvl5pPr>
              <a:defRPr sz="1200">
                <a:solidFill>
                  <a:schemeClr val="accent2"/>
                </a:solidFill>
              </a:defRPr>
            </a:lvl5pPr>
          </a:lstStyle>
          <a:p>
            <a:pPr lvl="0"/>
            <a:r>
              <a:rPr lang="en-US"/>
              <a:t>Type Email</a:t>
            </a:r>
          </a:p>
        </p:txBody>
      </p:sp>
      <p:sp>
        <p:nvSpPr>
          <p:cNvPr id="228" name="Text Placeholder 12">
            <a:extLst>
              <a:ext uri="{FF2B5EF4-FFF2-40B4-BE49-F238E27FC236}">
                <a16:creationId xmlns:a16="http://schemas.microsoft.com/office/drawing/2014/main" id="{B4D241AA-6FF3-4200-BFC4-3729D0603CFF}"/>
              </a:ext>
            </a:extLst>
          </p:cNvPr>
          <p:cNvSpPr>
            <a:spLocks noGrp="1"/>
          </p:cNvSpPr>
          <p:nvPr>
            <p:ph type="body" sz="quarter" idx="12" hasCustomPrompt="1"/>
          </p:nvPr>
        </p:nvSpPr>
        <p:spPr>
          <a:xfrm>
            <a:off x="1929251" y="3744054"/>
            <a:ext cx="3504407" cy="220414"/>
          </a:xfrm>
        </p:spPr>
        <p:txBody>
          <a:bodyPr anchor="ctr">
            <a:noAutofit/>
          </a:bodyPr>
          <a:lstStyle>
            <a:lvl1pPr algn="r">
              <a:buNone/>
              <a:defRPr sz="1100">
                <a:solidFill>
                  <a:schemeClr val="accent1"/>
                </a:solidFill>
              </a:defRPr>
            </a:lvl1pPr>
            <a:lvl2pPr>
              <a:defRPr sz="1200">
                <a:solidFill>
                  <a:schemeClr val="accent2"/>
                </a:solidFill>
              </a:defRPr>
            </a:lvl2pPr>
            <a:lvl3pPr>
              <a:defRPr sz="1200">
                <a:solidFill>
                  <a:schemeClr val="accent2"/>
                </a:solidFill>
              </a:defRPr>
            </a:lvl3pPr>
            <a:lvl4pPr>
              <a:defRPr sz="1200">
                <a:solidFill>
                  <a:schemeClr val="accent2"/>
                </a:solidFill>
              </a:defRPr>
            </a:lvl4pPr>
            <a:lvl5pPr>
              <a:defRPr sz="1200">
                <a:solidFill>
                  <a:schemeClr val="accent2"/>
                </a:solidFill>
              </a:defRPr>
            </a:lvl5pPr>
          </a:lstStyle>
          <a:p>
            <a:pPr lvl="0"/>
            <a:r>
              <a:rPr lang="en-US"/>
              <a:t>Type Email</a:t>
            </a:r>
          </a:p>
        </p:txBody>
      </p:sp>
      <p:sp>
        <p:nvSpPr>
          <p:cNvPr id="229" name="Text Placeholder 12">
            <a:extLst>
              <a:ext uri="{FF2B5EF4-FFF2-40B4-BE49-F238E27FC236}">
                <a16:creationId xmlns:a16="http://schemas.microsoft.com/office/drawing/2014/main" id="{F6C3451D-9208-4A3A-9A11-2DDE6C330EC8}"/>
              </a:ext>
            </a:extLst>
          </p:cNvPr>
          <p:cNvSpPr>
            <a:spLocks noGrp="1"/>
          </p:cNvSpPr>
          <p:nvPr>
            <p:ph type="body" sz="quarter" idx="26" hasCustomPrompt="1"/>
          </p:nvPr>
        </p:nvSpPr>
        <p:spPr>
          <a:xfrm>
            <a:off x="1929251" y="4531191"/>
            <a:ext cx="3504407" cy="220414"/>
          </a:xfrm>
        </p:spPr>
        <p:txBody>
          <a:bodyPr anchor="ctr">
            <a:noAutofit/>
          </a:bodyPr>
          <a:lstStyle>
            <a:lvl1pPr algn="r">
              <a:buNone/>
              <a:defRPr sz="1100">
                <a:solidFill>
                  <a:schemeClr val="accent1"/>
                </a:solidFill>
              </a:defRPr>
            </a:lvl1pPr>
            <a:lvl2pPr>
              <a:defRPr sz="1200">
                <a:solidFill>
                  <a:schemeClr val="accent2"/>
                </a:solidFill>
              </a:defRPr>
            </a:lvl2pPr>
            <a:lvl3pPr>
              <a:defRPr sz="1200">
                <a:solidFill>
                  <a:schemeClr val="accent2"/>
                </a:solidFill>
              </a:defRPr>
            </a:lvl3pPr>
            <a:lvl4pPr>
              <a:defRPr sz="1200">
                <a:solidFill>
                  <a:schemeClr val="accent2"/>
                </a:solidFill>
              </a:defRPr>
            </a:lvl4pPr>
            <a:lvl5pPr>
              <a:defRPr sz="1200">
                <a:solidFill>
                  <a:schemeClr val="accent2"/>
                </a:solidFill>
              </a:defRPr>
            </a:lvl5pPr>
          </a:lstStyle>
          <a:p>
            <a:pPr lvl="0"/>
            <a:r>
              <a:rPr lang="en-US"/>
              <a:t>Type Email</a:t>
            </a:r>
          </a:p>
        </p:txBody>
      </p:sp>
      <p:sp>
        <p:nvSpPr>
          <p:cNvPr id="230" name="Text Placeholder 12">
            <a:extLst>
              <a:ext uri="{FF2B5EF4-FFF2-40B4-BE49-F238E27FC236}">
                <a16:creationId xmlns:a16="http://schemas.microsoft.com/office/drawing/2014/main" id="{6E2907FF-2C7C-460B-B05F-BE4B56F1C815}"/>
              </a:ext>
            </a:extLst>
          </p:cNvPr>
          <p:cNvSpPr>
            <a:spLocks noGrp="1"/>
          </p:cNvSpPr>
          <p:nvPr>
            <p:ph type="body" sz="quarter" idx="15" hasCustomPrompt="1"/>
          </p:nvPr>
        </p:nvSpPr>
        <p:spPr>
          <a:xfrm>
            <a:off x="1929251" y="2724933"/>
            <a:ext cx="3504407" cy="220414"/>
          </a:xfrm>
        </p:spPr>
        <p:txBody>
          <a:bodyPr anchor="ctr">
            <a:noAutofit/>
          </a:bodyPr>
          <a:lstStyle>
            <a:lvl1pPr algn="r">
              <a:buNone/>
              <a:defRPr sz="1100">
                <a:solidFill>
                  <a:schemeClr val="tx1"/>
                </a:solidFill>
              </a:defRPr>
            </a:lvl1pPr>
            <a:lvl2pPr>
              <a:defRPr sz="1200">
                <a:solidFill>
                  <a:schemeClr val="accent2"/>
                </a:solidFill>
              </a:defRPr>
            </a:lvl2pPr>
            <a:lvl3pPr>
              <a:defRPr sz="1200">
                <a:solidFill>
                  <a:schemeClr val="accent2"/>
                </a:solidFill>
              </a:defRPr>
            </a:lvl3pPr>
            <a:lvl4pPr>
              <a:defRPr sz="1200">
                <a:solidFill>
                  <a:schemeClr val="accent2"/>
                </a:solidFill>
              </a:defRPr>
            </a:lvl4pPr>
            <a:lvl5pPr>
              <a:defRPr sz="1200">
                <a:solidFill>
                  <a:schemeClr val="accent2"/>
                </a:solidFill>
              </a:defRPr>
            </a:lvl5pPr>
          </a:lstStyle>
          <a:p>
            <a:pPr lvl="0"/>
            <a:r>
              <a:rPr lang="en-US"/>
              <a:t>Type Name 3, Title</a:t>
            </a:r>
          </a:p>
        </p:txBody>
      </p:sp>
      <p:sp>
        <p:nvSpPr>
          <p:cNvPr id="231" name="Text Placeholder 12">
            <a:extLst>
              <a:ext uri="{FF2B5EF4-FFF2-40B4-BE49-F238E27FC236}">
                <a16:creationId xmlns:a16="http://schemas.microsoft.com/office/drawing/2014/main" id="{78719E91-891E-4FAB-9142-5F2DD1E252F5}"/>
              </a:ext>
            </a:extLst>
          </p:cNvPr>
          <p:cNvSpPr>
            <a:spLocks noGrp="1"/>
          </p:cNvSpPr>
          <p:nvPr>
            <p:ph type="body" sz="quarter" idx="16" hasCustomPrompt="1"/>
          </p:nvPr>
        </p:nvSpPr>
        <p:spPr>
          <a:xfrm>
            <a:off x="1929251" y="3512070"/>
            <a:ext cx="3504407" cy="220414"/>
          </a:xfrm>
        </p:spPr>
        <p:txBody>
          <a:bodyPr anchor="ctr">
            <a:noAutofit/>
          </a:bodyPr>
          <a:lstStyle>
            <a:lvl1pPr algn="r">
              <a:buNone/>
              <a:defRPr sz="1100">
                <a:solidFill>
                  <a:schemeClr val="tx1"/>
                </a:solidFill>
              </a:defRPr>
            </a:lvl1pPr>
            <a:lvl2pPr>
              <a:defRPr sz="1200">
                <a:solidFill>
                  <a:schemeClr val="accent2"/>
                </a:solidFill>
              </a:defRPr>
            </a:lvl2pPr>
            <a:lvl3pPr>
              <a:defRPr sz="1200">
                <a:solidFill>
                  <a:schemeClr val="accent2"/>
                </a:solidFill>
              </a:defRPr>
            </a:lvl3pPr>
            <a:lvl4pPr>
              <a:defRPr sz="1200">
                <a:solidFill>
                  <a:schemeClr val="accent2"/>
                </a:solidFill>
              </a:defRPr>
            </a:lvl4pPr>
            <a:lvl5pPr>
              <a:defRPr sz="1200">
                <a:solidFill>
                  <a:schemeClr val="accent2"/>
                </a:solidFill>
              </a:defRPr>
            </a:lvl5pPr>
          </a:lstStyle>
          <a:p>
            <a:pPr lvl="0"/>
            <a:r>
              <a:rPr lang="en-US"/>
              <a:t>Type Name 5, Title</a:t>
            </a:r>
          </a:p>
        </p:txBody>
      </p:sp>
      <p:sp>
        <p:nvSpPr>
          <p:cNvPr id="232" name="Text Placeholder 12">
            <a:extLst>
              <a:ext uri="{FF2B5EF4-FFF2-40B4-BE49-F238E27FC236}">
                <a16:creationId xmlns:a16="http://schemas.microsoft.com/office/drawing/2014/main" id="{7F77393C-C96C-4DF6-9050-4B3C3FB2C5EF}"/>
              </a:ext>
            </a:extLst>
          </p:cNvPr>
          <p:cNvSpPr>
            <a:spLocks noGrp="1"/>
          </p:cNvSpPr>
          <p:nvPr>
            <p:ph type="body" sz="quarter" idx="27" hasCustomPrompt="1"/>
          </p:nvPr>
        </p:nvSpPr>
        <p:spPr>
          <a:xfrm>
            <a:off x="1929251" y="4299207"/>
            <a:ext cx="3504407" cy="220414"/>
          </a:xfrm>
        </p:spPr>
        <p:txBody>
          <a:bodyPr anchor="ctr">
            <a:noAutofit/>
          </a:bodyPr>
          <a:lstStyle>
            <a:lvl1pPr algn="r">
              <a:buNone/>
              <a:defRPr sz="1100">
                <a:solidFill>
                  <a:schemeClr val="tx1"/>
                </a:solidFill>
              </a:defRPr>
            </a:lvl1pPr>
            <a:lvl2pPr>
              <a:defRPr sz="1200">
                <a:solidFill>
                  <a:schemeClr val="accent2"/>
                </a:solidFill>
              </a:defRPr>
            </a:lvl2pPr>
            <a:lvl3pPr>
              <a:defRPr sz="1200">
                <a:solidFill>
                  <a:schemeClr val="accent2"/>
                </a:solidFill>
              </a:defRPr>
            </a:lvl3pPr>
            <a:lvl4pPr>
              <a:defRPr sz="1200">
                <a:solidFill>
                  <a:schemeClr val="accent2"/>
                </a:solidFill>
              </a:defRPr>
            </a:lvl4pPr>
            <a:lvl5pPr>
              <a:defRPr sz="1200">
                <a:solidFill>
                  <a:schemeClr val="accent2"/>
                </a:solidFill>
              </a:defRPr>
            </a:lvl5pPr>
          </a:lstStyle>
          <a:p>
            <a:pPr lvl="0"/>
            <a:r>
              <a:rPr lang="en-US"/>
              <a:t>Type Name 7, Title</a:t>
            </a:r>
          </a:p>
        </p:txBody>
      </p:sp>
      <p:sp>
        <p:nvSpPr>
          <p:cNvPr id="233" name="Text Placeholder 12">
            <a:extLst>
              <a:ext uri="{FF2B5EF4-FFF2-40B4-BE49-F238E27FC236}">
                <a16:creationId xmlns:a16="http://schemas.microsoft.com/office/drawing/2014/main" id="{BA4218A5-F5D0-4116-B615-8D1922502525}"/>
              </a:ext>
            </a:extLst>
          </p:cNvPr>
          <p:cNvSpPr>
            <a:spLocks noGrp="1"/>
          </p:cNvSpPr>
          <p:nvPr>
            <p:ph type="body" sz="quarter" idx="28" hasCustomPrompt="1"/>
          </p:nvPr>
        </p:nvSpPr>
        <p:spPr>
          <a:xfrm>
            <a:off x="6806051" y="2161154"/>
            <a:ext cx="3504407" cy="220414"/>
          </a:xfrm>
        </p:spPr>
        <p:txBody>
          <a:bodyPr anchor="ctr">
            <a:noAutofit/>
          </a:bodyPr>
          <a:lstStyle>
            <a:lvl1pPr>
              <a:buNone/>
              <a:defRPr sz="1100">
                <a:solidFill>
                  <a:schemeClr val="accent1"/>
                </a:solidFill>
              </a:defRPr>
            </a:lvl1pPr>
            <a:lvl2pPr>
              <a:defRPr sz="1200">
                <a:solidFill>
                  <a:schemeClr val="accent2"/>
                </a:solidFill>
              </a:defRPr>
            </a:lvl2pPr>
            <a:lvl3pPr>
              <a:defRPr sz="1200">
                <a:solidFill>
                  <a:schemeClr val="accent2"/>
                </a:solidFill>
              </a:defRPr>
            </a:lvl3pPr>
            <a:lvl4pPr>
              <a:defRPr sz="1200">
                <a:solidFill>
                  <a:schemeClr val="accent2"/>
                </a:solidFill>
              </a:defRPr>
            </a:lvl4pPr>
            <a:lvl5pPr>
              <a:defRPr sz="1200">
                <a:solidFill>
                  <a:schemeClr val="accent2"/>
                </a:solidFill>
              </a:defRPr>
            </a:lvl5pPr>
          </a:lstStyle>
          <a:p>
            <a:pPr lvl="0"/>
            <a:r>
              <a:rPr lang="en-US"/>
              <a:t>Type Email</a:t>
            </a:r>
          </a:p>
        </p:txBody>
      </p:sp>
      <p:sp>
        <p:nvSpPr>
          <p:cNvPr id="234" name="Text Placeholder 12">
            <a:extLst>
              <a:ext uri="{FF2B5EF4-FFF2-40B4-BE49-F238E27FC236}">
                <a16:creationId xmlns:a16="http://schemas.microsoft.com/office/drawing/2014/main" id="{8722B1D3-D916-4E16-8E31-739781F5F3B5}"/>
              </a:ext>
            </a:extLst>
          </p:cNvPr>
          <p:cNvSpPr>
            <a:spLocks noGrp="1"/>
          </p:cNvSpPr>
          <p:nvPr>
            <p:ph type="body" sz="quarter" idx="29" hasCustomPrompt="1"/>
          </p:nvPr>
        </p:nvSpPr>
        <p:spPr>
          <a:xfrm>
            <a:off x="6806051" y="2956917"/>
            <a:ext cx="3504407" cy="220414"/>
          </a:xfrm>
        </p:spPr>
        <p:txBody>
          <a:bodyPr anchor="ctr">
            <a:noAutofit/>
          </a:bodyPr>
          <a:lstStyle>
            <a:lvl1pPr>
              <a:buNone/>
              <a:defRPr sz="1100">
                <a:solidFill>
                  <a:schemeClr val="accent1"/>
                </a:solidFill>
              </a:defRPr>
            </a:lvl1pPr>
            <a:lvl2pPr>
              <a:defRPr sz="1200">
                <a:solidFill>
                  <a:schemeClr val="accent2"/>
                </a:solidFill>
              </a:defRPr>
            </a:lvl2pPr>
            <a:lvl3pPr>
              <a:defRPr sz="1200">
                <a:solidFill>
                  <a:schemeClr val="accent2"/>
                </a:solidFill>
              </a:defRPr>
            </a:lvl3pPr>
            <a:lvl4pPr>
              <a:defRPr sz="1200">
                <a:solidFill>
                  <a:schemeClr val="accent2"/>
                </a:solidFill>
              </a:defRPr>
            </a:lvl4pPr>
            <a:lvl5pPr>
              <a:defRPr sz="1200">
                <a:solidFill>
                  <a:schemeClr val="accent2"/>
                </a:solidFill>
              </a:defRPr>
            </a:lvl5pPr>
          </a:lstStyle>
          <a:p>
            <a:pPr lvl="0"/>
            <a:r>
              <a:rPr lang="en-US"/>
              <a:t>Type Email</a:t>
            </a:r>
          </a:p>
        </p:txBody>
      </p:sp>
      <p:sp>
        <p:nvSpPr>
          <p:cNvPr id="235" name="Text Placeholder 12">
            <a:extLst>
              <a:ext uri="{FF2B5EF4-FFF2-40B4-BE49-F238E27FC236}">
                <a16:creationId xmlns:a16="http://schemas.microsoft.com/office/drawing/2014/main" id="{F0A13DB8-9044-4579-A67C-3278A2ADBB21}"/>
              </a:ext>
            </a:extLst>
          </p:cNvPr>
          <p:cNvSpPr>
            <a:spLocks noGrp="1"/>
          </p:cNvSpPr>
          <p:nvPr>
            <p:ph type="body" sz="quarter" idx="30" hasCustomPrompt="1"/>
          </p:nvPr>
        </p:nvSpPr>
        <p:spPr>
          <a:xfrm>
            <a:off x="6806051" y="3744054"/>
            <a:ext cx="3504407" cy="220414"/>
          </a:xfrm>
        </p:spPr>
        <p:txBody>
          <a:bodyPr anchor="ctr">
            <a:noAutofit/>
          </a:bodyPr>
          <a:lstStyle>
            <a:lvl1pPr>
              <a:buNone/>
              <a:defRPr sz="1100">
                <a:solidFill>
                  <a:schemeClr val="accent1"/>
                </a:solidFill>
              </a:defRPr>
            </a:lvl1pPr>
            <a:lvl2pPr>
              <a:defRPr sz="1200">
                <a:solidFill>
                  <a:schemeClr val="accent2"/>
                </a:solidFill>
              </a:defRPr>
            </a:lvl2pPr>
            <a:lvl3pPr>
              <a:defRPr sz="1200">
                <a:solidFill>
                  <a:schemeClr val="accent2"/>
                </a:solidFill>
              </a:defRPr>
            </a:lvl3pPr>
            <a:lvl4pPr>
              <a:defRPr sz="1200">
                <a:solidFill>
                  <a:schemeClr val="accent2"/>
                </a:solidFill>
              </a:defRPr>
            </a:lvl4pPr>
            <a:lvl5pPr>
              <a:defRPr sz="1200">
                <a:solidFill>
                  <a:schemeClr val="accent2"/>
                </a:solidFill>
              </a:defRPr>
            </a:lvl5pPr>
          </a:lstStyle>
          <a:p>
            <a:pPr lvl="0"/>
            <a:r>
              <a:rPr lang="en-US"/>
              <a:t>Type Email</a:t>
            </a:r>
          </a:p>
        </p:txBody>
      </p:sp>
      <p:sp>
        <p:nvSpPr>
          <p:cNvPr id="236" name="Text Placeholder 12">
            <a:extLst>
              <a:ext uri="{FF2B5EF4-FFF2-40B4-BE49-F238E27FC236}">
                <a16:creationId xmlns:a16="http://schemas.microsoft.com/office/drawing/2014/main" id="{DBE8D341-5191-4133-94BC-B8AFA2172D62}"/>
              </a:ext>
            </a:extLst>
          </p:cNvPr>
          <p:cNvSpPr>
            <a:spLocks noGrp="1"/>
          </p:cNvSpPr>
          <p:nvPr>
            <p:ph type="body" sz="quarter" idx="31" hasCustomPrompt="1"/>
          </p:nvPr>
        </p:nvSpPr>
        <p:spPr>
          <a:xfrm>
            <a:off x="6806051" y="4531191"/>
            <a:ext cx="3504407" cy="220414"/>
          </a:xfrm>
        </p:spPr>
        <p:txBody>
          <a:bodyPr anchor="ctr">
            <a:noAutofit/>
          </a:bodyPr>
          <a:lstStyle>
            <a:lvl1pPr>
              <a:buNone/>
              <a:defRPr sz="1100">
                <a:solidFill>
                  <a:schemeClr val="accent1"/>
                </a:solidFill>
              </a:defRPr>
            </a:lvl1pPr>
            <a:lvl2pPr>
              <a:defRPr sz="1200">
                <a:solidFill>
                  <a:schemeClr val="accent2"/>
                </a:solidFill>
              </a:defRPr>
            </a:lvl2pPr>
            <a:lvl3pPr>
              <a:defRPr sz="1200">
                <a:solidFill>
                  <a:schemeClr val="accent2"/>
                </a:solidFill>
              </a:defRPr>
            </a:lvl3pPr>
            <a:lvl4pPr>
              <a:defRPr sz="1200">
                <a:solidFill>
                  <a:schemeClr val="accent2"/>
                </a:solidFill>
              </a:defRPr>
            </a:lvl4pPr>
            <a:lvl5pPr>
              <a:defRPr sz="1200">
                <a:solidFill>
                  <a:schemeClr val="accent2"/>
                </a:solidFill>
              </a:defRPr>
            </a:lvl5pPr>
          </a:lstStyle>
          <a:p>
            <a:pPr lvl="0"/>
            <a:r>
              <a:rPr lang="en-US"/>
              <a:t>Type Email</a:t>
            </a:r>
          </a:p>
        </p:txBody>
      </p:sp>
      <p:sp>
        <p:nvSpPr>
          <p:cNvPr id="237" name="Text Placeholder 12">
            <a:extLst>
              <a:ext uri="{FF2B5EF4-FFF2-40B4-BE49-F238E27FC236}">
                <a16:creationId xmlns:a16="http://schemas.microsoft.com/office/drawing/2014/main" id="{E0D9B687-E5AC-4EB2-8E32-52C6A7BC273A}"/>
              </a:ext>
            </a:extLst>
          </p:cNvPr>
          <p:cNvSpPr>
            <a:spLocks noGrp="1"/>
          </p:cNvSpPr>
          <p:nvPr>
            <p:ph type="body" sz="quarter" idx="32" hasCustomPrompt="1"/>
          </p:nvPr>
        </p:nvSpPr>
        <p:spPr>
          <a:xfrm>
            <a:off x="6806051" y="2724933"/>
            <a:ext cx="3504407" cy="220414"/>
          </a:xfrm>
        </p:spPr>
        <p:txBody>
          <a:bodyPr anchor="ctr">
            <a:noAutofit/>
          </a:bodyPr>
          <a:lstStyle>
            <a:lvl1pPr>
              <a:buNone/>
              <a:defRPr sz="1100">
                <a:solidFill>
                  <a:schemeClr val="tx1"/>
                </a:solidFill>
              </a:defRPr>
            </a:lvl1pPr>
            <a:lvl2pPr>
              <a:defRPr sz="1200">
                <a:solidFill>
                  <a:schemeClr val="accent2"/>
                </a:solidFill>
              </a:defRPr>
            </a:lvl2pPr>
            <a:lvl3pPr>
              <a:defRPr sz="1200">
                <a:solidFill>
                  <a:schemeClr val="accent2"/>
                </a:solidFill>
              </a:defRPr>
            </a:lvl3pPr>
            <a:lvl4pPr>
              <a:defRPr sz="1200">
                <a:solidFill>
                  <a:schemeClr val="accent2"/>
                </a:solidFill>
              </a:defRPr>
            </a:lvl4pPr>
            <a:lvl5pPr>
              <a:defRPr sz="1200">
                <a:solidFill>
                  <a:schemeClr val="accent2"/>
                </a:solidFill>
              </a:defRPr>
            </a:lvl5pPr>
          </a:lstStyle>
          <a:p>
            <a:pPr lvl="0"/>
            <a:r>
              <a:rPr lang="en-US"/>
              <a:t>Type Name 4, Title</a:t>
            </a:r>
          </a:p>
        </p:txBody>
      </p:sp>
      <p:sp>
        <p:nvSpPr>
          <p:cNvPr id="238" name="Text Placeholder 12">
            <a:extLst>
              <a:ext uri="{FF2B5EF4-FFF2-40B4-BE49-F238E27FC236}">
                <a16:creationId xmlns:a16="http://schemas.microsoft.com/office/drawing/2014/main" id="{B72450F8-D29A-4586-A330-65D7B8850D1A}"/>
              </a:ext>
            </a:extLst>
          </p:cNvPr>
          <p:cNvSpPr>
            <a:spLocks noGrp="1"/>
          </p:cNvSpPr>
          <p:nvPr>
            <p:ph type="body" sz="quarter" idx="33" hasCustomPrompt="1"/>
          </p:nvPr>
        </p:nvSpPr>
        <p:spPr>
          <a:xfrm>
            <a:off x="6806051" y="3512070"/>
            <a:ext cx="3504407" cy="220414"/>
          </a:xfrm>
        </p:spPr>
        <p:txBody>
          <a:bodyPr anchor="ctr">
            <a:noAutofit/>
          </a:bodyPr>
          <a:lstStyle>
            <a:lvl1pPr>
              <a:buNone/>
              <a:defRPr sz="1100">
                <a:solidFill>
                  <a:schemeClr val="tx1"/>
                </a:solidFill>
              </a:defRPr>
            </a:lvl1pPr>
            <a:lvl2pPr>
              <a:defRPr sz="1200">
                <a:solidFill>
                  <a:schemeClr val="accent2"/>
                </a:solidFill>
              </a:defRPr>
            </a:lvl2pPr>
            <a:lvl3pPr>
              <a:defRPr sz="1200">
                <a:solidFill>
                  <a:schemeClr val="accent2"/>
                </a:solidFill>
              </a:defRPr>
            </a:lvl3pPr>
            <a:lvl4pPr>
              <a:defRPr sz="1200">
                <a:solidFill>
                  <a:schemeClr val="accent2"/>
                </a:solidFill>
              </a:defRPr>
            </a:lvl4pPr>
            <a:lvl5pPr>
              <a:defRPr sz="1200">
                <a:solidFill>
                  <a:schemeClr val="accent2"/>
                </a:solidFill>
              </a:defRPr>
            </a:lvl5pPr>
          </a:lstStyle>
          <a:p>
            <a:pPr lvl="0"/>
            <a:r>
              <a:rPr lang="en-US"/>
              <a:t>Type Name 6, Title</a:t>
            </a:r>
          </a:p>
        </p:txBody>
      </p:sp>
      <p:sp>
        <p:nvSpPr>
          <p:cNvPr id="239" name="Text Placeholder 12">
            <a:extLst>
              <a:ext uri="{FF2B5EF4-FFF2-40B4-BE49-F238E27FC236}">
                <a16:creationId xmlns:a16="http://schemas.microsoft.com/office/drawing/2014/main" id="{580A7465-6C73-4C3D-85E5-58D1DFF9741D}"/>
              </a:ext>
            </a:extLst>
          </p:cNvPr>
          <p:cNvSpPr>
            <a:spLocks noGrp="1"/>
          </p:cNvSpPr>
          <p:nvPr>
            <p:ph type="body" sz="quarter" idx="34" hasCustomPrompt="1"/>
          </p:nvPr>
        </p:nvSpPr>
        <p:spPr>
          <a:xfrm>
            <a:off x="6806051" y="4299207"/>
            <a:ext cx="3504407" cy="220414"/>
          </a:xfrm>
        </p:spPr>
        <p:txBody>
          <a:bodyPr anchor="ctr">
            <a:noAutofit/>
          </a:bodyPr>
          <a:lstStyle>
            <a:lvl1pPr>
              <a:buNone/>
              <a:defRPr sz="1100">
                <a:solidFill>
                  <a:schemeClr val="tx1"/>
                </a:solidFill>
              </a:defRPr>
            </a:lvl1pPr>
            <a:lvl2pPr>
              <a:defRPr sz="1200">
                <a:solidFill>
                  <a:schemeClr val="accent2"/>
                </a:solidFill>
              </a:defRPr>
            </a:lvl2pPr>
            <a:lvl3pPr>
              <a:defRPr sz="1200">
                <a:solidFill>
                  <a:schemeClr val="accent2"/>
                </a:solidFill>
              </a:defRPr>
            </a:lvl3pPr>
            <a:lvl4pPr>
              <a:defRPr sz="1200">
                <a:solidFill>
                  <a:schemeClr val="accent2"/>
                </a:solidFill>
              </a:defRPr>
            </a:lvl4pPr>
            <a:lvl5pPr>
              <a:defRPr sz="1200">
                <a:solidFill>
                  <a:schemeClr val="accent2"/>
                </a:solidFill>
              </a:defRPr>
            </a:lvl5pPr>
          </a:lstStyle>
          <a:p>
            <a:pPr lvl="0"/>
            <a:r>
              <a:rPr lang="en-US"/>
              <a:t>Type Name 8, Title</a:t>
            </a:r>
          </a:p>
        </p:txBody>
      </p:sp>
      <p:sp>
        <p:nvSpPr>
          <p:cNvPr id="240" name="Text Placeholder 12">
            <a:extLst>
              <a:ext uri="{FF2B5EF4-FFF2-40B4-BE49-F238E27FC236}">
                <a16:creationId xmlns:a16="http://schemas.microsoft.com/office/drawing/2014/main" id="{3981ACA2-061D-42E5-84B6-56462232FC2D}"/>
              </a:ext>
            </a:extLst>
          </p:cNvPr>
          <p:cNvSpPr>
            <a:spLocks noGrp="1"/>
          </p:cNvSpPr>
          <p:nvPr>
            <p:ph type="body" sz="quarter" idx="35" hasCustomPrompt="1"/>
          </p:nvPr>
        </p:nvSpPr>
        <p:spPr>
          <a:xfrm>
            <a:off x="6806051" y="1929170"/>
            <a:ext cx="3504407" cy="220414"/>
          </a:xfrm>
        </p:spPr>
        <p:txBody>
          <a:bodyPr anchor="ctr">
            <a:noAutofit/>
          </a:bodyPr>
          <a:lstStyle>
            <a:lvl1pPr>
              <a:buNone/>
              <a:defRPr sz="1100">
                <a:solidFill>
                  <a:schemeClr val="tx1"/>
                </a:solidFill>
              </a:defRPr>
            </a:lvl1pPr>
            <a:lvl2pPr>
              <a:defRPr sz="1200">
                <a:solidFill>
                  <a:schemeClr val="accent2"/>
                </a:solidFill>
              </a:defRPr>
            </a:lvl2pPr>
            <a:lvl3pPr>
              <a:defRPr sz="1200">
                <a:solidFill>
                  <a:schemeClr val="accent2"/>
                </a:solidFill>
              </a:defRPr>
            </a:lvl3pPr>
            <a:lvl4pPr>
              <a:defRPr sz="1200">
                <a:solidFill>
                  <a:schemeClr val="accent2"/>
                </a:solidFill>
              </a:defRPr>
            </a:lvl4pPr>
            <a:lvl5pPr>
              <a:defRPr sz="1200">
                <a:solidFill>
                  <a:schemeClr val="accent2"/>
                </a:solidFill>
              </a:defRPr>
            </a:lvl5pPr>
          </a:lstStyle>
          <a:p>
            <a:pPr lvl="0"/>
            <a:r>
              <a:rPr lang="en-US"/>
              <a:t>Type Name 2, Title</a:t>
            </a:r>
          </a:p>
        </p:txBody>
      </p:sp>
      <p:grpSp>
        <p:nvGrpSpPr>
          <p:cNvPr id="2" name="Group 1">
            <a:extLst>
              <a:ext uri="{FF2B5EF4-FFF2-40B4-BE49-F238E27FC236}">
                <a16:creationId xmlns:a16="http://schemas.microsoft.com/office/drawing/2014/main" id="{DB9F30B6-DF89-1762-7679-92C83D8EC1B8}"/>
              </a:ext>
            </a:extLst>
          </p:cNvPr>
          <p:cNvGrpSpPr/>
          <p:nvPr userDrawn="1"/>
        </p:nvGrpSpPr>
        <p:grpSpPr>
          <a:xfrm>
            <a:off x="367368" y="5725874"/>
            <a:ext cx="951309" cy="341297"/>
            <a:chOff x="367368" y="6371773"/>
            <a:chExt cx="951309" cy="341297"/>
          </a:xfrm>
        </p:grpSpPr>
        <p:sp>
          <p:nvSpPr>
            <p:cNvPr id="3" name="Shape 2452">
              <a:extLst>
                <a:ext uri="{FF2B5EF4-FFF2-40B4-BE49-F238E27FC236}">
                  <a16:creationId xmlns:a16="http://schemas.microsoft.com/office/drawing/2014/main" id="{14AF95AC-A041-2120-6470-824591C6F158}"/>
                </a:ext>
              </a:extLst>
            </p:cNvPr>
            <p:cNvSpPr>
              <a:spLocks noChangeAspect="1"/>
            </p:cNvSpPr>
            <p:nvPr userDrawn="1"/>
          </p:nvSpPr>
          <p:spPr>
            <a:xfrm>
              <a:off x="796852" y="6371773"/>
              <a:ext cx="92341" cy="125987"/>
            </a:xfrm>
            <a:custGeom>
              <a:avLst/>
              <a:gdLst/>
              <a:ahLst/>
              <a:cxnLst>
                <a:cxn ang="0">
                  <a:pos x="wd2" y="hd2"/>
                </a:cxn>
                <a:cxn ang="5400000">
                  <a:pos x="wd2" y="hd2"/>
                </a:cxn>
                <a:cxn ang="10800000">
                  <a:pos x="wd2" y="hd2"/>
                </a:cxn>
                <a:cxn ang="16200000">
                  <a:pos x="wd2" y="hd2"/>
                </a:cxn>
              </a:cxnLst>
              <a:rect l="0" t="0" r="r" b="b"/>
              <a:pathLst>
                <a:path w="21600" h="21600" extrusionOk="0">
                  <a:moveTo>
                    <a:pt x="10789" y="0"/>
                  </a:moveTo>
                  <a:cubicBezTo>
                    <a:pt x="4857" y="0"/>
                    <a:pt x="0" y="3511"/>
                    <a:pt x="0" y="7919"/>
                  </a:cubicBezTo>
                  <a:cubicBezTo>
                    <a:pt x="0" y="12264"/>
                    <a:pt x="10789" y="21600"/>
                    <a:pt x="10789" y="21600"/>
                  </a:cubicBezTo>
                  <a:cubicBezTo>
                    <a:pt x="10789" y="21600"/>
                    <a:pt x="21600" y="12280"/>
                    <a:pt x="21600" y="7919"/>
                  </a:cubicBezTo>
                  <a:cubicBezTo>
                    <a:pt x="21600" y="3574"/>
                    <a:pt x="16743" y="0"/>
                    <a:pt x="10789" y="0"/>
                  </a:cubicBezTo>
                </a:path>
              </a:pathLst>
            </a:custGeom>
            <a:solidFill>
              <a:schemeClr val="accent1"/>
            </a:solidFill>
            <a:ln w="3175">
              <a:miter lim="400000"/>
            </a:ln>
          </p:spPr>
          <p:txBody>
            <a:bodyPr lIns="59013" tIns="59013" rIns="59013" bIns="59013" anchor="ctr"/>
            <a:lstStyle/>
            <a:p>
              <a:pPr algn="l" defTabSz="590133">
                <a:lnSpc>
                  <a:spcPct val="93000"/>
                </a:lnSpc>
                <a:defRPr sz="2200">
                  <a:latin typeface="Arial"/>
                  <a:ea typeface="Arial"/>
                  <a:cs typeface="Arial"/>
                  <a:sym typeface="Arial"/>
                </a:defRPr>
              </a:pPr>
              <a:endParaRPr sz="2400" spc="100" baseline="0">
                <a:solidFill>
                  <a:schemeClr val="accent1"/>
                </a:solidFill>
              </a:endParaRPr>
            </a:p>
          </p:txBody>
        </p:sp>
        <p:sp>
          <p:nvSpPr>
            <p:cNvPr id="4" name="TextBox 3">
              <a:extLst>
                <a:ext uri="{FF2B5EF4-FFF2-40B4-BE49-F238E27FC236}">
                  <a16:creationId xmlns:a16="http://schemas.microsoft.com/office/drawing/2014/main" id="{0AA41FEB-DAEA-49CC-1E4C-EB286F735838}"/>
                </a:ext>
              </a:extLst>
            </p:cNvPr>
            <p:cNvSpPr txBox="1"/>
            <p:nvPr userDrawn="1"/>
          </p:nvSpPr>
          <p:spPr>
            <a:xfrm>
              <a:off x="367368" y="6574571"/>
              <a:ext cx="951309" cy="138499"/>
            </a:xfrm>
            <a:prstGeom prst="rect">
              <a:avLst/>
            </a:prstGeom>
            <a:noFill/>
          </p:spPr>
          <p:txBody>
            <a:bodyPr vert="horz" wrap="square" lIns="0" tIns="0" rIns="0" bIns="0" rtlCol="0" anchor="t">
              <a:spAutoFit/>
            </a:bodyPr>
            <a:lstStyle/>
            <a:p>
              <a:pPr marL="0" algn="ctr" defTabSz="914400" rtl="0" eaLnBrk="1" latinLnBrk="0" hangingPunct="1"/>
              <a:r>
                <a:rPr lang="en-US" sz="900" b="0" u="none" kern="1200" spc="100" baseline="0">
                  <a:solidFill>
                    <a:schemeClr val="tx1"/>
                  </a:solidFill>
                  <a:latin typeface="+mj-lt"/>
                  <a:ea typeface="+mn-ea"/>
                  <a:cs typeface="Tahoma" pitchFamily="34" charset="0"/>
                </a:rPr>
                <a:t>WALTHAM</a:t>
              </a:r>
            </a:p>
          </p:txBody>
        </p:sp>
      </p:grpSp>
      <p:grpSp>
        <p:nvGrpSpPr>
          <p:cNvPr id="35" name="Group 34">
            <a:extLst>
              <a:ext uri="{FF2B5EF4-FFF2-40B4-BE49-F238E27FC236}">
                <a16:creationId xmlns:a16="http://schemas.microsoft.com/office/drawing/2014/main" id="{615B14D5-E45B-DD0B-8A90-B77E6773B7B9}"/>
              </a:ext>
            </a:extLst>
          </p:cNvPr>
          <p:cNvGrpSpPr/>
          <p:nvPr userDrawn="1"/>
        </p:nvGrpSpPr>
        <p:grpSpPr>
          <a:xfrm>
            <a:off x="1419076" y="5725874"/>
            <a:ext cx="951309" cy="341297"/>
            <a:chOff x="1419076" y="6371773"/>
            <a:chExt cx="951309" cy="341297"/>
          </a:xfrm>
        </p:grpSpPr>
        <p:sp>
          <p:nvSpPr>
            <p:cNvPr id="36" name="Shape 2452">
              <a:extLst>
                <a:ext uri="{FF2B5EF4-FFF2-40B4-BE49-F238E27FC236}">
                  <a16:creationId xmlns:a16="http://schemas.microsoft.com/office/drawing/2014/main" id="{5985CE1B-A8DE-2791-691C-74AB5AB551B7}"/>
                </a:ext>
              </a:extLst>
            </p:cNvPr>
            <p:cNvSpPr>
              <a:spLocks noChangeAspect="1"/>
            </p:cNvSpPr>
            <p:nvPr userDrawn="1"/>
          </p:nvSpPr>
          <p:spPr>
            <a:xfrm>
              <a:off x="1848560" y="6371773"/>
              <a:ext cx="92341" cy="125987"/>
            </a:xfrm>
            <a:custGeom>
              <a:avLst/>
              <a:gdLst/>
              <a:ahLst/>
              <a:cxnLst>
                <a:cxn ang="0">
                  <a:pos x="wd2" y="hd2"/>
                </a:cxn>
                <a:cxn ang="5400000">
                  <a:pos x="wd2" y="hd2"/>
                </a:cxn>
                <a:cxn ang="10800000">
                  <a:pos x="wd2" y="hd2"/>
                </a:cxn>
                <a:cxn ang="16200000">
                  <a:pos x="wd2" y="hd2"/>
                </a:cxn>
              </a:cxnLst>
              <a:rect l="0" t="0" r="r" b="b"/>
              <a:pathLst>
                <a:path w="21600" h="21600" extrusionOk="0">
                  <a:moveTo>
                    <a:pt x="10789" y="0"/>
                  </a:moveTo>
                  <a:cubicBezTo>
                    <a:pt x="4857" y="0"/>
                    <a:pt x="0" y="3511"/>
                    <a:pt x="0" y="7919"/>
                  </a:cubicBezTo>
                  <a:cubicBezTo>
                    <a:pt x="0" y="12264"/>
                    <a:pt x="10789" y="21600"/>
                    <a:pt x="10789" y="21600"/>
                  </a:cubicBezTo>
                  <a:cubicBezTo>
                    <a:pt x="10789" y="21600"/>
                    <a:pt x="21600" y="12280"/>
                    <a:pt x="21600" y="7919"/>
                  </a:cubicBezTo>
                  <a:cubicBezTo>
                    <a:pt x="21600" y="3574"/>
                    <a:pt x="16743" y="0"/>
                    <a:pt x="10789" y="0"/>
                  </a:cubicBezTo>
                </a:path>
              </a:pathLst>
            </a:custGeom>
            <a:solidFill>
              <a:schemeClr val="accent1"/>
            </a:solidFill>
            <a:ln w="3175">
              <a:miter lim="400000"/>
            </a:ln>
          </p:spPr>
          <p:txBody>
            <a:bodyPr lIns="59013" tIns="59013" rIns="59013" bIns="59013" anchor="ctr"/>
            <a:lstStyle/>
            <a:p>
              <a:pPr algn="l" defTabSz="590133">
                <a:lnSpc>
                  <a:spcPct val="93000"/>
                </a:lnSpc>
                <a:defRPr sz="2200">
                  <a:latin typeface="Arial"/>
                  <a:ea typeface="Arial"/>
                  <a:cs typeface="Arial"/>
                  <a:sym typeface="Arial"/>
                </a:defRPr>
              </a:pPr>
              <a:endParaRPr sz="2400" spc="100" baseline="0">
                <a:solidFill>
                  <a:schemeClr val="accent1"/>
                </a:solidFill>
              </a:endParaRPr>
            </a:p>
          </p:txBody>
        </p:sp>
        <p:sp>
          <p:nvSpPr>
            <p:cNvPr id="37" name="TextBox 36">
              <a:extLst>
                <a:ext uri="{FF2B5EF4-FFF2-40B4-BE49-F238E27FC236}">
                  <a16:creationId xmlns:a16="http://schemas.microsoft.com/office/drawing/2014/main" id="{31C51F9D-F912-B335-BC5C-EE36F6AEFBC5}"/>
                </a:ext>
              </a:extLst>
            </p:cNvPr>
            <p:cNvSpPr txBox="1"/>
            <p:nvPr userDrawn="1"/>
          </p:nvSpPr>
          <p:spPr>
            <a:xfrm>
              <a:off x="1419076" y="6574571"/>
              <a:ext cx="951309" cy="138499"/>
            </a:xfrm>
            <a:prstGeom prst="rect">
              <a:avLst/>
            </a:prstGeom>
            <a:noFill/>
          </p:spPr>
          <p:txBody>
            <a:bodyPr vert="horz" wrap="square" lIns="0" tIns="0" rIns="0" bIns="0" rtlCol="0" anchor="t">
              <a:spAutoFit/>
            </a:bodyPr>
            <a:lstStyle/>
            <a:p>
              <a:pPr marL="0" algn="ctr" defTabSz="914400" rtl="0" eaLnBrk="1" latinLnBrk="0" hangingPunct="1"/>
              <a:r>
                <a:rPr lang="en-US" sz="900" b="0" u="none" kern="1200" spc="100" baseline="0">
                  <a:solidFill>
                    <a:schemeClr val="tx1"/>
                  </a:solidFill>
                  <a:latin typeface="+mj-lt"/>
                  <a:ea typeface="+mn-ea"/>
                  <a:cs typeface="Tahoma" pitchFamily="34" charset="0"/>
                </a:rPr>
                <a:t>CAMBRIDGE</a:t>
              </a:r>
            </a:p>
          </p:txBody>
        </p:sp>
      </p:grpSp>
      <p:grpSp>
        <p:nvGrpSpPr>
          <p:cNvPr id="44" name="Group 43">
            <a:extLst>
              <a:ext uri="{FF2B5EF4-FFF2-40B4-BE49-F238E27FC236}">
                <a16:creationId xmlns:a16="http://schemas.microsoft.com/office/drawing/2014/main" id="{30A16698-4CC1-817F-2E21-7D413FED1EE6}"/>
              </a:ext>
            </a:extLst>
          </p:cNvPr>
          <p:cNvGrpSpPr/>
          <p:nvPr userDrawn="1"/>
        </p:nvGrpSpPr>
        <p:grpSpPr>
          <a:xfrm>
            <a:off x="2470784" y="5725874"/>
            <a:ext cx="951309" cy="341297"/>
            <a:chOff x="2470784" y="6371773"/>
            <a:chExt cx="951309" cy="341297"/>
          </a:xfrm>
        </p:grpSpPr>
        <p:sp>
          <p:nvSpPr>
            <p:cNvPr id="45" name="Shape 2452">
              <a:extLst>
                <a:ext uri="{FF2B5EF4-FFF2-40B4-BE49-F238E27FC236}">
                  <a16:creationId xmlns:a16="http://schemas.microsoft.com/office/drawing/2014/main" id="{F590BB96-8911-EDB7-62F8-767AE73FC0D4}"/>
                </a:ext>
              </a:extLst>
            </p:cNvPr>
            <p:cNvSpPr>
              <a:spLocks noChangeAspect="1"/>
            </p:cNvSpPr>
            <p:nvPr userDrawn="1"/>
          </p:nvSpPr>
          <p:spPr>
            <a:xfrm>
              <a:off x="2900268" y="6371773"/>
              <a:ext cx="92341" cy="125987"/>
            </a:xfrm>
            <a:custGeom>
              <a:avLst/>
              <a:gdLst/>
              <a:ahLst/>
              <a:cxnLst>
                <a:cxn ang="0">
                  <a:pos x="wd2" y="hd2"/>
                </a:cxn>
                <a:cxn ang="5400000">
                  <a:pos x="wd2" y="hd2"/>
                </a:cxn>
                <a:cxn ang="10800000">
                  <a:pos x="wd2" y="hd2"/>
                </a:cxn>
                <a:cxn ang="16200000">
                  <a:pos x="wd2" y="hd2"/>
                </a:cxn>
              </a:cxnLst>
              <a:rect l="0" t="0" r="r" b="b"/>
              <a:pathLst>
                <a:path w="21600" h="21600" extrusionOk="0">
                  <a:moveTo>
                    <a:pt x="10789" y="0"/>
                  </a:moveTo>
                  <a:cubicBezTo>
                    <a:pt x="4857" y="0"/>
                    <a:pt x="0" y="3511"/>
                    <a:pt x="0" y="7919"/>
                  </a:cubicBezTo>
                  <a:cubicBezTo>
                    <a:pt x="0" y="12264"/>
                    <a:pt x="10789" y="21600"/>
                    <a:pt x="10789" y="21600"/>
                  </a:cubicBezTo>
                  <a:cubicBezTo>
                    <a:pt x="10789" y="21600"/>
                    <a:pt x="21600" y="12280"/>
                    <a:pt x="21600" y="7919"/>
                  </a:cubicBezTo>
                  <a:cubicBezTo>
                    <a:pt x="21600" y="3574"/>
                    <a:pt x="16743" y="0"/>
                    <a:pt x="10789" y="0"/>
                  </a:cubicBezTo>
                </a:path>
              </a:pathLst>
            </a:custGeom>
            <a:solidFill>
              <a:schemeClr val="accent1"/>
            </a:solidFill>
            <a:ln w="3175">
              <a:miter lim="400000"/>
            </a:ln>
          </p:spPr>
          <p:txBody>
            <a:bodyPr lIns="59013" tIns="59013" rIns="59013" bIns="59013" anchor="ctr"/>
            <a:lstStyle/>
            <a:p>
              <a:pPr algn="l" defTabSz="590133">
                <a:lnSpc>
                  <a:spcPct val="93000"/>
                </a:lnSpc>
                <a:defRPr sz="2200">
                  <a:latin typeface="Arial"/>
                  <a:ea typeface="Arial"/>
                  <a:cs typeface="Arial"/>
                  <a:sym typeface="Arial"/>
                </a:defRPr>
              </a:pPr>
              <a:endParaRPr sz="2400" spc="100" baseline="0">
                <a:solidFill>
                  <a:schemeClr val="accent1"/>
                </a:solidFill>
              </a:endParaRPr>
            </a:p>
          </p:txBody>
        </p:sp>
        <p:sp>
          <p:nvSpPr>
            <p:cNvPr id="46" name="TextBox 45">
              <a:extLst>
                <a:ext uri="{FF2B5EF4-FFF2-40B4-BE49-F238E27FC236}">
                  <a16:creationId xmlns:a16="http://schemas.microsoft.com/office/drawing/2014/main" id="{D63CD3C3-9455-1520-3768-3288A1BC4AED}"/>
                </a:ext>
              </a:extLst>
            </p:cNvPr>
            <p:cNvSpPr txBox="1"/>
            <p:nvPr userDrawn="1"/>
          </p:nvSpPr>
          <p:spPr>
            <a:xfrm>
              <a:off x="2470784" y="6574571"/>
              <a:ext cx="951309" cy="138499"/>
            </a:xfrm>
            <a:prstGeom prst="rect">
              <a:avLst/>
            </a:prstGeom>
            <a:noFill/>
          </p:spPr>
          <p:txBody>
            <a:bodyPr vert="horz" wrap="square" lIns="0" tIns="0" rIns="0" bIns="0" rtlCol="0" anchor="t">
              <a:spAutoFit/>
            </a:bodyPr>
            <a:lstStyle/>
            <a:p>
              <a:pPr marL="0" algn="ctr" defTabSz="914400" rtl="0" eaLnBrk="1" latinLnBrk="0" hangingPunct="1"/>
              <a:r>
                <a:rPr lang="en-US" sz="900" b="0" u="none" kern="1200" spc="100" baseline="0">
                  <a:solidFill>
                    <a:schemeClr val="tx1"/>
                  </a:solidFill>
                  <a:latin typeface="+mj-lt"/>
                  <a:ea typeface="+mn-ea"/>
                  <a:cs typeface="Tahoma" pitchFamily="34" charset="0"/>
                </a:rPr>
                <a:t>NEW YORK</a:t>
              </a:r>
            </a:p>
          </p:txBody>
        </p:sp>
      </p:grpSp>
      <p:grpSp>
        <p:nvGrpSpPr>
          <p:cNvPr id="47" name="Group 46">
            <a:extLst>
              <a:ext uri="{FF2B5EF4-FFF2-40B4-BE49-F238E27FC236}">
                <a16:creationId xmlns:a16="http://schemas.microsoft.com/office/drawing/2014/main" id="{050252AC-6335-832D-AC27-C9EEF2700BC0}"/>
              </a:ext>
            </a:extLst>
          </p:cNvPr>
          <p:cNvGrpSpPr/>
          <p:nvPr userDrawn="1"/>
        </p:nvGrpSpPr>
        <p:grpSpPr>
          <a:xfrm>
            <a:off x="5625908" y="5725874"/>
            <a:ext cx="951309" cy="341297"/>
            <a:chOff x="5625908" y="6371773"/>
            <a:chExt cx="951309" cy="341297"/>
          </a:xfrm>
        </p:grpSpPr>
        <p:sp>
          <p:nvSpPr>
            <p:cNvPr id="48" name="Shape 2452">
              <a:extLst>
                <a:ext uri="{FF2B5EF4-FFF2-40B4-BE49-F238E27FC236}">
                  <a16:creationId xmlns:a16="http://schemas.microsoft.com/office/drawing/2014/main" id="{5DFB239C-A55B-4B96-F168-E0A6A4BEC60A}"/>
                </a:ext>
              </a:extLst>
            </p:cNvPr>
            <p:cNvSpPr>
              <a:spLocks noChangeAspect="1"/>
            </p:cNvSpPr>
            <p:nvPr userDrawn="1"/>
          </p:nvSpPr>
          <p:spPr>
            <a:xfrm>
              <a:off x="6055392" y="6371773"/>
              <a:ext cx="92341" cy="125987"/>
            </a:xfrm>
            <a:custGeom>
              <a:avLst/>
              <a:gdLst/>
              <a:ahLst/>
              <a:cxnLst>
                <a:cxn ang="0">
                  <a:pos x="wd2" y="hd2"/>
                </a:cxn>
                <a:cxn ang="5400000">
                  <a:pos x="wd2" y="hd2"/>
                </a:cxn>
                <a:cxn ang="10800000">
                  <a:pos x="wd2" y="hd2"/>
                </a:cxn>
                <a:cxn ang="16200000">
                  <a:pos x="wd2" y="hd2"/>
                </a:cxn>
              </a:cxnLst>
              <a:rect l="0" t="0" r="r" b="b"/>
              <a:pathLst>
                <a:path w="21600" h="21600" extrusionOk="0">
                  <a:moveTo>
                    <a:pt x="10789" y="0"/>
                  </a:moveTo>
                  <a:cubicBezTo>
                    <a:pt x="4857" y="0"/>
                    <a:pt x="0" y="3511"/>
                    <a:pt x="0" y="7919"/>
                  </a:cubicBezTo>
                  <a:cubicBezTo>
                    <a:pt x="0" y="12264"/>
                    <a:pt x="10789" y="21600"/>
                    <a:pt x="10789" y="21600"/>
                  </a:cubicBezTo>
                  <a:cubicBezTo>
                    <a:pt x="10789" y="21600"/>
                    <a:pt x="21600" y="12280"/>
                    <a:pt x="21600" y="7919"/>
                  </a:cubicBezTo>
                  <a:cubicBezTo>
                    <a:pt x="21600" y="3574"/>
                    <a:pt x="16743" y="0"/>
                    <a:pt x="10789" y="0"/>
                  </a:cubicBezTo>
                </a:path>
              </a:pathLst>
            </a:custGeom>
            <a:solidFill>
              <a:schemeClr val="accent1"/>
            </a:solidFill>
            <a:ln w="3175">
              <a:miter lim="400000"/>
            </a:ln>
          </p:spPr>
          <p:txBody>
            <a:bodyPr lIns="59013" tIns="59013" rIns="59013" bIns="59013" anchor="ctr"/>
            <a:lstStyle/>
            <a:p>
              <a:pPr algn="l" defTabSz="590133">
                <a:lnSpc>
                  <a:spcPct val="93000"/>
                </a:lnSpc>
                <a:defRPr sz="2200">
                  <a:latin typeface="Arial"/>
                  <a:ea typeface="Arial"/>
                  <a:cs typeface="Arial"/>
                  <a:sym typeface="Arial"/>
                </a:defRPr>
              </a:pPr>
              <a:endParaRPr sz="2400" spc="100" baseline="0">
                <a:solidFill>
                  <a:schemeClr val="accent1"/>
                </a:solidFill>
              </a:endParaRPr>
            </a:p>
          </p:txBody>
        </p:sp>
        <p:sp>
          <p:nvSpPr>
            <p:cNvPr id="50" name="TextBox 49">
              <a:extLst>
                <a:ext uri="{FF2B5EF4-FFF2-40B4-BE49-F238E27FC236}">
                  <a16:creationId xmlns:a16="http://schemas.microsoft.com/office/drawing/2014/main" id="{855306DA-489E-C9AC-3665-8C63AC75922D}"/>
                </a:ext>
              </a:extLst>
            </p:cNvPr>
            <p:cNvSpPr txBox="1"/>
            <p:nvPr userDrawn="1"/>
          </p:nvSpPr>
          <p:spPr>
            <a:xfrm>
              <a:off x="5625908" y="6574571"/>
              <a:ext cx="951309" cy="138499"/>
            </a:xfrm>
            <a:prstGeom prst="rect">
              <a:avLst/>
            </a:prstGeom>
            <a:noFill/>
          </p:spPr>
          <p:txBody>
            <a:bodyPr vert="horz" wrap="square" lIns="0" tIns="0" rIns="0" bIns="0" rtlCol="0" anchor="t">
              <a:spAutoFit/>
            </a:bodyPr>
            <a:lstStyle/>
            <a:p>
              <a:pPr marL="0" algn="ctr" defTabSz="914400" rtl="0" eaLnBrk="1" latinLnBrk="0" hangingPunct="1"/>
              <a:r>
                <a:rPr lang="en-US" sz="900" b="0" u="none" kern="1200" spc="100" baseline="0">
                  <a:solidFill>
                    <a:schemeClr val="tx1"/>
                  </a:solidFill>
                  <a:latin typeface="+mj-lt"/>
                  <a:ea typeface="+mn-ea"/>
                  <a:cs typeface="Tahoma" pitchFamily="34" charset="0"/>
                </a:rPr>
                <a:t>SAN FRANCISCO</a:t>
              </a:r>
            </a:p>
          </p:txBody>
        </p:sp>
      </p:grpSp>
      <p:grpSp>
        <p:nvGrpSpPr>
          <p:cNvPr id="52" name="Group 51">
            <a:extLst>
              <a:ext uri="{FF2B5EF4-FFF2-40B4-BE49-F238E27FC236}">
                <a16:creationId xmlns:a16="http://schemas.microsoft.com/office/drawing/2014/main" id="{D3C30A7A-006B-1E46-EE5E-60E6CE4C1E04}"/>
              </a:ext>
            </a:extLst>
          </p:cNvPr>
          <p:cNvGrpSpPr/>
          <p:nvPr userDrawn="1"/>
        </p:nvGrpSpPr>
        <p:grpSpPr>
          <a:xfrm>
            <a:off x="9832740" y="5725874"/>
            <a:ext cx="951309" cy="341297"/>
            <a:chOff x="9832740" y="6371773"/>
            <a:chExt cx="951309" cy="341297"/>
          </a:xfrm>
        </p:grpSpPr>
        <p:sp>
          <p:nvSpPr>
            <p:cNvPr id="54" name="Shape 2452">
              <a:extLst>
                <a:ext uri="{FF2B5EF4-FFF2-40B4-BE49-F238E27FC236}">
                  <a16:creationId xmlns:a16="http://schemas.microsoft.com/office/drawing/2014/main" id="{EB45FF2F-D800-0371-9D79-42CF70843CD7}"/>
                </a:ext>
              </a:extLst>
            </p:cNvPr>
            <p:cNvSpPr>
              <a:spLocks noChangeAspect="1"/>
            </p:cNvSpPr>
            <p:nvPr userDrawn="1"/>
          </p:nvSpPr>
          <p:spPr>
            <a:xfrm>
              <a:off x="10262224" y="6371773"/>
              <a:ext cx="92341" cy="125987"/>
            </a:xfrm>
            <a:custGeom>
              <a:avLst/>
              <a:gdLst/>
              <a:ahLst/>
              <a:cxnLst>
                <a:cxn ang="0">
                  <a:pos x="wd2" y="hd2"/>
                </a:cxn>
                <a:cxn ang="5400000">
                  <a:pos x="wd2" y="hd2"/>
                </a:cxn>
                <a:cxn ang="10800000">
                  <a:pos x="wd2" y="hd2"/>
                </a:cxn>
                <a:cxn ang="16200000">
                  <a:pos x="wd2" y="hd2"/>
                </a:cxn>
              </a:cxnLst>
              <a:rect l="0" t="0" r="r" b="b"/>
              <a:pathLst>
                <a:path w="21600" h="21600" extrusionOk="0">
                  <a:moveTo>
                    <a:pt x="10789" y="0"/>
                  </a:moveTo>
                  <a:cubicBezTo>
                    <a:pt x="4857" y="0"/>
                    <a:pt x="0" y="3511"/>
                    <a:pt x="0" y="7919"/>
                  </a:cubicBezTo>
                  <a:cubicBezTo>
                    <a:pt x="0" y="12264"/>
                    <a:pt x="10789" y="21600"/>
                    <a:pt x="10789" y="21600"/>
                  </a:cubicBezTo>
                  <a:cubicBezTo>
                    <a:pt x="10789" y="21600"/>
                    <a:pt x="21600" y="12280"/>
                    <a:pt x="21600" y="7919"/>
                  </a:cubicBezTo>
                  <a:cubicBezTo>
                    <a:pt x="21600" y="3574"/>
                    <a:pt x="16743" y="0"/>
                    <a:pt x="10789" y="0"/>
                  </a:cubicBezTo>
                </a:path>
              </a:pathLst>
            </a:custGeom>
            <a:solidFill>
              <a:schemeClr val="accent1"/>
            </a:solidFill>
            <a:ln w="3175">
              <a:miter lim="400000"/>
            </a:ln>
          </p:spPr>
          <p:txBody>
            <a:bodyPr lIns="59013" tIns="59013" rIns="59013" bIns="59013" anchor="ctr"/>
            <a:lstStyle/>
            <a:p>
              <a:pPr algn="l" defTabSz="590133">
                <a:lnSpc>
                  <a:spcPct val="93000"/>
                </a:lnSpc>
                <a:defRPr sz="2200">
                  <a:latin typeface="Arial"/>
                  <a:ea typeface="Arial"/>
                  <a:cs typeface="Arial"/>
                  <a:sym typeface="Arial"/>
                </a:defRPr>
              </a:pPr>
              <a:endParaRPr sz="2400" spc="100" baseline="0">
                <a:solidFill>
                  <a:schemeClr val="accent1"/>
                </a:solidFill>
              </a:endParaRPr>
            </a:p>
          </p:txBody>
        </p:sp>
        <p:sp>
          <p:nvSpPr>
            <p:cNvPr id="56" name="TextBox 55">
              <a:extLst>
                <a:ext uri="{FF2B5EF4-FFF2-40B4-BE49-F238E27FC236}">
                  <a16:creationId xmlns:a16="http://schemas.microsoft.com/office/drawing/2014/main" id="{27C7C02A-57B5-2FD9-16FA-1866A17FAE9C}"/>
                </a:ext>
              </a:extLst>
            </p:cNvPr>
            <p:cNvSpPr txBox="1"/>
            <p:nvPr userDrawn="1"/>
          </p:nvSpPr>
          <p:spPr>
            <a:xfrm>
              <a:off x="9832740" y="6574571"/>
              <a:ext cx="951309" cy="138499"/>
            </a:xfrm>
            <a:prstGeom prst="rect">
              <a:avLst/>
            </a:prstGeom>
            <a:noFill/>
          </p:spPr>
          <p:txBody>
            <a:bodyPr vert="horz" wrap="square" lIns="0" tIns="0" rIns="0" bIns="0" rtlCol="0" anchor="t">
              <a:spAutoFit/>
            </a:bodyPr>
            <a:lstStyle/>
            <a:p>
              <a:pPr marL="0" algn="ctr" defTabSz="914400" rtl="0" eaLnBrk="1" latinLnBrk="0" hangingPunct="1"/>
              <a:r>
                <a:rPr lang="en-US" sz="900" b="0" u="none" kern="1200" spc="100" baseline="0">
                  <a:solidFill>
                    <a:schemeClr val="tx1"/>
                  </a:solidFill>
                  <a:latin typeface="+mj-lt"/>
                  <a:ea typeface="+mn-ea"/>
                  <a:cs typeface="Tahoma" pitchFamily="34" charset="0"/>
                </a:rPr>
                <a:t>BANGALORE</a:t>
              </a:r>
            </a:p>
          </p:txBody>
        </p:sp>
      </p:grpSp>
      <p:grpSp>
        <p:nvGrpSpPr>
          <p:cNvPr id="57" name="Group 56">
            <a:extLst>
              <a:ext uri="{FF2B5EF4-FFF2-40B4-BE49-F238E27FC236}">
                <a16:creationId xmlns:a16="http://schemas.microsoft.com/office/drawing/2014/main" id="{26767756-A20B-A02E-FD5B-72FDC0BB91E3}"/>
              </a:ext>
            </a:extLst>
          </p:cNvPr>
          <p:cNvGrpSpPr/>
          <p:nvPr userDrawn="1"/>
        </p:nvGrpSpPr>
        <p:grpSpPr>
          <a:xfrm>
            <a:off x="7729324" y="5725874"/>
            <a:ext cx="951309" cy="341297"/>
            <a:chOff x="7729324" y="5725874"/>
            <a:chExt cx="951309" cy="341297"/>
          </a:xfrm>
        </p:grpSpPr>
        <p:sp>
          <p:nvSpPr>
            <p:cNvPr id="58" name="TextBox 57">
              <a:extLst>
                <a:ext uri="{FF2B5EF4-FFF2-40B4-BE49-F238E27FC236}">
                  <a16:creationId xmlns:a16="http://schemas.microsoft.com/office/drawing/2014/main" id="{72F9C6CE-F70E-833E-1BB7-1C8F1DCA37E7}"/>
                </a:ext>
              </a:extLst>
            </p:cNvPr>
            <p:cNvSpPr txBox="1"/>
            <p:nvPr userDrawn="1"/>
          </p:nvSpPr>
          <p:spPr>
            <a:xfrm>
              <a:off x="7729324" y="5928672"/>
              <a:ext cx="951309" cy="138499"/>
            </a:xfrm>
            <a:prstGeom prst="rect">
              <a:avLst/>
            </a:prstGeom>
            <a:noFill/>
          </p:spPr>
          <p:txBody>
            <a:bodyPr vert="horz" wrap="square" lIns="0" tIns="0" rIns="0" bIns="0" rtlCol="0" anchor="t">
              <a:spAutoFit/>
            </a:bodyPr>
            <a:lstStyle/>
            <a:p>
              <a:pPr marL="0" algn="ctr" defTabSz="914400" rtl="0" eaLnBrk="1" latinLnBrk="0" hangingPunct="1"/>
              <a:r>
                <a:rPr lang="en-US" sz="900" b="0" u="none" kern="1200" spc="100" baseline="0">
                  <a:solidFill>
                    <a:schemeClr val="tx1"/>
                  </a:solidFill>
                  <a:latin typeface="+mj-lt"/>
                  <a:ea typeface="+mn-ea"/>
                  <a:cs typeface="Tahoma" pitchFamily="34" charset="0"/>
                </a:rPr>
                <a:t>LONDON</a:t>
              </a:r>
            </a:p>
          </p:txBody>
        </p:sp>
        <p:sp>
          <p:nvSpPr>
            <p:cNvPr id="59" name="Shape 2452">
              <a:extLst>
                <a:ext uri="{FF2B5EF4-FFF2-40B4-BE49-F238E27FC236}">
                  <a16:creationId xmlns:a16="http://schemas.microsoft.com/office/drawing/2014/main" id="{48E720C1-09C7-D199-59F5-47D28055041C}"/>
                </a:ext>
              </a:extLst>
            </p:cNvPr>
            <p:cNvSpPr>
              <a:spLocks noChangeAspect="1"/>
            </p:cNvSpPr>
            <p:nvPr userDrawn="1"/>
          </p:nvSpPr>
          <p:spPr>
            <a:xfrm>
              <a:off x="8158808" y="5725874"/>
              <a:ext cx="92341" cy="125987"/>
            </a:xfrm>
            <a:custGeom>
              <a:avLst/>
              <a:gdLst/>
              <a:ahLst/>
              <a:cxnLst>
                <a:cxn ang="0">
                  <a:pos x="wd2" y="hd2"/>
                </a:cxn>
                <a:cxn ang="5400000">
                  <a:pos x="wd2" y="hd2"/>
                </a:cxn>
                <a:cxn ang="10800000">
                  <a:pos x="wd2" y="hd2"/>
                </a:cxn>
                <a:cxn ang="16200000">
                  <a:pos x="wd2" y="hd2"/>
                </a:cxn>
              </a:cxnLst>
              <a:rect l="0" t="0" r="r" b="b"/>
              <a:pathLst>
                <a:path w="21600" h="21600" extrusionOk="0">
                  <a:moveTo>
                    <a:pt x="10789" y="0"/>
                  </a:moveTo>
                  <a:cubicBezTo>
                    <a:pt x="4857" y="0"/>
                    <a:pt x="0" y="3511"/>
                    <a:pt x="0" y="7919"/>
                  </a:cubicBezTo>
                  <a:cubicBezTo>
                    <a:pt x="0" y="12264"/>
                    <a:pt x="10789" y="21600"/>
                    <a:pt x="10789" y="21600"/>
                  </a:cubicBezTo>
                  <a:cubicBezTo>
                    <a:pt x="10789" y="21600"/>
                    <a:pt x="21600" y="12280"/>
                    <a:pt x="21600" y="7919"/>
                  </a:cubicBezTo>
                  <a:cubicBezTo>
                    <a:pt x="21600" y="3574"/>
                    <a:pt x="16743" y="0"/>
                    <a:pt x="10789" y="0"/>
                  </a:cubicBezTo>
                </a:path>
              </a:pathLst>
            </a:custGeom>
            <a:solidFill>
              <a:schemeClr val="accent1"/>
            </a:solidFill>
            <a:ln w="3175">
              <a:miter lim="400000"/>
            </a:ln>
          </p:spPr>
          <p:txBody>
            <a:bodyPr lIns="59013" tIns="59013" rIns="59013" bIns="59013" anchor="ctr"/>
            <a:lstStyle/>
            <a:p>
              <a:pPr algn="l" defTabSz="590133">
                <a:lnSpc>
                  <a:spcPct val="93000"/>
                </a:lnSpc>
                <a:defRPr sz="2200">
                  <a:latin typeface="Arial"/>
                  <a:ea typeface="Arial"/>
                  <a:cs typeface="Arial"/>
                  <a:sym typeface="Arial"/>
                </a:defRPr>
              </a:pPr>
              <a:endParaRPr sz="2400" spc="100" baseline="0">
                <a:solidFill>
                  <a:schemeClr val="accent1"/>
                </a:solidFill>
              </a:endParaRPr>
            </a:p>
          </p:txBody>
        </p:sp>
      </p:grpSp>
      <p:grpSp>
        <p:nvGrpSpPr>
          <p:cNvPr id="60" name="Group 59">
            <a:extLst>
              <a:ext uri="{FF2B5EF4-FFF2-40B4-BE49-F238E27FC236}">
                <a16:creationId xmlns:a16="http://schemas.microsoft.com/office/drawing/2014/main" id="{18B1E878-87CB-AEF4-C457-DBEE9AF1D1FE}"/>
              </a:ext>
            </a:extLst>
          </p:cNvPr>
          <p:cNvGrpSpPr/>
          <p:nvPr userDrawn="1"/>
        </p:nvGrpSpPr>
        <p:grpSpPr>
          <a:xfrm>
            <a:off x="6677616" y="5725874"/>
            <a:ext cx="951309" cy="341297"/>
            <a:chOff x="6677616" y="5725874"/>
            <a:chExt cx="951309" cy="341297"/>
          </a:xfrm>
        </p:grpSpPr>
        <p:sp>
          <p:nvSpPr>
            <p:cNvPr id="61" name="Shape 2452">
              <a:extLst>
                <a:ext uri="{FF2B5EF4-FFF2-40B4-BE49-F238E27FC236}">
                  <a16:creationId xmlns:a16="http://schemas.microsoft.com/office/drawing/2014/main" id="{1E2971BA-A131-BDFE-BE81-A6CD1AB1B9B0}"/>
                </a:ext>
              </a:extLst>
            </p:cNvPr>
            <p:cNvSpPr>
              <a:spLocks noChangeAspect="1"/>
            </p:cNvSpPr>
            <p:nvPr userDrawn="1"/>
          </p:nvSpPr>
          <p:spPr>
            <a:xfrm>
              <a:off x="7107100" y="5725874"/>
              <a:ext cx="92341" cy="125987"/>
            </a:xfrm>
            <a:custGeom>
              <a:avLst/>
              <a:gdLst/>
              <a:ahLst/>
              <a:cxnLst>
                <a:cxn ang="0">
                  <a:pos x="wd2" y="hd2"/>
                </a:cxn>
                <a:cxn ang="5400000">
                  <a:pos x="wd2" y="hd2"/>
                </a:cxn>
                <a:cxn ang="10800000">
                  <a:pos x="wd2" y="hd2"/>
                </a:cxn>
                <a:cxn ang="16200000">
                  <a:pos x="wd2" y="hd2"/>
                </a:cxn>
              </a:cxnLst>
              <a:rect l="0" t="0" r="r" b="b"/>
              <a:pathLst>
                <a:path w="21600" h="21600" extrusionOk="0">
                  <a:moveTo>
                    <a:pt x="10789" y="0"/>
                  </a:moveTo>
                  <a:cubicBezTo>
                    <a:pt x="4857" y="0"/>
                    <a:pt x="0" y="3511"/>
                    <a:pt x="0" y="7919"/>
                  </a:cubicBezTo>
                  <a:cubicBezTo>
                    <a:pt x="0" y="12264"/>
                    <a:pt x="10789" y="21600"/>
                    <a:pt x="10789" y="21600"/>
                  </a:cubicBezTo>
                  <a:cubicBezTo>
                    <a:pt x="10789" y="21600"/>
                    <a:pt x="21600" y="12280"/>
                    <a:pt x="21600" y="7919"/>
                  </a:cubicBezTo>
                  <a:cubicBezTo>
                    <a:pt x="21600" y="3574"/>
                    <a:pt x="16743" y="0"/>
                    <a:pt x="10789" y="0"/>
                  </a:cubicBezTo>
                </a:path>
              </a:pathLst>
            </a:custGeom>
            <a:solidFill>
              <a:schemeClr val="accent1"/>
            </a:solidFill>
            <a:ln w="3175">
              <a:miter lim="400000"/>
            </a:ln>
          </p:spPr>
          <p:txBody>
            <a:bodyPr lIns="59013" tIns="59013" rIns="59013" bIns="59013" anchor="ctr"/>
            <a:lstStyle/>
            <a:p>
              <a:pPr algn="l" defTabSz="590133">
                <a:lnSpc>
                  <a:spcPct val="93000"/>
                </a:lnSpc>
                <a:defRPr sz="2200">
                  <a:latin typeface="Arial"/>
                  <a:ea typeface="Arial"/>
                  <a:cs typeface="Arial"/>
                  <a:sym typeface="Arial"/>
                </a:defRPr>
              </a:pPr>
              <a:endParaRPr sz="2400" spc="100" baseline="0">
                <a:solidFill>
                  <a:schemeClr val="accent1"/>
                </a:solidFill>
              </a:endParaRPr>
            </a:p>
          </p:txBody>
        </p:sp>
        <p:sp>
          <p:nvSpPr>
            <p:cNvPr id="62" name="TextBox 61">
              <a:extLst>
                <a:ext uri="{FF2B5EF4-FFF2-40B4-BE49-F238E27FC236}">
                  <a16:creationId xmlns:a16="http://schemas.microsoft.com/office/drawing/2014/main" id="{CB4A05A2-09C0-FAF2-861A-20D9048A37C2}"/>
                </a:ext>
              </a:extLst>
            </p:cNvPr>
            <p:cNvSpPr txBox="1"/>
            <p:nvPr userDrawn="1"/>
          </p:nvSpPr>
          <p:spPr>
            <a:xfrm>
              <a:off x="6677616" y="5928672"/>
              <a:ext cx="951309" cy="138499"/>
            </a:xfrm>
            <a:prstGeom prst="rect">
              <a:avLst/>
            </a:prstGeom>
            <a:noFill/>
          </p:spPr>
          <p:txBody>
            <a:bodyPr vert="horz" wrap="square" lIns="0" tIns="0" rIns="0" bIns="0" rtlCol="0" anchor="t">
              <a:spAutoFit/>
            </a:bodyPr>
            <a:lstStyle/>
            <a:p>
              <a:pPr marL="0" algn="ctr" defTabSz="914400" rtl="0" eaLnBrk="1" latinLnBrk="0" hangingPunct="1"/>
              <a:r>
                <a:rPr lang="en-US" sz="900" b="0" u="none" kern="1200" spc="100" baseline="0">
                  <a:solidFill>
                    <a:schemeClr val="tx1"/>
                  </a:solidFill>
                  <a:latin typeface="+mj-lt"/>
                  <a:ea typeface="+mn-ea"/>
                  <a:cs typeface="Tahoma" pitchFamily="34" charset="0"/>
                </a:rPr>
                <a:t>MUNICH</a:t>
              </a:r>
            </a:p>
          </p:txBody>
        </p:sp>
      </p:grpSp>
      <p:grpSp>
        <p:nvGrpSpPr>
          <p:cNvPr id="63" name="Group 62">
            <a:extLst>
              <a:ext uri="{FF2B5EF4-FFF2-40B4-BE49-F238E27FC236}">
                <a16:creationId xmlns:a16="http://schemas.microsoft.com/office/drawing/2014/main" id="{CD5339AF-4A3A-171E-55C8-CAF44EB8C981}"/>
              </a:ext>
            </a:extLst>
          </p:cNvPr>
          <p:cNvGrpSpPr/>
          <p:nvPr userDrawn="1"/>
        </p:nvGrpSpPr>
        <p:grpSpPr>
          <a:xfrm>
            <a:off x="8781032" y="5725874"/>
            <a:ext cx="951309" cy="341297"/>
            <a:chOff x="8781032" y="6371773"/>
            <a:chExt cx="951309" cy="341297"/>
          </a:xfrm>
        </p:grpSpPr>
        <p:sp>
          <p:nvSpPr>
            <p:cNvPr id="65" name="Shape 2452">
              <a:extLst>
                <a:ext uri="{FF2B5EF4-FFF2-40B4-BE49-F238E27FC236}">
                  <a16:creationId xmlns:a16="http://schemas.microsoft.com/office/drawing/2014/main" id="{DB060A30-71EE-AAA9-CECC-CE31F66A7C7E}"/>
                </a:ext>
              </a:extLst>
            </p:cNvPr>
            <p:cNvSpPr>
              <a:spLocks noChangeAspect="1"/>
            </p:cNvSpPr>
            <p:nvPr userDrawn="1"/>
          </p:nvSpPr>
          <p:spPr>
            <a:xfrm>
              <a:off x="9210516" y="6371773"/>
              <a:ext cx="92341" cy="125987"/>
            </a:xfrm>
            <a:custGeom>
              <a:avLst/>
              <a:gdLst/>
              <a:ahLst/>
              <a:cxnLst>
                <a:cxn ang="0">
                  <a:pos x="wd2" y="hd2"/>
                </a:cxn>
                <a:cxn ang="5400000">
                  <a:pos x="wd2" y="hd2"/>
                </a:cxn>
                <a:cxn ang="10800000">
                  <a:pos x="wd2" y="hd2"/>
                </a:cxn>
                <a:cxn ang="16200000">
                  <a:pos x="wd2" y="hd2"/>
                </a:cxn>
              </a:cxnLst>
              <a:rect l="0" t="0" r="r" b="b"/>
              <a:pathLst>
                <a:path w="21600" h="21600" extrusionOk="0">
                  <a:moveTo>
                    <a:pt x="10789" y="0"/>
                  </a:moveTo>
                  <a:cubicBezTo>
                    <a:pt x="4857" y="0"/>
                    <a:pt x="0" y="3511"/>
                    <a:pt x="0" y="7919"/>
                  </a:cubicBezTo>
                  <a:cubicBezTo>
                    <a:pt x="0" y="12264"/>
                    <a:pt x="10789" y="21600"/>
                    <a:pt x="10789" y="21600"/>
                  </a:cubicBezTo>
                  <a:cubicBezTo>
                    <a:pt x="10789" y="21600"/>
                    <a:pt x="21600" y="12280"/>
                    <a:pt x="21600" y="7919"/>
                  </a:cubicBezTo>
                  <a:cubicBezTo>
                    <a:pt x="21600" y="3574"/>
                    <a:pt x="16743" y="0"/>
                    <a:pt x="10789" y="0"/>
                  </a:cubicBezTo>
                </a:path>
              </a:pathLst>
            </a:custGeom>
            <a:solidFill>
              <a:schemeClr val="accent1"/>
            </a:solidFill>
            <a:ln w="3175">
              <a:miter lim="400000"/>
            </a:ln>
          </p:spPr>
          <p:txBody>
            <a:bodyPr lIns="59013" tIns="59013" rIns="59013" bIns="59013" anchor="ctr"/>
            <a:lstStyle/>
            <a:p>
              <a:pPr algn="l" defTabSz="590133">
                <a:lnSpc>
                  <a:spcPct val="93000"/>
                </a:lnSpc>
                <a:defRPr sz="2200">
                  <a:latin typeface="Arial"/>
                  <a:ea typeface="Arial"/>
                  <a:cs typeface="Arial"/>
                  <a:sym typeface="Arial"/>
                </a:defRPr>
              </a:pPr>
              <a:endParaRPr sz="2400" spc="100" baseline="0">
                <a:solidFill>
                  <a:schemeClr val="accent1"/>
                </a:solidFill>
              </a:endParaRPr>
            </a:p>
          </p:txBody>
        </p:sp>
        <p:sp>
          <p:nvSpPr>
            <p:cNvPr id="67" name="TextBox 66">
              <a:extLst>
                <a:ext uri="{FF2B5EF4-FFF2-40B4-BE49-F238E27FC236}">
                  <a16:creationId xmlns:a16="http://schemas.microsoft.com/office/drawing/2014/main" id="{2BD68742-E44C-4D53-4FCE-6CC36B61013C}"/>
                </a:ext>
              </a:extLst>
            </p:cNvPr>
            <p:cNvSpPr txBox="1"/>
            <p:nvPr userDrawn="1"/>
          </p:nvSpPr>
          <p:spPr>
            <a:xfrm>
              <a:off x="8781032" y="6574571"/>
              <a:ext cx="951309" cy="138499"/>
            </a:xfrm>
            <a:prstGeom prst="rect">
              <a:avLst/>
            </a:prstGeom>
            <a:noFill/>
          </p:spPr>
          <p:txBody>
            <a:bodyPr vert="horz" wrap="square" lIns="0" tIns="0" rIns="0" bIns="0" rtlCol="0" anchor="t">
              <a:spAutoFit/>
            </a:bodyPr>
            <a:lstStyle/>
            <a:p>
              <a:pPr marL="0" algn="ctr" defTabSz="914400" rtl="0" eaLnBrk="1" latinLnBrk="0" hangingPunct="1"/>
              <a:r>
                <a:rPr lang="en-US" sz="900" b="0" u="none" kern="1200" spc="100" baseline="0">
                  <a:solidFill>
                    <a:schemeClr val="tx1"/>
                  </a:solidFill>
                  <a:latin typeface="+mj-lt"/>
                  <a:ea typeface="+mn-ea"/>
                  <a:cs typeface="Tahoma" pitchFamily="34" charset="0"/>
                </a:rPr>
                <a:t>GURGAON</a:t>
              </a:r>
            </a:p>
          </p:txBody>
        </p:sp>
      </p:grpSp>
      <p:grpSp>
        <p:nvGrpSpPr>
          <p:cNvPr id="68" name="Group 67">
            <a:extLst>
              <a:ext uri="{FF2B5EF4-FFF2-40B4-BE49-F238E27FC236}">
                <a16:creationId xmlns:a16="http://schemas.microsoft.com/office/drawing/2014/main" id="{9B7B5779-AE47-57F2-B872-D35098B4C0A9}"/>
              </a:ext>
            </a:extLst>
          </p:cNvPr>
          <p:cNvGrpSpPr/>
          <p:nvPr userDrawn="1"/>
        </p:nvGrpSpPr>
        <p:grpSpPr>
          <a:xfrm>
            <a:off x="3522492" y="5725874"/>
            <a:ext cx="951309" cy="341297"/>
            <a:chOff x="3522492" y="6371773"/>
            <a:chExt cx="951309" cy="341297"/>
          </a:xfrm>
        </p:grpSpPr>
        <p:sp>
          <p:nvSpPr>
            <p:cNvPr id="69" name="TextBox 68">
              <a:extLst>
                <a:ext uri="{FF2B5EF4-FFF2-40B4-BE49-F238E27FC236}">
                  <a16:creationId xmlns:a16="http://schemas.microsoft.com/office/drawing/2014/main" id="{ECA45C61-9282-422B-BECB-C7E2EC28EE8C}"/>
                </a:ext>
              </a:extLst>
            </p:cNvPr>
            <p:cNvSpPr txBox="1"/>
            <p:nvPr userDrawn="1"/>
          </p:nvSpPr>
          <p:spPr>
            <a:xfrm>
              <a:off x="3522492" y="6574571"/>
              <a:ext cx="951309" cy="138499"/>
            </a:xfrm>
            <a:prstGeom prst="rect">
              <a:avLst/>
            </a:prstGeom>
            <a:noFill/>
          </p:spPr>
          <p:txBody>
            <a:bodyPr vert="horz" wrap="square" lIns="0" tIns="0" rIns="0" bIns="0" rtlCol="0" anchor="t">
              <a:spAutoFit/>
            </a:bodyPr>
            <a:lstStyle/>
            <a:p>
              <a:pPr marL="0" algn="ctr" defTabSz="914400" rtl="0" eaLnBrk="1" latinLnBrk="0" hangingPunct="1"/>
              <a:r>
                <a:rPr lang="en-US" sz="900" b="0" u="none" kern="1200" spc="100" baseline="0">
                  <a:solidFill>
                    <a:schemeClr val="tx1"/>
                  </a:solidFill>
                  <a:latin typeface="+mj-lt"/>
                  <a:ea typeface="+mn-ea"/>
                  <a:cs typeface="Tahoma" pitchFamily="34" charset="0"/>
                </a:rPr>
                <a:t>PRINCETON</a:t>
              </a:r>
            </a:p>
          </p:txBody>
        </p:sp>
        <p:sp>
          <p:nvSpPr>
            <p:cNvPr id="70" name="Shape 2452">
              <a:extLst>
                <a:ext uri="{FF2B5EF4-FFF2-40B4-BE49-F238E27FC236}">
                  <a16:creationId xmlns:a16="http://schemas.microsoft.com/office/drawing/2014/main" id="{B693884A-B083-8581-D747-028FDFF22DB0}"/>
                </a:ext>
              </a:extLst>
            </p:cNvPr>
            <p:cNvSpPr>
              <a:spLocks noChangeAspect="1"/>
            </p:cNvSpPr>
            <p:nvPr userDrawn="1"/>
          </p:nvSpPr>
          <p:spPr>
            <a:xfrm>
              <a:off x="3951976" y="6371773"/>
              <a:ext cx="92341" cy="125987"/>
            </a:xfrm>
            <a:custGeom>
              <a:avLst/>
              <a:gdLst/>
              <a:ahLst/>
              <a:cxnLst>
                <a:cxn ang="0">
                  <a:pos x="wd2" y="hd2"/>
                </a:cxn>
                <a:cxn ang="5400000">
                  <a:pos x="wd2" y="hd2"/>
                </a:cxn>
                <a:cxn ang="10800000">
                  <a:pos x="wd2" y="hd2"/>
                </a:cxn>
                <a:cxn ang="16200000">
                  <a:pos x="wd2" y="hd2"/>
                </a:cxn>
              </a:cxnLst>
              <a:rect l="0" t="0" r="r" b="b"/>
              <a:pathLst>
                <a:path w="21600" h="21600" extrusionOk="0">
                  <a:moveTo>
                    <a:pt x="10789" y="0"/>
                  </a:moveTo>
                  <a:cubicBezTo>
                    <a:pt x="4857" y="0"/>
                    <a:pt x="0" y="3511"/>
                    <a:pt x="0" y="7919"/>
                  </a:cubicBezTo>
                  <a:cubicBezTo>
                    <a:pt x="0" y="12264"/>
                    <a:pt x="10789" y="21600"/>
                    <a:pt x="10789" y="21600"/>
                  </a:cubicBezTo>
                  <a:cubicBezTo>
                    <a:pt x="10789" y="21600"/>
                    <a:pt x="21600" y="12280"/>
                    <a:pt x="21600" y="7919"/>
                  </a:cubicBezTo>
                  <a:cubicBezTo>
                    <a:pt x="21600" y="3574"/>
                    <a:pt x="16743" y="0"/>
                    <a:pt x="10789" y="0"/>
                  </a:cubicBezTo>
                </a:path>
              </a:pathLst>
            </a:custGeom>
            <a:solidFill>
              <a:schemeClr val="accent1"/>
            </a:solidFill>
            <a:ln w="3175">
              <a:miter lim="400000"/>
            </a:ln>
          </p:spPr>
          <p:txBody>
            <a:bodyPr lIns="59013" tIns="59013" rIns="59013" bIns="59013" anchor="ctr"/>
            <a:lstStyle/>
            <a:p>
              <a:pPr algn="l" defTabSz="590133">
                <a:lnSpc>
                  <a:spcPct val="93000"/>
                </a:lnSpc>
                <a:defRPr sz="2200">
                  <a:latin typeface="Arial"/>
                  <a:ea typeface="Arial"/>
                  <a:cs typeface="Arial"/>
                  <a:sym typeface="Arial"/>
                </a:defRPr>
              </a:pPr>
              <a:endParaRPr sz="2400" spc="100" baseline="0">
                <a:solidFill>
                  <a:schemeClr val="accent1"/>
                </a:solidFill>
              </a:endParaRPr>
            </a:p>
          </p:txBody>
        </p:sp>
      </p:grpSp>
      <p:grpSp>
        <p:nvGrpSpPr>
          <p:cNvPr id="71" name="Group 70">
            <a:extLst>
              <a:ext uri="{FF2B5EF4-FFF2-40B4-BE49-F238E27FC236}">
                <a16:creationId xmlns:a16="http://schemas.microsoft.com/office/drawing/2014/main" id="{EA616A0A-90B7-2E87-3CFD-340C49FC782C}"/>
              </a:ext>
            </a:extLst>
          </p:cNvPr>
          <p:cNvGrpSpPr/>
          <p:nvPr userDrawn="1"/>
        </p:nvGrpSpPr>
        <p:grpSpPr>
          <a:xfrm>
            <a:off x="4574200" y="5725874"/>
            <a:ext cx="951309" cy="341297"/>
            <a:chOff x="4574200" y="6371773"/>
            <a:chExt cx="951309" cy="341297"/>
          </a:xfrm>
        </p:grpSpPr>
        <p:sp>
          <p:nvSpPr>
            <p:cNvPr id="72" name="Shape 2452">
              <a:extLst>
                <a:ext uri="{FF2B5EF4-FFF2-40B4-BE49-F238E27FC236}">
                  <a16:creationId xmlns:a16="http://schemas.microsoft.com/office/drawing/2014/main" id="{A86B73BD-7A41-724C-DBB4-ADD739B2A3BD}"/>
                </a:ext>
              </a:extLst>
            </p:cNvPr>
            <p:cNvSpPr>
              <a:spLocks noChangeAspect="1"/>
            </p:cNvSpPr>
            <p:nvPr userDrawn="1"/>
          </p:nvSpPr>
          <p:spPr>
            <a:xfrm>
              <a:off x="5003684" y="6371773"/>
              <a:ext cx="92341" cy="125987"/>
            </a:xfrm>
            <a:custGeom>
              <a:avLst/>
              <a:gdLst/>
              <a:ahLst/>
              <a:cxnLst>
                <a:cxn ang="0">
                  <a:pos x="wd2" y="hd2"/>
                </a:cxn>
                <a:cxn ang="5400000">
                  <a:pos x="wd2" y="hd2"/>
                </a:cxn>
                <a:cxn ang="10800000">
                  <a:pos x="wd2" y="hd2"/>
                </a:cxn>
                <a:cxn ang="16200000">
                  <a:pos x="wd2" y="hd2"/>
                </a:cxn>
              </a:cxnLst>
              <a:rect l="0" t="0" r="r" b="b"/>
              <a:pathLst>
                <a:path w="21600" h="21600" extrusionOk="0">
                  <a:moveTo>
                    <a:pt x="10789" y="0"/>
                  </a:moveTo>
                  <a:cubicBezTo>
                    <a:pt x="4857" y="0"/>
                    <a:pt x="0" y="3511"/>
                    <a:pt x="0" y="7919"/>
                  </a:cubicBezTo>
                  <a:cubicBezTo>
                    <a:pt x="0" y="12264"/>
                    <a:pt x="10789" y="21600"/>
                    <a:pt x="10789" y="21600"/>
                  </a:cubicBezTo>
                  <a:cubicBezTo>
                    <a:pt x="10789" y="21600"/>
                    <a:pt x="21600" y="12280"/>
                    <a:pt x="21600" y="7919"/>
                  </a:cubicBezTo>
                  <a:cubicBezTo>
                    <a:pt x="21600" y="3574"/>
                    <a:pt x="16743" y="0"/>
                    <a:pt x="10789" y="0"/>
                  </a:cubicBezTo>
                </a:path>
              </a:pathLst>
            </a:custGeom>
            <a:solidFill>
              <a:schemeClr val="accent1"/>
            </a:solidFill>
            <a:ln w="3175">
              <a:miter lim="400000"/>
            </a:ln>
          </p:spPr>
          <p:txBody>
            <a:bodyPr lIns="59013" tIns="59013" rIns="59013" bIns="59013" anchor="ctr"/>
            <a:lstStyle/>
            <a:p>
              <a:pPr algn="l" defTabSz="590133">
                <a:lnSpc>
                  <a:spcPct val="93000"/>
                </a:lnSpc>
                <a:defRPr sz="2200">
                  <a:latin typeface="Arial"/>
                  <a:ea typeface="Arial"/>
                  <a:cs typeface="Arial"/>
                  <a:sym typeface="Arial"/>
                </a:defRPr>
              </a:pPr>
              <a:endParaRPr sz="2400" spc="100" baseline="0">
                <a:solidFill>
                  <a:schemeClr val="accent1"/>
                </a:solidFill>
              </a:endParaRPr>
            </a:p>
          </p:txBody>
        </p:sp>
        <p:sp>
          <p:nvSpPr>
            <p:cNvPr id="73" name="TextBox 72">
              <a:extLst>
                <a:ext uri="{FF2B5EF4-FFF2-40B4-BE49-F238E27FC236}">
                  <a16:creationId xmlns:a16="http://schemas.microsoft.com/office/drawing/2014/main" id="{3D741C62-88EF-CA5A-EE8A-1577FEE61D9C}"/>
                </a:ext>
              </a:extLst>
            </p:cNvPr>
            <p:cNvSpPr txBox="1"/>
            <p:nvPr userDrawn="1"/>
          </p:nvSpPr>
          <p:spPr>
            <a:xfrm>
              <a:off x="4574200" y="6574571"/>
              <a:ext cx="951309" cy="138499"/>
            </a:xfrm>
            <a:prstGeom prst="rect">
              <a:avLst/>
            </a:prstGeom>
            <a:noFill/>
          </p:spPr>
          <p:txBody>
            <a:bodyPr vert="horz" wrap="square" lIns="0" tIns="0" rIns="0" bIns="0" rtlCol="0" anchor="t">
              <a:spAutoFit/>
            </a:bodyPr>
            <a:lstStyle/>
            <a:p>
              <a:pPr marL="0" algn="ctr" defTabSz="914400" rtl="0" eaLnBrk="1" latinLnBrk="0" hangingPunct="1"/>
              <a:r>
                <a:rPr lang="en-US" sz="900" b="0" u="none" kern="1200" spc="100" baseline="0">
                  <a:solidFill>
                    <a:schemeClr val="tx1"/>
                  </a:solidFill>
                  <a:latin typeface="+mj-lt"/>
                  <a:ea typeface="+mn-ea"/>
                  <a:cs typeface="Tahoma" pitchFamily="34" charset="0"/>
                </a:rPr>
                <a:t>PHILADELPHIA</a:t>
              </a:r>
            </a:p>
          </p:txBody>
        </p:sp>
      </p:grpSp>
      <p:grpSp>
        <p:nvGrpSpPr>
          <p:cNvPr id="75" name="Group 74">
            <a:extLst>
              <a:ext uri="{FF2B5EF4-FFF2-40B4-BE49-F238E27FC236}">
                <a16:creationId xmlns:a16="http://schemas.microsoft.com/office/drawing/2014/main" id="{F2DB4799-6867-3FB9-47CA-484D46A1CE0C}"/>
              </a:ext>
            </a:extLst>
          </p:cNvPr>
          <p:cNvGrpSpPr/>
          <p:nvPr userDrawn="1"/>
        </p:nvGrpSpPr>
        <p:grpSpPr>
          <a:xfrm>
            <a:off x="10884444" y="5725874"/>
            <a:ext cx="951309" cy="341297"/>
            <a:chOff x="10884444" y="6371773"/>
            <a:chExt cx="951309" cy="341297"/>
          </a:xfrm>
        </p:grpSpPr>
        <p:sp>
          <p:nvSpPr>
            <p:cNvPr id="85" name="TextBox 84">
              <a:extLst>
                <a:ext uri="{FF2B5EF4-FFF2-40B4-BE49-F238E27FC236}">
                  <a16:creationId xmlns:a16="http://schemas.microsoft.com/office/drawing/2014/main" id="{3CE03958-D72C-4FD5-5323-79A5DE9C88BE}"/>
                </a:ext>
              </a:extLst>
            </p:cNvPr>
            <p:cNvSpPr txBox="1"/>
            <p:nvPr userDrawn="1"/>
          </p:nvSpPr>
          <p:spPr>
            <a:xfrm>
              <a:off x="10884444" y="6574571"/>
              <a:ext cx="951309" cy="138499"/>
            </a:xfrm>
            <a:prstGeom prst="rect">
              <a:avLst/>
            </a:prstGeom>
            <a:noFill/>
          </p:spPr>
          <p:txBody>
            <a:bodyPr vert="horz" wrap="square" lIns="0" tIns="0" rIns="0" bIns="0" rtlCol="0" anchor="t">
              <a:spAutoFit/>
            </a:bodyPr>
            <a:lstStyle/>
            <a:p>
              <a:pPr marL="0" algn="ctr" defTabSz="914400" rtl="0" eaLnBrk="1" latinLnBrk="0" hangingPunct="1"/>
              <a:r>
                <a:rPr lang="en-US" sz="900" b="0" u="none" kern="1200" spc="100" baseline="0">
                  <a:solidFill>
                    <a:schemeClr val="tx1"/>
                  </a:solidFill>
                  <a:latin typeface="+mj-lt"/>
                  <a:ea typeface="+mn-ea"/>
                  <a:cs typeface="Tahoma" pitchFamily="34" charset="0"/>
                </a:rPr>
                <a:t>CHENNAI</a:t>
              </a:r>
            </a:p>
          </p:txBody>
        </p:sp>
        <p:sp>
          <p:nvSpPr>
            <p:cNvPr id="86" name="Shape 2452">
              <a:extLst>
                <a:ext uri="{FF2B5EF4-FFF2-40B4-BE49-F238E27FC236}">
                  <a16:creationId xmlns:a16="http://schemas.microsoft.com/office/drawing/2014/main" id="{2C68EC04-1FA6-29D6-3AC6-97E221C51C69}"/>
                </a:ext>
              </a:extLst>
            </p:cNvPr>
            <p:cNvSpPr>
              <a:spLocks noChangeAspect="1"/>
            </p:cNvSpPr>
            <p:nvPr userDrawn="1"/>
          </p:nvSpPr>
          <p:spPr>
            <a:xfrm>
              <a:off x="11313928" y="6371773"/>
              <a:ext cx="92341" cy="125987"/>
            </a:xfrm>
            <a:custGeom>
              <a:avLst/>
              <a:gdLst/>
              <a:ahLst/>
              <a:cxnLst>
                <a:cxn ang="0">
                  <a:pos x="wd2" y="hd2"/>
                </a:cxn>
                <a:cxn ang="5400000">
                  <a:pos x="wd2" y="hd2"/>
                </a:cxn>
                <a:cxn ang="10800000">
                  <a:pos x="wd2" y="hd2"/>
                </a:cxn>
                <a:cxn ang="16200000">
                  <a:pos x="wd2" y="hd2"/>
                </a:cxn>
              </a:cxnLst>
              <a:rect l="0" t="0" r="r" b="b"/>
              <a:pathLst>
                <a:path w="21600" h="21600" extrusionOk="0">
                  <a:moveTo>
                    <a:pt x="10789" y="0"/>
                  </a:moveTo>
                  <a:cubicBezTo>
                    <a:pt x="4857" y="0"/>
                    <a:pt x="0" y="3511"/>
                    <a:pt x="0" y="7919"/>
                  </a:cubicBezTo>
                  <a:cubicBezTo>
                    <a:pt x="0" y="12264"/>
                    <a:pt x="10789" y="21600"/>
                    <a:pt x="10789" y="21600"/>
                  </a:cubicBezTo>
                  <a:cubicBezTo>
                    <a:pt x="10789" y="21600"/>
                    <a:pt x="21600" y="12280"/>
                    <a:pt x="21600" y="7919"/>
                  </a:cubicBezTo>
                  <a:cubicBezTo>
                    <a:pt x="21600" y="3574"/>
                    <a:pt x="16743" y="0"/>
                    <a:pt x="10789" y="0"/>
                  </a:cubicBezTo>
                </a:path>
              </a:pathLst>
            </a:custGeom>
            <a:solidFill>
              <a:schemeClr val="accent1"/>
            </a:solidFill>
            <a:ln w="3175">
              <a:miter lim="400000"/>
            </a:ln>
          </p:spPr>
          <p:txBody>
            <a:bodyPr lIns="59013" tIns="59013" rIns="59013" bIns="59013" anchor="ctr"/>
            <a:lstStyle/>
            <a:p>
              <a:pPr algn="l" defTabSz="590133">
                <a:lnSpc>
                  <a:spcPct val="93000"/>
                </a:lnSpc>
                <a:defRPr sz="2200">
                  <a:latin typeface="Arial"/>
                  <a:ea typeface="Arial"/>
                  <a:cs typeface="Arial"/>
                  <a:sym typeface="Arial"/>
                </a:defRPr>
              </a:pPr>
              <a:endParaRPr sz="2400" spc="100" baseline="0">
                <a:solidFill>
                  <a:schemeClr val="accent1"/>
                </a:solidFill>
              </a:endParaRPr>
            </a:p>
          </p:txBody>
        </p:sp>
      </p:grpSp>
    </p:spTree>
    <p:extLst>
      <p:ext uri="{BB962C8B-B14F-4D97-AF65-F5344CB8AC3E}">
        <p14:creationId xmlns:p14="http://schemas.microsoft.com/office/powerpoint/2010/main" val="244285876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ags" Target="../tags/tag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1.xml"/><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1"/>
            </p:custDataLst>
            <p:extLst>
              <p:ext uri="{D42A27DB-BD31-4B8C-83A1-F6EECF244321}">
                <p14:modId xmlns:p14="http://schemas.microsoft.com/office/powerpoint/2010/main" val="2808260910"/>
              </p:ext>
            </p:extLst>
          </p:nvPr>
        </p:nvGraphicFramePr>
        <p:xfrm>
          <a:off x="2119" y="1593"/>
          <a:ext cx="2116" cy="1587"/>
        </p:xfrm>
        <a:graphic>
          <a:graphicData uri="http://schemas.openxmlformats.org/presentationml/2006/ole">
            <mc:AlternateContent xmlns:mc="http://schemas.openxmlformats.org/markup-compatibility/2006">
              <mc:Choice xmlns:v="urn:schemas-microsoft-com:vml" Requires="v">
                <p:oleObj name="think-cell Slide" r:id="rId13" imgW="383" imgH="384" progId="TCLayout.ActiveDocument.1">
                  <p:embed/>
                </p:oleObj>
              </mc:Choice>
              <mc:Fallback>
                <p:oleObj name="think-cell Slide" r:id="rId13" imgW="383" imgH="384" progId="TCLayout.ActiveDocument.1">
                  <p:embed/>
                  <p:pic>
                    <p:nvPicPr>
                      <p:cNvPr id="6" name="Object 5" hidden="1"/>
                      <p:cNvPicPr/>
                      <p:nvPr/>
                    </p:nvPicPr>
                    <p:blipFill>
                      <a:blip r:embed="rId14"/>
                      <a:stretch>
                        <a:fillRect/>
                      </a:stretch>
                    </p:blipFill>
                    <p:spPr>
                      <a:xfrm>
                        <a:off x="2119" y="1593"/>
                        <a:ext cx="2116" cy="158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8210957E-023C-46D1-8B55-419F12CDC4E9}"/>
              </a:ext>
            </a:extLst>
          </p:cNvPr>
          <p:cNvSpPr/>
          <p:nvPr userDrawn="1">
            <p:custDataLst>
              <p:tags r:id="rId12"/>
            </p:custDataLst>
          </p:nvPr>
        </p:nvSpPr>
        <p:spPr>
          <a:xfrm>
            <a:off x="0" y="0"/>
            <a:ext cx="158750" cy="158750"/>
          </a:xfrm>
          <a:prstGeom prst="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wrap="none" lIns="0" tIns="0" rIns="0" bIns="0" numCol="1" spcCol="0" rtlCol="0" anchor="ctr" anchorCtr="0">
            <a:noAutofit/>
          </a:bodyPr>
          <a:lstStyle/>
          <a:p>
            <a:pPr marL="0" lvl="0" indent="0" algn="ctr"/>
            <a:endParaRPr lang="en-US" sz="2600" b="0" i="0" baseline="0">
              <a:latin typeface="Calibri" panose="020F0502020204030204" pitchFamily="34" charset="0"/>
              <a:ea typeface="+mj-ea"/>
              <a:cs typeface="Tahoma" panose="020B0604030504040204" pitchFamily="34" charset="0"/>
              <a:sym typeface="Calibri" panose="020F0502020204030204" pitchFamily="34" charset="0"/>
            </a:endParaRPr>
          </a:p>
        </p:txBody>
      </p:sp>
      <p:sp>
        <p:nvSpPr>
          <p:cNvPr id="2" name="Title Placeholder 1"/>
          <p:cNvSpPr>
            <a:spLocks noGrp="1"/>
          </p:cNvSpPr>
          <p:nvPr>
            <p:ph type="title"/>
          </p:nvPr>
        </p:nvSpPr>
        <p:spPr>
          <a:xfrm>
            <a:off x="609600" y="104415"/>
            <a:ext cx="10972800" cy="906738"/>
          </a:xfrm>
          <a:prstGeom prst="rect">
            <a:avLst/>
          </a:prstGeom>
          <a:noFill/>
        </p:spPr>
        <p:txBody>
          <a:bodyPr vert="horz" lIns="91440" tIns="45720" rIns="91440" bIns="45720" rtlCol="0" anchor="ctr">
            <a:noAutofit/>
          </a:bodyPr>
          <a:lstStyle/>
          <a:p>
            <a:r>
              <a:rPr lang="en-US"/>
              <a:t>Title Line 1</a:t>
            </a:r>
            <a:br>
              <a:rPr lang="en-US"/>
            </a:br>
            <a:r>
              <a:rPr lang="en-US"/>
              <a:t>Title Line Continued</a:t>
            </a:r>
          </a:p>
        </p:txBody>
      </p:sp>
      <p:sp>
        <p:nvSpPr>
          <p:cNvPr id="3" name="Text Placeholder 2"/>
          <p:cNvSpPr>
            <a:spLocks noGrp="1"/>
          </p:cNvSpPr>
          <p:nvPr>
            <p:ph type="body" idx="1"/>
          </p:nvPr>
        </p:nvSpPr>
        <p:spPr>
          <a:xfrm>
            <a:off x="609600" y="1285336"/>
            <a:ext cx="10972800" cy="5063706"/>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Box 6">
            <a:extLst>
              <a:ext uri="{FF2B5EF4-FFF2-40B4-BE49-F238E27FC236}">
                <a16:creationId xmlns:a16="http://schemas.microsoft.com/office/drawing/2014/main" id="{1150DC06-A8CE-F75F-4C3C-1E650BF00570}"/>
              </a:ext>
            </a:extLst>
          </p:cNvPr>
          <p:cNvSpPr txBox="1"/>
          <p:nvPr userDrawn="1">
            <p:extLst>
              <p:ext uri="{1162E1C5-73C7-4A58-AE30-91384D911F3F}">
                <p184:classification xmlns:p184="http://schemas.microsoft.com/office/powerpoint/2018/4/main" val="ftr"/>
              </p:ext>
            </p:extLst>
          </p:nvPr>
        </p:nvSpPr>
        <p:spPr>
          <a:xfrm>
            <a:off x="5941187" y="6642100"/>
            <a:ext cx="338138" cy="152400"/>
          </a:xfrm>
          <a:prstGeom prst="rect">
            <a:avLst/>
          </a:prstGeom>
        </p:spPr>
        <p:txBody>
          <a:bodyPr horzOverflow="overflow" lIns="0" tIns="0" rIns="0" bIns="0">
            <a:spAutoFit/>
          </a:bodyPr>
          <a:lstStyle/>
          <a:p>
            <a:pPr algn="l"/>
            <a:r>
              <a:rPr lang="en-US" sz="1000">
                <a:solidFill>
                  <a:srgbClr val="000000"/>
                </a:solidFill>
                <a:latin typeface="Calibri" panose="020F0502020204030204" pitchFamily="34" charset="0"/>
                <a:cs typeface="Calibri" panose="020F0502020204030204" pitchFamily="34" charset="0"/>
              </a:rPr>
              <a:t>Public</a:t>
            </a:r>
          </a:p>
        </p:txBody>
      </p:sp>
    </p:spTree>
    <p:extLst>
      <p:ext uri="{BB962C8B-B14F-4D97-AF65-F5344CB8AC3E}">
        <p14:creationId xmlns:p14="http://schemas.microsoft.com/office/powerpoint/2010/main" val="127416966"/>
      </p:ext>
    </p:extLst>
  </p:cSld>
  <p:clrMap bg1="lt1" tx1="dk1" bg2="lt2" tx2="dk2" accent1="accent1" accent2="accent2" accent3="accent3" accent4="accent4" accent5="accent5" accent6="accent6" hlink="hlink" folHlink="folHlink"/>
  <p:sldLayoutIdLst>
    <p:sldLayoutId id="2147483664" r:id="rId1"/>
    <p:sldLayoutId id="2147483665" r:id="rId2"/>
    <p:sldLayoutId id="2147483666" r:id="rId3"/>
    <p:sldLayoutId id="2147483667" r:id="rId4"/>
    <p:sldLayoutId id="2147483668" r:id="rId5"/>
    <p:sldLayoutId id="2147483669" r:id="rId6"/>
    <p:sldLayoutId id="2147483670" r:id="rId7"/>
    <p:sldLayoutId id="2147483671" r:id="rId8"/>
    <p:sldLayoutId id="2147483672" r:id="rId9"/>
  </p:sldLayoutIdLst>
  <p:hf hdr="0" ftr="0" dt="0"/>
  <p:txStyles>
    <p:titleStyle>
      <a:lvl1pPr algn="l" defTabSz="914400" rtl="0" eaLnBrk="1" latinLnBrk="0" hangingPunct="1">
        <a:spcBef>
          <a:spcPct val="0"/>
        </a:spcBef>
        <a:buNone/>
        <a:defRPr sz="2600" b="0" kern="1200" spc="120" baseline="0">
          <a:solidFill>
            <a:schemeClr val="tx1"/>
          </a:solidFill>
          <a:latin typeface="+mn-lt"/>
          <a:ea typeface="+mj-ea"/>
          <a:cs typeface="Tahoma" pitchFamily="34" charset="0"/>
        </a:defRPr>
      </a:lvl1pPr>
    </p:titleStyle>
    <p:bodyStyle>
      <a:lvl1pPr marL="190500" indent="-187325" algn="l" defTabSz="914400" rtl="0" eaLnBrk="1" latinLnBrk="0" hangingPunct="1">
        <a:spcBef>
          <a:spcPts val="600"/>
        </a:spcBef>
        <a:buClr>
          <a:schemeClr val="bg2">
            <a:lumMod val="50000"/>
          </a:schemeClr>
        </a:buClr>
        <a:buFont typeface="Arial" panose="020B0604020202020204" pitchFamily="34" charset="0"/>
        <a:buChar char="•"/>
        <a:defRPr sz="1800" kern="1200">
          <a:solidFill>
            <a:schemeClr val="tx1"/>
          </a:solidFill>
          <a:latin typeface="+mn-lt"/>
          <a:ea typeface="+mn-ea"/>
          <a:cs typeface="Tahoma" pitchFamily="34" charset="0"/>
        </a:defRPr>
      </a:lvl1pPr>
      <a:lvl2pPr marL="439738" indent="-250825" algn="l" defTabSz="914400" rtl="0" eaLnBrk="1" latinLnBrk="0" hangingPunct="1">
        <a:spcBef>
          <a:spcPts val="600"/>
        </a:spcBef>
        <a:buClr>
          <a:schemeClr val="bg2">
            <a:lumMod val="50000"/>
          </a:schemeClr>
        </a:buClr>
        <a:buFont typeface="Courier New" pitchFamily="49" charset="0"/>
        <a:buChar char="­"/>
        <a:defRPr sz="1600" kern="1200">
          <a:solidFill>
            <a:schemeClr val="accent1"/>
          </a:solidFill>
          <a:latin typeface="+mn-lt"/>
          <a:ea typeface="+mn-ea"/>
          <a:cs typeface="Tahoma" pitchFamily="34" charset="0"/>
        </a:defRPr>
      </a:lvl2pPr>
      <a:lvl3pPr marL="652463" indent="-217488" algn="l" defTabSz="914400" rtl="0" eaLnBrk="1" latinLnBrk="0" hangingPunct="1">
        <a:spcBef>
          <a:spcPts val="600"/>
        </a:spcBef>
        <a:buClr>
          <a:schemeClr val="bg2">
            <a:lumMod val="50000"/>
          </a:schemeClr>
        </a:buClr>
        <a:buFont typeface="Arial" panose="020B0604020202020204" pitchFamily="34" charset="0"/>
        <a:buChar char="•"/>
        <a:defRPr sz="1400" kern="1200">
          <a:solidFill>
            <a:schemeClr val="bg2">
              <a:lumMod val="50000"/>
            </a:schemeClr>
          </a:solidFill>
          <a:latin typeface="+mn-lt"/>
          <a:ea typeface="+mn-ea"/>
          <a:cs typeface="Tahoma" pitchFamily="34" charset="0"/>
        </a:defRPr>
      </a:lvl3pPr>
      <a:lvl4pPr marL="833438" indent="-173038" algn="l" defTabSz="914400" rtl="0" eaLnBrk="1" latinLnBrk="0" hangingPunct="1">
        <a:spcBef>
          <a:spcPts val="600"/>
        </a:spcBef>
        <a:buClr>
          <a:schemeClr val="bg2">
            <a:lumMod val="50000"/>
          </a:schemeClr>
        </a:buClr>
        <a:buFont typeface="Arial" pitchFamily="34" charset="0"/>
        <a:buChar char="–"/>
        <a:defRPr sz="1200" kern="1200">
          <a:solidFill>
            <a:schemeClr val="bg2">
              <a:lumMod val="50000"/>
            </a:schemeClr>
          </a:solidFill>
          <a:latin typeface="+mn-lt"/>
          <a:ea typeface="+mn-ea"/>
          <a:cs typeface="Tahoma" pitchFamily="34" charset="0"/>
        </a:defRPr>
      </a:lvl4pPr>
      <a:lvl5pPr marL="1004888" indent="-169863" algn="l" defTabSz="914400" rtl="0" eaLnBrk="1" latinLnBrk="0" hangingPunct="1">
        <a:spcBef>
          <a:spcPts val="600"/>
        </a:spcBef>
        <a:buClr>
          <a:schemeClr val="bg2">
            <a:lumMod val="50000"/>
          </a:schemeClr>
        </a:buClr>
        <a:buFont typeface="Arial" panose="020B0604020202020204" pitchFamily="34" charset="0"/>
        <a:buChar char="•"/>
        <a:defRPr sz="1000" kern="1200">
          <a:solidFill>
            <a:schemeClr val="bg2">
              <a:lumMod val="50000"/>
            </a:schemeClr>
          </a:solidFill>
          <a:latin typeface="+mn-lt"/>
          <a:ea typeface="+mn-ea"/>
          <a:cs typeface="Tahoma"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8.svg"/><Relationship Id="rId3" Type="http://schemas.openxmlformats.org/officeDocument/2006/relationships/slideLayout" Target="../slideLayouts/slideLayout1.xml"/><Relationship Id="rId7" Type="http://schemas.openxmlformats.org/officeDocument/2006/relationships/image" Target="../media/image7.png"/><Relationship Id="rId2" Type="http://schemas.openxmlformats.org/officeDocument/2006/relationships/tags" Target="../tags/tag12.xml"/><Relationship Id="rId1" Type="http://schemas.openxmlformats.org/officeDocument/2006/relationships/customXml" Target="../../customXml/item4.xml"/><Relationship Id="rId6" Type="http://schemas.openxmlformats.org/officeDocument/2006/relationships/image" Target="../media/image12.emf"/><Relationship Id="rId5" Type="http://schemas.openxmlformats.org/officeDocument/2006/relationships/oleObject" Target="../embeddings/oleObject11.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2" Type="http://schemas.openxmlformats.org/officeDocument/2006/relationships/slideLayout" Target="../slideLayouts/slideLayout4.xml"/><Relationship Id="rId1" Type="http://schemas.openxmlformats.org/officeDocument/2006/relationships/customXml" Target="../../customXml/item13.xml"/></Relationships>
</file>

<file path=ppt/slides/_rels/slide11.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slideLayout" Target="../slideLayouts/slideLayout4.xml"/><Relationship Id="rId1" Type="http://schemas.openxmlformats.org/officeDocument/2006/relationships/customXml" Target="../../customXml/item14.xml"/><Relationship Id="rId4" Type="http://schemas.openxmlformats.org/officeDocument/2006/relationships/image" Target="../media/image26.png"/></Relationships>
</file>

<file path=ppt/slides/_rels/slide12.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slideLayout" Target="../slideLayouts/slideLayout4.xml"/><Relationship Id="rId1" Type="http://schemas.openxmlformats.org/officeDocument/2006/relationships/customXml" Target="../../customXml/item15.xml"/><Relationship Id="rId4" Type="http://schemas.openxmlformats.org/officeDocument/2006/relationships/image" Target="../media/image28.png"/></Relationships>
</file>

<file path=ppt/slides/_rels/slide13.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slideLayout" Target="../slideLayouts/slideLayout3.xml"/><Relationship Id="rId1" Type="http://schemas.openxmlformats.org/officeDocument/2006/relationships/customXml" Target="../../customXml/item16.xml"/><Relationship Id="rId4" Type="http://schemas.openxmlformats.org/officeDocument/2006/relationships/image" Target="../media/image30.png"/></Relationships>
</file>

<file path=ppt/slides/_rels/slide14.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customXml" Target="../../customXml/item17.xml"/></Relationships>
</file>

<file path=ppt/slides/_rels/slide15.xml.rels><?xml version="1.0" encoding="UTF-8" standalone="yes"?>
<Relationships xmlns="http://schemas.openxmlformats.org/package/2006/relationships"><Relationship Id="rId8" Type="http://schemas.openxmlformats.org/officeDocument/2006/relationships/image" Target="../media/image19.svg"/><Relationship Id="rId3" Type="http://schemas.openxmlformats.org/officeDocument/2006/relationships/notesSlide" Target="../notesSlides/notesSlide3.xml"/><Relationship Id="rId7" Type="http://schemas.openxmlformats.org/officeDocument/2006/relationships/image" Target="../media/image18.png"/><Relationship Id="rId2" Type="http://schemas.openxmlformats.org/officeDocument/2006/relationships/slideLayout" Target="../slideLayouts/slideLayout4.xml"/><Relationship Id="rId1" Type="http://schemas.openxmlformats.org/officeDocument/2006/relationships/customXml" Target="../../customXml/item18.xml"/><Relationship Id="rId6" Type="http://schemas.openxmlformats.org/officeDocument/2006/relationships/image" Target="../media/image17.svg"/><Relationship Id="rId5" Type="http://schemas.openxmlformats.org/officeDocument/2006/relationships/image" Target="../media/image16.png"/><Relationship Id="rId4" Type="http://schemas.openxmlformats.org/officeDocument/2006/relationships/image" Target="../media/image31.png"/></Relationships>
</file>

<file path=ppt/slides/_rels/slide16.xml.rels><?xml version="1.0" encoding="UTF-8" standalone="yes"?>
<Relationships xmlns="http://schemas.openxmlformats.org/package/2006/relationships"><Relationship Id="rId8" Type="http://schemas.openxmlformats.org/officeDocument/2006/relationships/image" Target="../media/image19.svg"/><Relationship Id="rId3" Type="http://schemas.openxmlformats.org/officeDocument/2006/relationships/notesSlide" Target="../notesSlides/notesSlide4.xml"/><Relationship Id="rId7" Type="http://schemas.openxmlformats.org/officeDocument/2006/relationships/image" Target="../media/image18.png"/><Relationship Id="rId2" Type="http://schemas.openxmlformats.org/officeDocument/2006/relationships/slideLayout" Target="../slideLayouts/slideLayout4.xml"/><Relationship Id="rId1" Type="http://schemas.openxmlformats.org/officeDocument/2006/relationships/customXml" Target="../../customXml/item19.xml"/><Relationship Id="rId6" Type="http://schemas.openxmlformats.org/officeDocument/2006/relationships/image" Target="../media/image17.svg"/><Relationship Id="rId5" Type="http://schemas.openxmlformats.org/officeDocument/2006/relationships/image" Target="../media/image16.png"/><Relationship Id="rId4" Type="http://schemas.openxmlformats.org/officeDocument/2006/relationships/image" Target="../media/image32.png"/></Relationships>
</file>

<file path=ppt/slides/_rels/slide17.xml.rels><?xml version="1.0" encoding="UTF-8" standalone="yes"?>
<Relationships xmlns="http://schemas.openxmlformats.org/package/2006/relationships"><Relationship Id="rId8" Type="http://schemas.openxmlformats.org/officeDocument/2006/relationships/image" Target="../media/image19.svg"/><Relationship Id="rId3" Type="http://schemas.openxmlformats.org/officeDocument/2006/relationships/notesSlide" Target="../notesSlides/notesSlide5.xml"/><Relationship Id="rId7" Type="http://schemas.openxmlformats.org/officeDocument/2006/relationships/image" Target="../media/image18.png"/><Relationship Id="rId2" Type="http://schemas.openxmlformats.org/officeDocument/2006/relationships/slideLayout" Target="../slideLayouts/slideLayout4.xml"/><Relationship Id="rId1" Type="http://schemas.openxmlformats.org/officeDocument/2006/relationships/customXml" Target="../../customXml/item20.xml"/><Relationship Id="rId6" Type="http://schemas.openxmlformats.org/officeDocument/2006/relationships/image" Target="../media/image17.svg"/><Relationship Id="rId5" Type="http://schemas.openxmlformats.org/officeDocument/2006/relationships/image" Target="../media/image16.png"/><Relationship Id="rId4" Type="http://schemas.openxmlformats.org/officeDocument/2006/relationships/image" Target="../media/image33.png"/></Relationships>
</file>

<file path=ppt/slides/_rels/slide18.xml.rels><?xml version="1.0" encoding="UTF-8" standalone="yes"?>
<Relationships xmlns="http://schemas.openxmlformats.org/package/2006/relationships"><Relationship Id="rId8" Type="http://schemas.openxmlformats.org/officeDocument/2006/relationships/image" Target="../media/image39.png"/><Relationship Id="rId3" Type="http://schemas.openxmlformats.org/officeDocument/2006/relationships/image" Target="../media/image34.png"/><Relationship Id="rId7" Type="http://schemas.openxmlformats.org/officeDocument/2006/relationships/image" Target="../media/image38.png"/><Relationship Id="rId2" Type="http://schemas.openxmlformats.org/officeDocument/2006/relationships/slideLayout" Target="../slideLayouts/slideLayout4.xml"/><Relationship Id="rId1" Type="http://schemas.openxmlformats.org/officeDocument/2006/relationships/customXml" Target="../../customXml/item21.xml"/><Relationship Id="rId6" Type="http://schemas.openxmlformats.org/officeDocument/2006/relationships/image" Target="../media/image37.svg"/><Relationship Id="rId5" Type="http://schemas.openxmlformats.org/officeDocument/2006/relationships/image" Target="../media/image36.png"/><Relationship Id="rId4" Type="http://schemas.openxmlformats.org/officeDocument/2006/relationships/image" Target="../media/image35.svg"/><Relationship Id="rId9" Type="http://schemas.openxmlformats.org/officeDocument/2006/relationships/image" Target="../media/image40.svg"/></Relationships>
</file>

<file path=ppt/slides/_rels/slide19.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customXml" Target="../../customXml/item22.xml"/></Relationships>
</file>

<file path=ppt/slides/_rels/slide2.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customXml" Target="../../customXml/item5.xml"/></Relationships>
</file>

<file path=ppt/slides/_rels/slide3.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slideLayout" Target="../slideLayouts/slideLayout4.xml"/><Relationship Id="rId1" Type="http://schemas.openxmlformats.org/officeDocument/2006/relationships/customXml" Target="../../customXml/item6.xml"/><Relationship Id="rId4" Type="http://schemas.openxmlformats.org/officeDocument/2006/relationships/image" Target="../media/image14.svg"/></Relationships>
</file>

<file path=ppt/slides/_rels/slide4.xml.rels><?xml version="1.0" encoding="UTF-8" standalone="yes"?>
<Relationships xmlns="http://schemas.openxmlformats.org/package/2006/relationships"><Relationship Id="rId8" Type="http://schemas.openxmlformats.org/officeDocument/2006/relationships/image" Target="../media/image19.svg"/><Relationship Id="rId3" Type="http://schemas.openxmlformats.org/officeDocument/2006/relationships/notesSlide" Target="../notesSlides/notesSlide2.xml"/><Relationship Id="rId7" Type="http://schemas.openxmlformats.org/officeDocument/2006/relationships/image" Target="../media/image18.png"/><Relationship Id="rId2" Type="http://schemas.openxmlformats.org/officeDocument/2006/relationships/slideLayout" Target="../slideLayouts/slideLayout4.xml"/><Relationship Id="rId1" Type="http://schemas.openxmlformats.org/officeDocument/2006/relationships/customXml" Target="../../customXml/item7.xml"/><Relationship Id="rId6" Type="http://schemas.openxmlformats.org/officeDocument/2006/relationships/image" Target="../media/image17.svg"/><Relationship Id="rId5" Type="http://schemas.openxmlformats.org/officeDocument/2006/relationships/image" Target="../media/image16.png"/><Relationship Id="rId4" Type="http://schemas.openxmlformats.org/officeDocument/2006/relationships/image" Target="../media/image15.png"/></Relationships>
</file>

<file path=ppt/slides/_rels/slide5.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slideLayout" Target="../slideLayouts/slideLayout4.xml"/><Relationship Id="rId1" Type="http://schemas.openxmlformats.org/officeDocument/2006/relationships/customXml" Target="../../customXml/item8.xml"/><Relationship Id="rId4" Type="http://schemas.openxmlformats.org/officeDocument/2006/relationships/image" Target="../media/image21.png"/></Relationships>
</file>

<file path=ppt/slides/_rels/slide6.xml.rels><?xml version="1.0" encoding="UTF-8" standalone="yes"?>
<Relationships xmlns="http://schemas.openxmlformats.org/package/2006/relationships"><Relationship Id="rId3" Type="http://schemas.openxmlformats.org/officeDocument/2006/relationships/package" Target="../embeddings/Microsoft_Word_Document.docx"/><Relationship Id="rId2" Type="http://schemas.openxmlformats.org/officeDocument/2006/relationships/slideLayout" Target="../slideLayouts/slideLayout4.xml"/><Relationship Id="rId1" Type="http://schemas.openxmlformats.org/officeDocument/2006/relationships/customXml" Target="../../customXml/item9.xml"/><Relationship Id="rId4" Type="http://schemas.openxmlformats.org/officeDocument/2006/relationships/image" Target="../media/image22.emf"/></Relationships>
</file>

<file path=ppt/slides/_rels/slide7.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customXml" Target="../../customXml/item10.xml"/></Relationships>
</file>

<file path=ppt/slides/_rels/slide8.xml.rels><?xml version="1.0" encoding="UTF-8" standalone="yes"?>
<Relationships xmlns="http://schemas.openxmlformats.org/package/2006/relationships"><Relationship Id="rId3" Type="http://schemas.openxmlformats.org/officeDocument/2006/relationships/image" Target="../media/image23.png"/><Relationship Id="rId7" Type="http://schemas.openxmlformats.org/officeDocument/2006/relationships/image" Target="../media/image19.svg"/><Relationship Id="rId2" Type="http://schemas.openxmlformats.org/officeDocument/2006/relationships/slideLayout" Target="../slideLayouts/slideLayout4.xml"/><Relationship Id="rId1" Type="http://schemas.openxmlformats.org/officeDocument/2006/relationships/customXml" Target="../../customXml/item11.xml"/><Relationship Id="rId6" Type="http://schemas.openxmlformats.org/officeDocument/2006/relationships/image" Target="../media/image18.png"/><Relationship Id="rId5" Type="http://schemas.openxmlformats.org/officeDocument/2006/relationships/image" Target="../media/image17.svg"/><Relationship Id="rId4" Type="http://schemas.openxmlformats.org/officeDocument/2006/relationships/image" Target="../media/image16.png"/></Relationships>
</file>

<file path=ppt/slides/_rels/slide9.xml.rels><?xml version="1.0" encoding="UTF-8" standalone="yes"?>
<Relationships xmlns="http://schemas.openxmlformats.org/package/2006/relationships"><Relationship Id="rId3" Type="http://schemas.openxmlformats.org/officeDocument/2006/relationships/image" Target="../media/image24.png"/><Relationship Id="rId7" Type="http://schemas.openxmlformats.org/officeDocument/2006/relationships/image" Target="../media/image19.svg"/><Relationship Id="rId2" Type="http://schemas.openxmlformats.org/officeDocument/2006/relationships/slideLayout" Target="../slideLayouts/slideLayout4.xml"/><Relationship Id="rId1" Type="http://schemas.openxmlformats.org/officeDocument/2006/relationships/customXml" Target="../../customXml/item12.xml"/><Relationship Id="rId6" Type="http://schemas.openxmlformats.org/officeDocument/2006/relationships/image" Target="../media/image18.png"/><Relationship Id="rId5" Type="http://schemas.openxmlformats.org/officeDocument/2006/relationships/image" Target="../media/image17.svg"/><Relationship Id="rId4" Type="http://schemas.openxmlformats.org/officeDocument/2006/relationships/image" Target="../media/image16.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EE1007F-F9E9-4586-A8E8-AB831C44B48A}"/>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624" imgH="623" progId="TCLayout.ActiveDocument.1">
                  <p:embed/>
                </p:oleObj>
              </mc:Choice>
              <mc:Fallback>
                <p:oleObj name="think-cell Slide" r:id="rId5" imgW="624" imgH="623" progId="TCLayout.ActiveDocument.1">
                  <p:embed/>
                  <p:pic>
                    <p:nvPicPr>
                      <p:cNvPr id="8" name="Object 7" hidden="1">
                        <a:extLst>
                          <a:ext uri="{FF2B5EF4-FFF2-40B4-BE49-F238E27FC236}">
                            <a16:creationId xmlns:a16="http://schemas.microsoft.com/office/drawing/2014/main" id="{3EE1007F-F9E9-4586-A8E8-AB831C44B48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ctrTitle"/>
          </p:nvPr>
        </p:nvSpPr>
        <p:spPr>
          <a:xfrm>
            <a:off x="1993392" y="4288211"/>
            <a:ext cx="8914094" cy="951420"/>
          </a:xfrm>
        </p:spPr>
        <p:txBody>
          <a:bodyPr vert="horz"/>
          <a:lstStyle/>
          <a:p>
            <a:r>
              <a:rPr lang="en-US"/>
              <a:t>Companion – TEPEZZA Feedback Root Cause Analysis</a:t>
            </a:r>
            <a:br>
              <a:rPr lang="en-US"/>
            </a:br>
            <a:r>
              <a:rPr lang="en-US" sz="1800"/>
              <a:t>(May’24)</a:t>
            </a:r>
          </a:p>
        </p:txBody>
      </p:sp>
      <p:sp>
        <p:nvSpPr>
          <p:cNvPr id="4" name="Text Placeholder 3"/>
          <p:cNvSpPr>
            <a:spLocks noGrp="1"/>
          </p:cNvSpPr>
          <p:nvPr>
            <p:ph type="body" sz="quarter" idx="13"/>
          </p:nvPr>
        </p:nvSpPr>
        <p:spPr>
          <a:xfrm>
            <a:off x="1993392" y="5583952"/>
            <a:ext cx="4876800" cy="304800"/>
          </a:xfrm>
        </p:spPr>
        <p:txBody>
          <a:bodyPr/>
          <a:lstStyle/>
          <a:p>
            <a:r>
              <a:rPr lang="en-US">
                <a:cs typeface="Tahoma"/>
              </a:rPr>
              <a:t>June 18, 2024</a:t>
            </a:r>
          </a:p>
        </p:txBody>
      </p:sp>
      <p:pic>
        <p:nvPicPr>
          <p:cNvPr id="14" name="Graphic 13">
            <a:extLst>
              <a:ext uri="{FF2B5EF4-FFF2-40B4-BE49-F238E27FC236}">
                <a16:creationId xmlns:a16="http://schemas.microsoft.com/office/drawing/2014/main" id="{75F22772-E4DA-47A5-92AE-2F5963808FC0}"/>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2078870" y="2873777"/>
            <a:ext cx="3952053" cy="951420"/>
          </a:xfrm>
          <a:prstGeom prst="rect">
            <a:avLst/>
          </a:prstGeom>
        </p:spPr>
      </p:pic>
    </p:spTree>
    <p:custDataLst>
      <p:custData r:id="rId1"/>
    </p:custDataLst>
    <p:extLst>
      <p:ext uri="{BB962C8B-B14F-4D97-AF65-F5344CB8AC3E}">
        <p14:creationId xmlns:p14="http://schemas.microsoft.com/office/powerpoint/2010/main" val="141495000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F7CD58C-0080-BAE6-BC74-3F7E6A0196B2}"/>
              </a:ext>
            </a:extLst>
          </p:cNvPr>
          <p:cNvSpPr>
            <a:spLocks noGrp="1"/>
          </p:cNvSpPr>
          <p:nvPr>
            <p:ph type="title"/>
          </p:nvPr>
        </p:nvSpPr>
        <p:spPr>
          <a:xfrm>
            <a:off x="609600" y="311785"/>
            <a:ext cx="10972800" cy="492443"/>
          </a:xfrm>
        </p:spPr>
        <p:txBody>
          <a:bodyPr wrap="square">
            <a:spAutoFit/>
          </a:bodyPr>
          <a:lstStyle/>
          <a:p>
            <a:r>
              <a:rPr lang="en-US"/>
              <a:t>New architecture resolved the issue</a:t>
            </a:r>
          </a:p>
        </p:txBody>
      </p:sp>
      <p:sp>
        <p:nvSpPr>
          <p:cNvPr id="7" name="Arrow: Pentagon 6">
            <a:extLst>
              <a:ext uri="{FF2B5EF4-FFF2-40B4-BE49-F238E27FC236}">
                <a16:creationId xmlns:a16="http://schemas.microsoft.com/office/drawing/2014/main" id="{E73FE610-224C-A894-81AF-5FD253009228}"/>
              </a:ext>
            </a:extLst>
          </p:cNvPr>
          <p:cNvSpPr/>
          <p:nvPr/>
        </p:nvSpPr>
        <p:spPr>
          <a:xfrm>
            <a:off x="723900" y="999291"/>
            <a:ext cx="5364266" cy="367180"/>
          </a:xfrm>
          <a:prstGeom prst="homePlate">
            <a:avLst>
              <a:gd name="adj" fmla="val 22642"/>
            </a:avLst>
          </a:prstGeom>
          <a:solidFill>
            <a:schemeClr val="accent6"/>
          </a:solidFill>
          <a:ln>
            <a:noFill/>
          </a:ln>
        </p:spPr>
        <p:style>
          <a:lnRef idx="0">
            <a:scrgbClr r="0" g="0" b="0"/>
          </a:lnRef>
          <a:fillRef idx="0">
            <a:scrgbClr r="0" g="0" b="0"/>
          </a:fillRef>
          <a:effectRef idx="0">
            <a:scrgbClr r="0" g="0" b="0"/>
          </a:effectRef>
          <a:fontRef idx="minor">
            <a:schemeClr val="lt1"/>
          </a:fontRef>
        </p:style>
        <p:txBody>
          <a:bodyPr rtlCol="0" anchor="ctr"/>
          <a:lstStyle/>
          <a:p>
            <a:pPr marL="3175" algn="ctr">
              <a:spcBef>
                <a:spcPts val="600"/>
              </a:spcBef>
              <a:spcAft>
                <a:spcPts val="600"/>
              </a:spcAft>
              <a:buClr>
                <a:srgbClr val="303030">
                  <a:lumMod val="50000"/>
                  <a:lumOff val="50000"/>
                </a:srgbClr>
              </a:buClr>
            </a:pPr>
            <a:r>
              <a:rPr lang="en-US" sz="1400" b="1">
                <a:solidFill>
                  <a:schemeClr val="bg1"/>
                </a:solidFill>
                <a:cs typeface="Tahoma" pitchFamily="34" charset="0"/>
              </a:rPr>
              <a:t>Old Architecture</a:t>
            </a:r>
          </a:p>
        </p:txBody>
      </p:sp>
      <p:sp>
        <p:nvSpPr>
          <p:cNvPr id="8" name="Arrow: Chevron 7">
            <a:extLst>
              <a:ext uri="{FF2B5EF4-FFF2-40B4-BE49-F238E27FC236}">
                <a16:creationId xmlns:a16="http://schemas.microsoft.com/office/drawing/2014/main" id="{9BB80983-CF3A-E5DD-0FA0-A4AB9DF0C768}"/>
              </a:ext>
            </a:extLst>
          </p:cNvPr>
          <p:cNvSpPr/>
          <p:nvPr/>
        </p:nvSpPr>
        <p:spPr>
          <a:xfrm>
            <a:off x="6103834" y="999291"/>
            <a:ext cx="5364266" cy="367180"/>
          </a:xfrm>
          <a:prstGeom prst="chevron">
            <a:avLst>
              <a:gd name="adj" fmla="val 22642"/>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tlCol="0" anchor="ctr"/>
          <a:lstStyle/>
          <a:p>
            <a:pPr marL="3175" algn="ctr">
              <a:spcBef>
                <a:spcPts val="600"/>
              </a:spcBef>
              <a:spcAft>
                <a:spcPts val="600"/>
              </a:spcAft>
              <a:buClr>
                <a:srgbClr val="303030">
                  <a:lumMod val="50000"/>
                  <a:lumOff val="50000"/>
                </a:srgbClr>
              </a:buClr>
            </a:pPr>
            <a:r>
              <a:rPr lang="en-US" sz="1400" b="1">
                <a:solidFill>
                  <a:schemeClr val="bg1"/>
                </a:solidFill>
                <a:cs typeface="Tahoma" pitchFamily="34" charset="0"/>
              </a:rPr>
              <a:t>New Architecture</a:t>
            </a:r>
          </a:p>
        </p:txBody>
      </p:sp>
      <p:sp>
        <p:nvSpPr>
          <p:cNvPr id="6" name="Rectangle: Top Corners Rounded 5">
            <a:extLst>
              <a:ext uri="{FF2B5EF4-FFF2-40B4-BE49-F238E27FC236}">
                <a16:creationId xmlns:a16="http://schemas.microsoft.com/office/drawing/2014/main" id="{DF9590AE-C16F-7092-1BAD-CF00CE365DC9}"/>
              </a:ext>
            </a:extLst>
          </p:cNvPr>
          <p:cNvSpPr/>
          <p:nvPr/>
        </p:nvSpPr>
        <p:spPr>
          <a:xfrm rot="10800000">
            <a:off x="723900" y="1366471"/>
            <a:ext cx="10660856" cy="3681779"/>
          </a:xfrm>
          <a:prstGeom prst="round2SameRect">
            <a:avLst>
              <a:gd name="adj1" fmla="val 2980"/>
              <a:gd name="adj2" fmla="val 0"/>
            </a:avLst>
          </a:prstGeom>
          <a:solidFill>
            <a:schemeClr val="bg1"/>
          </a:solidFill>
          <a:ln>
            <a:noFill/>
          </a:ln>
          <a:effectLst>
            <a:outerShdw blurRad="63500" algn="ctr" rotWithShape="0">
              <a:prstClr val="black">
                <a:alpha val="25000"/>
              </a:prstClr>
            </a:outerShdw>
          </a:effectLst>
        </p:spPr>
        <p:style>
          <a:lnRef idx="0">
            <a:scrgbClr r="0" g="0" b="0"/>
          </a:lnRef>
          <a:fillRef idx="0">
            <a:scrgbClr r="0" g="0" b="0"/>
          </a:fillRef>
          <a:effectRef idx="0">
            <a:scrgbClr r="0" g="0" b="0"/>
          </a:effectRef>
          <a:fontRef idx="minor">
            <a:schemeClr val="lt1"/>
          </a:fontRef>
        </p:style>
        <p:txBody>
          <a:bodyPr rtlCol="0" anchor="ctr"/>
          <a:lstStyle/>
          <a:p>
            <a:pPr algn="ctr"/>
            <a:endParaRPr lang="en-IN"/>
          </a:p>
        </p:txBody>
      </p:sp>
      <p:cxnSp>
        <p:nvCxnSpPr>
          <p:cNvPr id="4" name="Straight Connector 3">
            <a:extLst>
              <a:ext uri="{FF2B5EF4-FFF2-40B4-BE49-F238E27FC236}">
                <a16:creationId xmlns:a16="http://schemas.microsoft.com/office/drawing/2014/main" id="{EC716B1D-0C70-FBE7-D478-D4D1CA1BE259}"/>
              </a:ext>
            </a:extLst>
          </p:cNvPr>
          <p:cNvCxnSpPr/>
          <p:nvPr/>
        </p:nvCxnSpPr>
        <p:spPr>
          <a:xfrm>
            <a:off x="767556" y="1608904"/>
            <a:ext cx="5202238" cy="0"/>
          </a:xfrm>
          <a:prstGeom prst="line">
            <a:avLst/>
          </a:prstGeom>
          <a:ln w="63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03B8EB03-3970-719E-EAFD-EE8278488BFD}"/>
              </a:ext>
            </a:extLst>
          </p:cNvPr>
          <p:cNvCxnSpPr/>
          <p:nvPr/>
        </p:nvCxnSpPr>
        <p:spPr>
          <a:xfrm>
            <a:off x="767556" y="1844726"/>
            <a:ext cx="5202238" cy="0"/>
          </a:xfrm>
          <a:prstGeom prst="line">
            <a:avLst/>
          </a:prstGeom>
          <a:ln w="63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6888DE4F-CF16-B07A-84E8-48F04CE1B119}"/>
              </a:ext>
            </a:extLst>
          </p:cNvPr>
          <p:cNvCxnSpPr/>
          <p:nvPr/>
        </p:nvCxnSpPr>
        <p:spPr>
          <a:xfrm>
            <a:off x="767556" y="2080548"/>
            <a:ext cx="5202238" cy="0"/>
          </a:xfrm>
          <a:prstGeom prst="line">
            <a:avLst/>
          </a:prstGeom>
          <a:ln w="63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5216BAE7-A263-64B9-8981-5C56EAE977B9}"/>
              </a:ext>
            </a:extLst>
          </p:cNvPr>
          <p:cNvCxnSpPr/>
          <p:nvPr/>
        </p:nvCxnSpPr>
        <p:spPr>
          <a:xfrm>
            <a:off x="6116950" y="1608904"/>
            <a:ext cx="5220181" cy="0"/>
          </a:xfrm>
          <a:prstGeom prst="line">
            <a:avLst/>
          </a:prstGeom>
          <a:ln w="63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184CB2FD-78E4-714A-F9F6-45828A2F0876}"/>
              </a:ext>
            </a:extLst>
          </p:cNvPr>
          <p:cNvCxnSpPr/>
          <p:nvPr/>
        </p:nvCxnSpPr>
        <p:spPr>
          <a:xfrm>
            <a:off x="6116950" y="1844726"/>
            <a:ext cx="5220181" cy="0"/>
          </a:xfrm>
          <a:prstGeom prst="line">
            <a:avLst/>
          </a:prstGeom>
          <a:ln w="63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CA5029DF-EECF-3ADC-33F0-364A06B5ACA6}"/>
              </a:ext>
            </a:extLst>
          </p:cNvPr>
          <p:cNvCxnSpPr/>
          <p:nvPr/>
        </p:nvCxnSpPr>
        <p:spPr>
          <a:xfrm>
            <a:off x="6116950" y="2080548"/>
            <a:ext cx="5220181" cy="0"/>
          </a:xfrm>
          <a:prstGeom prst="line">
            <a:avLst/>
          </a:prstGeom>
          <a:ln w="63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6BA3B8A5-5BC8-60E9-E61C-AEE6432D02A1}"/>
              </a:ext>
            </a:extLst>
          </p:cNvPr>
          <p:cNvCxnSpPr/>
          <p:nvPr/>
        </p:nvCxnSpPr>
        <p:spPr>
          <a:xfrm>
            <a:off x="6116950" y="2316370"/>
            <a:ext cx="5220181" cy="0"/>
          </a:xfrm>
          <a:prstGeom prst="line">
            <a:avLst/>
          </a:prstGeom>
          <a:ln w="63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5AE20944-8052-2441-DD28-A0CCDB7D033E}"/>
              </a:ext>
            </a:extLst>
          </p:cNvPr>
          <p:cNvCxnSpPr/>
          <p:nvPr/>
        </p:nvCxnSpPr>
        <p:spPr>
          <a:xfrm>
            <a:off x="6116950" y="2552192"/>
            <a:ext cx="5220181" cy="0"/>
          </a:xfrm>
          <a:prstGeom prst="line">
            <a:avLst/>
          </a:prstGeom>
          <a:ln w="63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DC8B5D64-4659-C8B0-1136-B2894644B2C8}"/>
              </a:ext>
            </a:extLst>
          </p:cNvPr>
          <p:cNvCxnSpPr/>
          <p:nvPr/>
        </p:nvCxnSpPr>
        <p:spPr>
          <a:xfrm>
            <a:off x="6116950" y="2788014"/>
            <a:ext cx="5220181" cy="0"/>
          </a:xfrm>
          <a:prstGeom prst="line">
            <a:avLst/>
          </a:prstGeom>
          <a:ln w="63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935D2BA5-E3A1-73B3-29C2-84CBD87C80A0}"/>
              </a:ext>
            </a:extLst>
          </p:cNvPr>
          <p:cNvCxnSpPr/>
          <p:nvPr/>
        </p:nvCxnSpPr>
        <p:spPr>
          <a:xfrm>
            <a:off x="767556" y="2316370"/>
            <a:ext cx="5202238" cy="0"/>
          </a:xfrm>
          <a:prstGeom prst="line">
            <a:avLst/>
          </a:prstGeom>
          <a:ln w="63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118" name="Group 117">
            <a:extLst>
              <a:ext uri="{FF2B5EF4-FFF2-40B4-BE49-F238E27FC236}">
                <a16:creationId xmlns:a16="http://schemas.microsoft.com/office/drawing/2014/main" id="{46C83A3A-5B5B-1E7B-1564-F98BEA2648BC}"/>
              </a:ext>
            </a:extLst>
          </p:cNvPr>
          <p:cNvGrpSpPr/>
          <p:nvPr/>
        </p:nvGrpSpPr>
        <p:grpSpPr>
          <a:xfrm>
            <a:off x="767556" y="1414049"/>
            <a:ext cx="5202238" cy="153888"/>
            <a:chOff x="793750" y="1612012"/>
            <a:chExt cx="5202238" cy="153888"/>
          </a:xfrm>
        </p:grpSpPr>
        <p:sp>
          <p:nvSpPr>
            <p:cNvPr id="15" name="Rectangle 14">
              <a:extLst>
                <a:ext uri="{FF2B5EF4-FFF2-40B4-BE49-F238E27FC236}">
                  <a16:creationId xmlns:a16="http://schemas.microsoft.com/office/drawing/2014/main" id="{FAB4E4BD-6FEE-B1F6-2221-F84E35F57E95}"/>
                </a:ext>
              </a:extLst>
            </p:cNvPr>
            <p:cNvSpPr/>
            <p:nvPr/>
          </p:nvSpPr>
          <p:spPr>
            <a:xfrm>
              <a:off x="1824038" y="1612012"/>
              <a:ext cx="4171950" cy="153888"/>
            </a:xfrm>
            <a:prstGeom prst="rect">
              <a:avLst/>
            </a:prstGeom>
            <a:noFill/>
            <a:ln>
              <a:noFill/>
            </a:ln>
          </p:spPr>
          <p:style>
            <a:lnRef idx="0">
              <a:scrgbClr r="0" g="0" b="0"/>
            </a:lnRef>
            <a:fillRef idx="0">
              <a:scrgbClr r="0" g="0" b="0"/>
            </a:fillRef>
            <a:effectRef idx="0">
              <a:scrgbClr r="0" g="0" b="0"/>
            </a:effectRef>
            <a:fontRef idx="minor">
              <a:schemeClr val="lt1"/>
            </a:fontRef>
          </p:style>
          <p:txBody>
            <a:bodyPr wrap="square" lIns="0" tIns="0" rIns="0" bIns="0" rtlCol="0" anchor="t">
              <a:spAutoFit/>
            </a:bodyPr>
            <a:lstStyle/>
            <a:p>
              <a:r>
                <a:rPr lang="en-US" sz="1000">
                  <a:solidFill>
                    <a:schemeClr val="tx1"/>
                  </a:solidFill>
                  <a:cs typeface="Calibri"/>
                </a:rPr>
                <a:t>Knowledge-Base</a:t>
              </a:r>
            </a:p>
          </p:txBody>
        </p:sp>
        <p:sp>
          <p:nvSpPr>
            <p:cNvPr id="34" name="Rectangle 33">
              <a:extLst>
                <a:ext uri="{FF2B5EF4-FFF2-40B4-BE49-F238E27FC236}">
                  <a16:creationId xmlns:a16="http://schemas.microsoft.com/office/drawing/2014/main" id="{739A4BEC-617A-B465-A16C-C5205BC6597B}"/>
                </a:ext>
              </a:extLst>
            </p:cNvPr>
            <p:cNvSpPr/>
            <p:nvPr/>
          </p:nvSpPr>
          <p:spPr>
            <a:xfrm>
              <a:off x="793750" y="1612012"/>
              <a:ext cx="956416" cy="153888"/>
            </a:xfrm>
            <a:prstGeom prst="rect">
              <a:avLst/>
            </a:prstGeom>
            <a:noFill/>
            <a:ln>
              <a:noFill/>
            </a:ln>
          </p:spPr>
          <p:style>
            <a:lnRef idx="0">
              <a:scrgbClr r="0" g="0" b="0"/>
            </a:lnRef>
            <a:fillRef idx="0">
              <a:scrgbClr r="0" g="0" b="0"/>
            </a:fillRef>
            <a:effectRef idx="0">
              <a:scrgbClr r="0" g="0" b="0"/>
            </a:effectRef>
            <a:fontRef idx="minor">
              <a:schemeClr val="lt1"/>
            </a:fontRef>
          </p:style>
          <p:txBody>
            <a:bodyPr wrap="square" lIns="0" tIns="0" rIns="0" bIns="0" rtlCol="0" anchor="t">
              <a:spAutoFit/>
            </a:bodyPr>
            <a:lstStyle/>
            <a:p>
              <a:pPr algn="r"/>
              <a:r>
                <a:rPr lang="en-US" sz="1000" b="1">
                  <a:solidFill>
                    <a:schemeClr val="tx1"/>
                  </a:solidFill>
                  <a:cs typeface="Calibri"/>
                </a:rPr>
                <a:t>Tool</a:t>
              </a:r>
              <a:endParaRPr lang="en-US" sz="1000">
                <a:solidFill>
                  <a:schemeClr val="tx1"/>
                </a:solidFill>
                <a:cs typeface="Calibri"/>
              </a:endParaRPr>
            </a:p>
          </p:txBody>
        </p:sp>
      </p:grpSp>
      <p:grpSp>
        <p:nvGrpSpPr>
          <p:cNvPr id="119" name="Group 118">
            <a:extLst>
              <a:ext uri="{FF2B5EF4-FFF2-40B4-BE49-F238E27FC236}">
                <a16:creationId xmlns:a16="http://schemas.microsoft.com/office/drawing/2014/main" id="{3FE246FB-78DA-5D4B-2AC8-79B618D9D0B5}"/>
              </a:ext>
            </a:extLst>
          </p:cNvPr>
          <p:cNvGrpSpPr/>
          <p:nvPr/>
        </p:nvGrpSpPr>
        <p:grpSpPr>
          <a:xfrm>
            <a:off x="767556" y="1649871"/>
            <a:ext cx="5202238" cy="153888"/>
            <a:chOff x="793750" y="1847834"/>
            <a:chExt cx="5202238" cy="153888"/>
          </a:xfrm>
        </p:grpSpPr>
        <p:sp>
          <p:nvSpPr>
            <p:cNvPr id="16" name="Rectangle 15">
              <a:extLst>
                <a:ext uri="{FF2B5EF4-FFF2-40B4-BE49-F238E27FC236}">
                  <a16:creationId xmlns:a16="http://schemas.microsoft.com/office/drawing/2014/main" id="{5F0306DE-9E68-6503-7A05-BD05FB250B00}"/>
                </a:ext>
              </a:extLst>
            </p:cNvPr>
            <p:cNvSpPr/>
            <p:nvPr/>
          </p:nvSpPr>
          <p:spPr>
            <a:xfrm>
              <a:off x="1824038" y="1847834"/>
              <a:ext cx="4171950" cy="153888"/>
            </a:xfrm>
            <a:prstGeom prst="rect">
              <a:avLst/>
            </a:prstGeom>
            <a:noFill/>
            <a:ln>
              <a:noFill/>
            </a:ln>
          </p:spPr>
          <p:style>
            <a:lnRef idx="0">
              <a:scrgbClr r="0" g="0" b="0"/>
            </a:lnRef>
            <a:fillRef idx="0">
              <a:scrgbClr r="0" g="0" b="0"/>
            </a:fillRef>
            <a:effectRef idx="0">
              <a:scrgbClr r="0" g="0" b="0"/>
            </a:effectRef>
            <a:fontRef idx="minor">
              <a:schemeClr val="lt1"/>
            </a:fontRef>
          </p:style>
          <p:txBody>
            <a:bodyPr wrap="square" lIns="0" tIns="0" rIns="0" bIns="0" rtlCol="0" anchor="t">
              <a:spAutoFit/>
            </a:bodyPr>
            <a:lstStyle/>
            <a:p>
              <a:r>
                <a:rPr lang="en-US" sz="1000">
                  <a:solidFill>
                    <a:schemeClr val="tx1"/>
                  </a:solidFill>
                  <a:cs typeface="Calibri"/>
                </a:rPr>
                <a:t>How many patients were included in optic-x trial?</a:t>
              </a:r>
            </a:p>
          </p:txBody>
        </p:sp>
        <p:sp>
          <p:nvSpPr>
            <p:cNvPr id="35" name="Rectangle 34">
              <a:extLst>
                <a:ext uri="{FF2B5EF4-FFF2-40B4-BE49-F238E27FC236}">
                  <a16:creationId xmlns:a16="http://schemas.microsoft.com/office/drawing/2014/main" id="{614FCEEE-B53E-4F66-E5B8-A096C7CE3BA3}"/>
                </a:ext>
              </a:extLst>
            </p:cNvPr>
            <p:cNvSpPr/>
            <p:nvPr/>
          </p:nvSpPr>
          <p:spPr>
            <a:xfrm>
              <a:off x="793750" y="1847834"/>
              <a:ext cx="956416" cy="153888"/>
            </a:xfrm>
            <a:prstGeom prst="rect">
              <a:avLst/>
            </a:prstGeom>
            <a:noFill/>
            <a:ln>
              <a:noFill/>
            </a:ln>
          </p:spPr>
          <p:style>
            <a:lnRef idx="0">
              <a:scrgbClr r="0" g="0" b="0"/>
            </a:lnRef>
            <a:fillRef idx="0">
              <a:scrgbClr r="0" g="0" b="0"/>
            </a:fillRef>
            <a:effectRef idx="0">
              <a:scrgbClr r="0" g="0" b="0"/>
            </a:effectRef>
            <a:fontRef idx="minor">
              <a:schemeClr val="lt1"/>
            </a:fontRef>
          </p:style>
          <p:txBody>
            <a:bodyPr wrap="square" lIns="0" tIns="0" rIns="0" bIns="0" rtlCol="0" anchor="t">
              <a:spAutoFit/>
            </a:bodyPr>
            <a:lstStyle/>
            <a:p>
              <a:pPr algn="r"/>
              <a:r>
                <a:rPr lang="en-US" sz="1000" b="1">
                  <a:solidFill>
                    <a:schemeClr val="tx1"/>
                  </a:solidFill>
                  <a:cs typeface="Calibri"/>
                </a:rPr>
                <a:t>User Question</a:t>
              </a:r>
              <a:endParaRPr lang="en-US" sz="1000">
                <a:solidFill>
                  <a:schemeClr val="tx1"/>
                </a:solidFill>
                <a:cs typeface="Calibri"/>
              </a:endParaRPr>
            </a:p>
          </p:txBody>
        </p:sp>
      </p:grpSp>
      <p:grpSp>
        <p:nvGrpSpPr>
          <p:cNvPr id="120" name="Group 119">
            <a:extLst>
              <a:ext uri="{FF2B5EF4-FFF2-40B4-BE49-F238E27FC236}">
                <a16:creationId xmlns:a16="http://schemas.microsoft.com/office/drawing/2014/main" id="{5CBDFFED-2E1F-9EAA-97A0-C8C54937ECD1}"/>
              </a:ext>
            </a:extLst>
          </p:cNvPr>
          <p:cNvGrpSpPr/>
          <p:nvPr/>
        </p:nvGrpSpPr>
        <p:grpSpPr>
          <a:xfrm>
            <a:off x="767556" y="1885693"/>
            <a:ext cx="5202238" cy="153888"/>
            <a:chOff x="793750" y="2083657"/>
            <a:chExt cx="5202238" cy="153888"/>
          </a:xfrm>
        </p:grpSpPr>
        <p:sp>
          <p:nvSpPr>
            <p:cNvPr id="17" name="Rectangle 16">
              <a:extLst>
                <a:ext uri="{FF2B5EF4-FFF2-40B4-BE49-F238E27FC236}">
                  <a16:creationId xmlns:a16="http://schemas.microsoft.com/office/drawing/2014/main" id="{F5EF3CCE-9001-5CEC-6C75-E8A0F8A46683}"/>
                </a:ext>
              </a:extLst>
            </p:cNvPr>
            <p:cNvSpPr/>
            <p:nvPr/>
          </p:nvSpPr>
          <p:spPr>
            <a:xfrm>
              <a:off x="1824038" y="2083657"/>
              <a:ext cx="4171950" cy="153888"/>
            </a:xfrm>
            <a:prstGeom prst="rect">
              <a:avLst/>
            </a:prstGeom>
            <a:noFill/>
            <a:ln>
              <a:noFill/>
            </a:ln>
          </p:spPr>
          <p:style>
            <a:lnRef idx="0">
              <a:scrgbClr r="0" g="0" b="0"/>
            </a:lnRef>
            <a:fillRef idx="0">
              <a:scrgbClr r="0" g="0" b="0"/>
            </a:fillRef>
            <a:effectRef idx="0">
              <a:scrgbClr r="0" g="0" b="0"/>
            </a:effectRef>
            <a:fontRef idx="minor">
              <a:schemeClr val="lt1"/>
            </a:fontRef>
          </p:style>
          <p:txBody>
            <a:bodyPr wrap="square" lIns="0" tIns="0" rIns="0" bIns="0" rtlCol="0" anchor="t">
              <a:spAutoFit/>
            </a:bodyPr>
            <a:lstStyle/>
            <a:p>
              <a:r>
                <a:rPr lang="en-US" sz="1000">
                  <a:solidFill>
                    <a:schemeClr val="tx1"/>
                  </a:solidFill>
                  <a:cs typeface="Calibri"/>
                </a:rPr>
                <a:t>Optic-X Trial</a:t>
              </a:r>
            </a:p>
          </p:txBody>
        </p:sp>
        <p:sp>
          <p:nvSpPr>
            <p:cNvPr id="37" name="Rectangle 36">
              <a:extLst>
                <a:ext uri="{FF2B5EF4-FFF2-40B4-BE49-F238E27FC236}">
                  <a16:creationId xmlns:a16="http://schemas.microsoft.com/office/drawing/2014/main" id="{57B8B6F2-E09A-EB17-D643-0D558B3E62BC}"/>
                </a:ext>
              </a:extLst>
            </p:cNvPr>
            <p:cNvSpPr/>
            <p:nvPr/>
          </p:nvSpPr>
          <p:spPr>
            <a:xfrm>
              <a:off x="793750" y="2083657"/>
              <a:ext cx="956416" cy="153888"/>
            </a:xfrm>
            <a:prstGeom prst="rect">
              <a:avLst/>
            </a:prstGeom>
            <a:noFill/>
            <a:ln>
              <a:noFill/>
            </a:ln>
          </p:spPr>
          <p:style>
            <a:lnRef idx="0">
              <a:scrgbClr r="0" g="0" b="0"/>
            </a:lnRef>
            <a:fillRef idx="0">
              <a:scrgbClr r="0" g="0" b="0"/>
            </a:fillRef>
            <a:effectRef idx="0">
              <a:scrgbClr r="0" g="0" b="0"/>
            </a:effectRef>
            <a:fontRef idx="minor">
              <a:schemeClr val="lt1"/>
            </a:fontRef>
          </p:style>
          <p:txBody>
            <a:bodyPr wrap="square" lIns="0" tIns="0" rIns="0" bIns="0" rtlCol="0" anchor="t">
              <a:spAutoFit/>
            </a:bodyPr>
            <a:lstStyle/>
            <a:p>
              <a:pPr algn="r"/>
              <a:r>
                <a:rPr lang="en-US" sz="1000" b="1">
                  <a:solidFill>
                    <a:schemeClr val="tx1"/>
                  </a:solidFill>
                  <a:cs typeface="Calibri"/>
                </a:rPr>
                <a:t>Related Topics</a:t>
              </a:r>
              <a:endParaRPr lang="en-US" sz="1000">
                <a:solidFill>
                  <a:schemeClr val="tx1"/>
                </a:solidFill>
                <a:cs typeface="Calibri"/>
              </a:endParaRPr>
            </a:p>
          </p:txBody>
        </p:sp>
      </p:grpSp>
      <p:grpSp>
        <p:nvGrpSpPr>
          <p:cNvPr id="121" name="Group 120">
            <a:extLst>
              <a:ext uri="{FF2B5EF4-FFF2-40B4-BE49-F238E27FC236}">
                <a16:creationId xmlns:a16="http://schemas.microsoft.com/office/drawing/2014/main" id="{AA3752DB-FE94-A9D3-BDE0-4E06372D0BE9}"/>
              </a:ext>
            </a:extLst>
          </p:cNvPr>
          <p:cNvGrpSpPr/>
          <p:nvPr/>
        </p:nvGrpSpPr>
        <p:grpSpPr>
          <a:xfrm>
            <a:off x="767556" y="2121515"/>
            <a:ext cx="5202238" cy="153888"/>
            <a:chOff x="793750" y="2319479"/>
            <a:chExt cx="5202238" cy="153888"/>
          </a:xfrm>
        </p:grpSpPr>
        <p:sp>
          <p:nvSpPr>
            <p:cNvPr id="18" name="Rectangle 17">
              <a:extLst>
                <a:ext uri="{FF2B5EF4-FFF2-40B4-BE49-F238E27FC236}">
                  <a16:creationId xmlns:a16="http://schemas.microsoft.com/office/drawing/2014/main" id="{E0C37F2E-2502-04BC-D75B-EDFBDAB4C1B5}"/>
                </a:ext>
              </a:extLst>
            </p:cNvPr>
            <p:cNvSpPr/>
            <p:nvPr/>
          </p:nvSpPr>
          <p:spPr>
            <a:xfrm>
              <a:off x="1824038" y="2319479"/>
              <a:ext cx="4171950" cy="153888"/>
            </a:xfrm>
            <a:prstGeom prst="rect">
              <a:avLst/>
            </a:prstGeom>
            <a:noFill/>
            <a:ln>
              <a:noFill/>
            </a:ln>
          </p:spPr>
          <p:style>
            <a:lnRef idx="0">
              <a:scrgbClr r="0" g="0" b="0"/>
            </a:lnRef>
            <a:fillRef idx="0">
              <a:scrgbClr r="0" g="0" b="0"/>
            </a:fillRef>
            <a:effectRef idx="0">
              <a:scrgbClr r="0" g="0" b="0"/>
            </a:effectRef>
            <a:fontRef idx="minor">
              <a:schemeClr val="lt1"/>
            </a:fontRef>
          </p:style>
          <p:txBody>
            <a:bodyPr wrap="square" lIns="0" tIns="0" rIns="0" bIns="0" rtlCol="0" anchor="t">
              <a:spAutoFit/>
            </a:bodyPr>
            <a:lstStyle/>
            <a:p>
              <a:r>
                <a:rPr lang="en-US" sz="1000">
                  <a:solidFill>
                    <a:schemeClr val="tx1"/>
                  </a:solidFill>
                  <a:cs typeface="Calibri"/>
                </a:rPr>
                <a:t>Number of Patients included in optic-x trial</a:t>
              </a:r>
            </a:p>
          </p:txBody>
        </p:sp>
        <p:sp>
          <p:nvSpPr>
            <p:cNvPr id="38" name="Rectangle 37">
              <a:extLst>
                <a:ext uri="{FF2B5EF4-FFF2-40B4-BE49-F238E27FC236}">
                  <a16:creationId xmlns:a16="http://schemas.microsoft.com/office/drawing/2014/main" id="{4EA1998E-1535-9DB7-5BF2-8432BE1FF4C1}"/>
                </a:ext>
              </a:extLst>
            </p:cNvPr>
            <p:cNvSpPr/>
            <p:nvPr/>
          </p:nvSpPr>
          <p:spPr>
            <a:xfrm>
              <a:off x="793750" y="2319479"/>
              <a:ext cx="956416" cy="153888"/>
            </a:xfrm>
            <a:prstGeom prst="rect">
              <a:avLst/>
            </a:prstGeom>
            <a:noFill/>
            <a:ln>
              <a:noFill/>
            </a:ln>
          </p:spPr>
          <p:style>
            <a:lnRef idx="0">
              <a:scrgbClr r="0" g="0" b="0"/>
            </a:lnRef>
            <a:fillRef idx="0">
              <a:scrgbClr r="0" g="0" b="0"/>
            </a:fillRef>
            <a:effectRef idx="0">
              <a:scrgbClr r="0" g="0" b="0"/>
            </a:effectRef>
            <a:fontRef idx="minor">
              <a:schemeClr val="lt1"/>
            </a:fontRef>
          </p:style>
          <p:txBody>
            <a:bodyPr wrap="square" lIns="0" tIns="0" rIns="0" bIns="0" rtlCol="0" anchor="t">
              <a:spAutoFit/>
            </a:bodyPr>
            <a:lstStyle/>
            <a:p>
              <a:pPr algn="r"/>
              <a:r>
                <a:rPr lang="en-US" sz="1000" b="1">
                  <a:solidFill>
                    <a:schemeClr val="tx1"/>
                  </a:solidFill>
                  <a:cs typeface="Calibri"/>
                </a:rPr>
                <a:t>Search Queries</a:t>
              </a:r>
              <a:endParaRPr lang="en-US" sz="1000">
                <a:solidFill>
                  <a:schemeClr val="tx1"/>
                </a:solidFill>
                <a:cs typeface="Calibri"/>
              </a:endParaRPr>
            </a:p>
          </p:txBody>
        </p:sp>
      </p:grpSp>
      <p:grpSp>
        <p:nvGrpSpPr>
          <p:cNvPr id="122" name="Group 121">
            <a:extLst>
              <a:ext uri="{FF2B5EF4-FFF2-40B4-BE49-F238E27FC236}">
                <a16:creationId xmlns:a16="http://schemas.microsoft.com/office/drawing/2014/main" id="{33C98E16-95AE-38C2-00C2-761B89E40015}"/>
              </a:ext>
            </a:extLst>
          </p:cNvPr>
          <p:cNvGrpSpPr/>
          <p:nvPr/>
        </p:nvGrpSpPr>
        <p:grpSpPr>
          <a:xfrm>
            <a:off x="6116950" y="1414049"/>
            <a:ext cx="5220181" cy="153888"/>
            <a:chOff x="6143144" y="1612012"/>
            <a:chExt cx="5220181" cy="153888"/>
          </a:xfrm>
        </p:grpSpPr>
        <p:sp>
          <p:nvSpPr>
            <p:cNvPr id="19" name="Rectangle 18">
              <a:extLst>
                <a:ext uri="{FF2B5EF4-FFF2-40B4-BE49-F238E27FC236}">
                  <a16:creationId xmlns:a16="http://schemas.microsoft.com/office/drawing/2014/main" id="{58E4C1E0-42D1-BFFD-C056-471E2BEBA0F3}"/>
                </a:ext>
              </a:extLst>
            </p:cNvPr>
            <p:cNvSpPr/>
            <p:nvPr/>
          </p:nvSpPr>
          <p:spPr>
            <a:xfrm>
              <a:off x="6143144" y="1612012"/>
              <a:ext cx="1639360" cy="153888"/>
            </a:xfrm>
            <a:prstGeom prst="rect">
              <a:avLst/>
            </a:prstGeom>
            <a:noFill/>
            <a:ln>
              <a:noFill/>
            </a:ln>
          </p:spPr>
          <p:style>
            <a:lnRef idx="0">
              <a:scrgbClr r="0" g="0" b="0"/>
            </a:lnRef>
            <a:fillRef idx="0">
              <a:scrgbClr r="0" g="0" b="0"/>
            </a:fillRef>
            <a:effectRef idx="0">
              <a:scrgbClr r="0" g="0" b="0"/>
            </a:effectRef>
            <a:fontRef idx="minor">
              <a:schemeClr val="lt1"/>
            </a:fontRef>
          </p:style>
          <p:txBody>
            <a:bodyPr wrap="square" lIns="0" tIns="0" rIns="0" bIns="0" rtlCol="0" anchor="t">
              <a:spAutoFit/>
            </a:bodyPr>
            <a:lstStyle/>
            <a:p>
              <a:pPr algn="r"/>
              <a:r>
                <a:rPr lang="en-US" sz="1000" b="1">
                  <a:solidFill>
                    <a:schemeClr val="tx1"/>
                  </a:solidFill>
                  <a:cs typeface="Calibri"/>
                </a:rPr>
                <a:t>Tool</a:t>
              </a:r>
              <a:endParaRPr lang="en-US" sz="1000">
                <a:solidFill>
                  <a:schemeClr val="tx1"/>
                </a:solidFill>
                <a:cs typeface="Calibri"/>
              </a:endParaRPr>
            </a:p>
          </p:txBody>
        </p:sp>
        <p:sp>
          <p:nvSpPr>
            <p:cNvPr id="10" name="Rectangle 9">
              <a:extLst>
                <a:ext uri="{FF2B5EF4-FFF2-40B4-BE49-F238E27FC236}">
                  <a16:creationId xmlns:a16="http://schemas.microsoft.com/office/drawing/2014/main" id="{5B19ED61-E571-5247-AE3E-727DF497272B}"/>
                </a:ext>
              </a:extLst>
            </p:cNvPr>
            <p:cNvSpPr/>
            <p:nvPr/>
          </p:nvSpPr>
          <p:spPr>
            <a:xfrm>
              <a:off x="7848601" y="1612012"/>
              <a:ext cx="3514724" cy="153888"/>
            </a:xfrm>
            <a:prstGeom prst="rect">
              <a:avLst/>
            </a:prstGeom>
            <a:noFill/>
            <a:ln>
              <a:noFill/>
            </a:ln>
          </p:spPr>
          <p:style>
            <a:lnRef idx="0">
              <a:scrgbClr r="0" g="0" b="0"/>
            </a:lnRef>
            <a:fillRef idx="0">
              <a:scrgbClr r="0" g="0" b="0"/>
            </a:fillRef>
            <a:effectRef idx="0">
              <a:scrgbClr r="0" g="0" b="0"/>
            </a:effectRef>
            <a:fontRef idx="minor">
              <a:schemeClr val="lt1"/>
            </a:fontRef>
          </p:style>
          <p:txBody>
            <a:bodyPr wrap="square" lIns="0" tIns="0" rIns="0" bIns="0" rtlCol="0" anchor="t">
              <a:spAutoFit/>
            </a:bodyPr>
            <a:lstStyle/>
            <a:p>
              <a:r>
                <a:rPr lang="en-US" sz="1000">
                  <a:solidFill>
                    <a:schemeClr val="tx1"/>
                  </a:solidFill>
                  <a:cs typeface="Calibri"/>
                </a:rPr>
                <a:t>Knowledge-Base</a:t>
              </a:r>
            </a:p>
          </p:txBody>
        </p:sp>
      </p:grpSp>
      <p:grpSp>
        <p:nvGrpSpPr>
          <p:cNvPr id="123" name="Group 122">
            <a:extLst>
              <a:ext uri="{FF2B5EF4-FFF2-40B4-BE49-F238E27FC236}">
                <a16:creationId xmlns:a16="http://schemas.microsoft.com/office/drawing/2014/main" id="{A80C9584-290F-049B-4302-1672CCDEA4CC}"/>
              </a:ext>
            </a:extLst>
          </p:cNvPr>
          <p:cNvGrpSpPr/>
          <p:nvPr/>
        </p:nvGrpSpPr>
        <p:grpSpPr>
          <a:xfrm>
            <a:off x="6116950" y="1649871"/>
            <a:ext cx="5220181" cy="153888"/>
            <a:chOff x="6143144" y="1847836"/>
            <a:chExt cx="5220181" cy="153888"/>
          </a:xfrm>
        </p:grpSpPr>
        <p:sp>
          <p:nvSpPr>
            <p:cNvPr id="20" name="Rectangle 19">
              <a:extLst>
                <a:ext uri="{FF2B5EF4-FFF2-40B4-BE49-F238E27FC236}">
                  <a16:creationId xmlns:a16="http://schemas.microsoft.com/office/drawing/2014/main" id="{91D3ED20-11A8-16C2-E5D1-5D324B774922}"/>
                </a:ext>
              </a:extLst>
            </p:cNvPr>
            <p:cNvSpPr/>
            <p:nvPr/>
          </p:nvSpPr>
          <p:spPr>
            <a:xfrm>
              <a:off x="6143144" y="1847836"/>
              <a:ext cx="1639360" cy="153888"/>
            </a:xfrm>
            <a:prstGeom prst="rect">
              <a:avLst/>
            </a:prstGeom>
            <a:noFill/>
            <a:ln>
              <a:noFill/>
            </a:ln>
          </p:spPr>
          <p:style>
            <a:lnRef idx="0">
              <a:scrgbClr r="0" g="0" b="0"/>
            </a:lnRef>
            <a:fillRef idx="0">
              <a:scrgbClr r="0" g="0" b="0"/>
            </a:fillRef>
            <a:effectRef idx="0">
              <a:scrgbClr r="0" g="0" b="0"/>
            </a:effectRef>
            <a:fontRef idx="minor">
              <a:schemeClr val="lt1"/>
            </a:fontRef>
          </p:style>
          <p:txBody>
            <a:bodyPr wrap="square" lIns="0" tIns="0" rIns="0" bIns="0" rtlCol="0" anchor="t">
              <a:spAutoFit/>
            </a:bodyPr>
            <a:lstStyle/>
            <a:p>
              <a:pPr algn="r"/>
              <a:r>
                <a:rPr lang="en-US" sz="1000" b="1">
                  <a:solidFill>
                    <a:schemeClr val="tx1"/>
                  </a:solidFill>
                  <a:cs typeface="Calibri"/>
                </a:rPr>
                <a:t>User Question</a:t>
              </a:r>
              <a:endParaRPr lang="en-US" sz="1000">
                <a:solidFill>
                  <a:schemeClr val="tx1"/>
                </a:solidFill>
                <a:cs typeface="Calibri"/>
              </a:endParaRPr>
            </a:p>
          </p:txBody>
        </p:sp>
        <p:sp>
          <p:nvSpPr>
            <p:cNvPr id="11" name="Rectangle 10">
              <a:extLst>
                <a:ext uri="{FF2B5EF4-FFF2-40B4-BE49-F238E27FC236}">
                  <a16:creationId xmlns:a16="http://schemas.microsoft.com/office/drawing/2014/main" id="{5FCC34F9-77C2-9DA2-7DE6-39C427C69143}"/>
                </a:ext>
              </a:extLst>
            </p:cNvPr>
            <p:cNvSpPr/>
            <p:nvPr/>
          </p:nvSpPr>
          <p:spPr>
            <a:xfrm>
              <a:off x="7848601" y="1847836"/>
              <a:ext cx="3514724" cy="153888"/>
            </a:xfrm>
            <a:prstGeom prst="rect">
              <a:avLst/>
            </a:prstGeom>
            <a:noFill/>
            <a:ln>
              <a:noFill/>
            </a:ln>
          </p:spPr>
          <p:style>
            <a:lnRef idx="0">
              <a:scrgbClr r="0" g="0" b="0"/>
            </a:lnRef>
            <a:fillRef idx="0">
              <a:scrgbClr r="0" g="0" b="0"/>
            </a:fillRef>
            <a:effectRef idx="0">
              <a:scrgbClr r="0" g="0" b="0"/>
            </a:effectRef>
            <a:fontRef idx="minor">
              <a:schemeClr val="lt1"/>
            </a:fontRef>
          </p:style>
          <p:txBody>
            <a:bodyPr wrap="square" lIns="0" tIns="0" rIns="0" bIns="0" rtlCol="0" anchor="t">
              <a:spAutoFit/>
            </a:bodyPr>
            <a:lstStyle/>
            <a:p>
              <a:r>
                <a:rPr lang="en-US" sz="1000">
                  <a:solidFill>
                    <a:schemeClr val="tx1"/>
                  </a:solidFill>
                  <a:cs typeface="Calibri"/>
                </a:rPr>
                <a:t>How many patients were included in optic-x trial?</a:t>
              </a:r>
            </a:p>
          </p:txBody>
        </p:sp>
      </p:grpSp>
      <p:grpSp>
        <p:nvGrpSpPr>
          <p:cNvPr id="124" name="Group 123">
            <a:extLst>
              <a:ext uri="{FF2B5EF4-FFF2-40B4-BE49-F238E27FC236}">
                <a16:creationId xmlns:a16="http://schemas.microsoft.com/office/drawing/2014/main" id="{8887C964-9829-56EC-AB52-B6F8EF2C1116}"/>
              </a:ext>
            </a:extLst>
          </p:cNvPr>
          <p:cNvGrpSpPr/>
          <p:nvPr/>
        </p:nvGrpSpPr>
        <p:grpSpPr>
          <a:xfrm>
            <a:off x="6116950" y="1885693"/>
            <a:ext cx="5220181" cy="153888"/>
            <a:chOff x="6143144" y="2083659"/>
            <a:chExt cx="5220181" cy="153888"/>
          </a:xfrm>
        </p:grpSpPr>
        <p:sp>
          <p:nvSpPr>
            <p:cNvPr id="21" name="Rectangle 20">
              <a:extLst>
                <a:ext uri="{FF2B5EF4-FFF2-40B4-BE49-F238E27FC236}">
                  <a16:creationId xmlns:a16="http://schemas.microsoft.com/office/drawing/2014/main" id="{1E6B7644-B826-634F-253D-4C3AE9F57649}"/>
                </a:ext>
              </a:extLst>
            </p:cNvPr>
            <p:cNvSpPr/>
            <p:nvPr/>
          </p:nvSpPr>
          <p:spPr>
            <a:xfrm>
              <a:off x="6143144" y="2083659"/>
              <a:ext cx="1639360" cy="153888"/>
            </a:xfrm>
            <a:prstGeom prst="rect">
              <a:avLst/>
            </a:prstGeom>
            <a:noFill/>
            <a:ln>
              <a:noFill/>
            </a:ln>
          </p:spPr>
          <p:style>
            <a:lnRef idx="0">
              <a:scrgbClr r="0" g="0" b="0"/>
            </a:lnRef>
            <a:fillRef idx="0">
              <a:scrgbClr r="0" g="0" b="0"/>
            </a:fillRef>
            <a:effectRef idx="0">
              <a:scrgbClr r="0" g="0" b="0"/>
            </a:effectRef>
            <a:fontRef idx="minor">
              <a:schemeClr val="lt1"/>
            </a:fontRef>
          </p:style>
          <p:txBody>
            <a:bodyPr wrap="square" lIns="0" tIns="0" rIns="0" bIns="0" rtlCol="0" anchor="t">
              <a:spAutoFit/>
            </a:bodyPr>
            <a:lstStyle/>
            <a:p>
              <a:pPr algn="r"/>
              <a:r>
                <a:rPr lang="en-US" sz="1000" b="1">
                  <a:solidFill>
                    <a:schemeClr val="tx1"/>
                  </a:solidFill>
                  <a:cs typeface="Calibri"/>
                </a:rPr>
                <a:t>Related Topics</a:t>
              </a:r>
              <a:endParaRPr lang="en-US" sz="1000">
                <a:solidFill>
                  <a:schemeClr val="tx1"/>
                </a:solidFill>
                <a:cs typeface="Calibri"/>
              </a:endParaRPr>
            </a:p>
          </p:txBody>
        </p:sp>
        <p:sp>
          <p:nvSpPr>
            <p:cNvPr id="12" name="Rectangle 11">
              <a:extLst>
                <a:ext uri="{FF2B5EF4-FFF2-40B4-BE49-F238E27FC236}">
                  <a16:creationId xmlns:a16="http://schemas.microsoft.com/office/drawing/2014/main" id="{1240249D-81F1-6D3D-9885-9B652AF527B0}"/>
                </a:ext>
              </a:extLst>
            </p:cNvPr>
            <p:cNvSpPr/>
            <p:nvPr/>
          </p:nvSpPr>
          <p:spPr>
            <a:xfrm>
              <a:off x="7848601" y="2083659"/>
              <a:ext cx="3514724" cy="153888"/>
            </a:xfrm>
            <a:prstGeom prst="rect">
              <a:avLst/>
            </a:prstGeom>
            <a:noFill/>
            <a:ln>
              <a:noFill/>
            </a:ln>
          </p:spPr>
          <p:style>
            <a:lnRef idx="0">
              <a:scrgbClr r="0" g="0" b="0"/>
            </a:lnRef>
            <a:fillRef idx="0">
              <a:scrgbClr r="0" g="0" b="0"/>
            </a:fillRef>
            <a:effectRef idx="0">
              <a:scrgbClr r="0" g="0" b="0"/>
            </a:effectRef>
            <a:fontRef idx="minor">
              <a:schemeClr val="lt1"/>
            </a:fontRef>
          </p:style>
          <p:txBody>
            <a:bodyPr wrap="square" lIns="0" tIns="0" rIns="0" bIns="0" rtlCol="0" anchor="t">
              <a:spAutoFit/>
            </a:bodyPr>
            <a:lstStyle/>
            <a:p>
              <a:r>
                <a:rPr lang="en-US" sz="1000">
                  <a:solidFill>
                    <a:schemeClr val="tx1"/>
                  </a:solidFill>
                  <a:cs typeface="Calibri"/>
                </a:rPr>
                <a:t>Optic-X Trial</a:t>
              </a:r>
            </a:p>
          </p:txBody>
        </p:sp>
      </p:grpSp>
      <p:grpSp>
        <p:nvGrpSpPr>
          <p:cNvPr id="125" name="Group 124">
            <a:extLst>
              <a:ext uri="{FF2B5EF4-FFF2-40B4-BE49-F238E27FC236}">
                <a16:creationId xmlns:a16="http://schemas.microsoft.com/office/drawing/2014/main" id="{6A7552F9-356D-2462-8B38-5887A7CBE9A1}"/>
              </a:ext>
            </a:extLst>
          </p:cNvPr>
          <p:cNvGrpSpPr/>
          <p:nvPr/>
        </p:nvGrpSpPr>
        <p:grpSpPr>
          <a:xfrm>
            <a:off x="6116950" y="2121515"/>
            <a:ext cx="5220181" cy="153888"/>
            <a:chOff x="6143144" y="2319482"/>
            <a:chExt cx="5220181" cy="153888"/>
          </a:xfrm>
        </p:grpSpPr>
        <p:sp>
          <p:nvSpPr>
            <p:cNvPr id="22" name="Rectangle 21">
              <a:extLst>
                <a:ext uri="{FF2B5EF4-FFF2-40B4-BE49-F238E27FC236}">
                  <a16:creationId xmlns:a16="http://schemas.microsoft.com/office/drawing/2014/main" id="{DE12E458-D8A7-868F-1FA5-9375696DEBD0}"/>
                </a:ext>
              </a:extLst>
            </p:cNvPr>
            <p:cNvSpPr/>
            <p:nvPr/>
          </p:nvSpPr>
          <p:spPr>
            <a:xfrm>
              <a:off x="6143144" y="2319482"/>
              <a:ext cx="1639360" cy="153888"/>
            </a:xfrm>
            <a:prstGeom prst="rect">
              <a:avLst/>
            </a:prstGeom>
            <a:noFill/>
            <a:ln>
              <a:noFill/>
            </a:ln>
          </p:spPr>
          <p:style>
            <a:lnRef idx="0">
              <a:scrgbClr r="0" g="0" b="0"/>
            </a:lnRef>
            <a:fillRef idx="0">
              <a:scrgbClr r="0" g="0" b="0"/>
            </a:fillRef>
            <a:effectRef idx="0">
              <a:scrgbClr r="0" g="0" b="0"/>
            </a:effectRef>
            <a:fontRef idx="minor">
              <a:schemeClr val="lt1"/>
            </a:fontRef>
          </p:style>
          <p:txBody>
            <a:bodyPr wrap="square" lIns="0" tIns="0" rIns="0" bIns="0" rtlCol="0" anchor="t">
              <a:spAutoFit/>
            </a:bodyPr>
            <a:lstStyle/>
            <a:p>
              <a:pPr algn="r"/>
              <a:r>
                <a:rPr lang="en-US" sz="1000" b="1">
                  <a:solidFill>
                    <a:schemeClr val="tx1"/>
                  </a:solidFill>
                  <a:cs typeface="Calibri"/>
                </a:rPr>
                <a:t>Search Queries</a:t>
              </a:r>
              <a:endParaRPr lang="en-US" sz="1000">
                <a:solidFill>
                  <a:schemeClr val="tx1"/>
                </a:solidFill>
                <a:cs typeface="Calibri"/>
              </a:endParaRPr>
            </a:p>
          </p:txBody>
        </p:sp>
        <p:sp>
          <p:nvSpPr>
            <p:cNvPr id="13" name="Rectangle 12">
              <a:extLst>
                <a:ext uri="{FF2B5EF4-FFF2-40B4-BE49-F238E27FC236}">
                  <a16:creationId xmlns:a16="http://schemas.microsoft.com/office/drawing/2014/main" id="{CE22927D-FBC0-2C4C-5211-91C9E722EE2D}"/>
                </a:ext>
              </a:extLst>
            </p:cNvPr>
            <p:cNvSpPr/>
            <p:nvPr/>
          </p:nvSpPr>
          <p:spPr>
            <a:xfrm>
              <a:off x="7848601" y="2319482"/>
              <a:ext cx="3514724" cy="153888"/>
            </a:xfrm>
            <a:prstGeom prst="rect">
              <a:avLst/>
            </a:prstGeom>
            <a:noFill/>
            <a:ln>
              <a:noFill/>
            </a:ln>
          </p:spPr>
          <p:style>
            <a:lnRef idx="0">
              <a:scrgbClr r="0" g="0" b="0"/>
            </a:lnRef>
            <a:fillRef idx="0">
              <a:scrgbClr r="0" g="0" b="0"/>
            </a:fillRef>
            <a:effectRef idx="0">
              <a:scrgbClr r="0" g="0" b="0"/>
            </a:effectRef>
            <a:fontRef idx="minor">
              <a:schemeClr val="lt1"/>
            </a:fontRef>
          </p:style>
          <p:txBody>
            <a:bodyPr wrap="square" lIns="0" tIns="0" rIns="0" bIns="0" rtlCol="0" anchor="t">
              <a:spAutoFit/>
            </a:bodyPr>
            <a:lstStyle/>
            <a:p>
              <a:r>
                <a:rPr lang="en-US" sz="1000">
                  <a:solidFill>
                    <a:schemeClr val="tx1"/>
                  </a:solidFill>
                  <a:cs typeface="Calibri"/>
                </a:rPr>
                <a:t>Number of Patients included in optic-x trial</a:t>
              </a:r>
            </a:p>
          </p:txBody>
        </p:sp>
      </p:grpSp>
      <p:grpSp>
        <p:nvGrpSpPr>
          <p:cNvPr id="126" name="Group 125">
            <a:extLst>
              <a:ext uri="{FF2B5EF4-FFF2-40B4-BE49-F238E27FC236}">
                <a16:creationId xmlns:a16="http://schemas.microsoft.com/office/drawing/2014/main" id="{268199EE-A465-4D4A-3E00-9CCB8F575AA3}"/>
              </a:ext>
            </a:extLst>
          </p:cNvPr>
          <p:cNvGrpSpPr/>
          <p:nvPr/>
        </p:nvGrpSpPr>
        <p:grpSpPr>
          <a:xfrm>
            <a:off x="6116950" y="2357337"/>
            <a:ext cx="5220181" cy="153888"/>
            <a:chOff x="6143144" y="2555305"/>
            <a:chExt cx="5220181" cy="153888"/>
          </a:xfrm>
        </p:grpSpPr>
        <p:sp>
          <p:nvSpPr>
            <p:cNvPr id="23" name="Rectangle 22">
              <a:extLst>
                <a:ext uri="{FF2B5EF4-FFF2-40B4-BE49-F238E27FC236}">
                  <a16:creationId xmlns:a16="http://schemas.microsoft.com/office/drawing/2014/main" id="{385A414A-B37F-6C06-0469-A4EC5A0794D0}"/>
                </a:ext>
              </a:extLst>
            </p:cNvPr>
            <p:cNvSpPr/>
            <p:nvPr/>
          </p:nvSpPr>
          <p:spPr>
            <a:xfrm>
              <a:off x="6143144" y="2555305"/>
              <a:ext cx="1639360" cy="153888"/>
            </a:xfrm>
            <a:prstGeom prst="rect">
              <a:avLst/>
            </a:prstGeom>
            <a:noFill/>
            <a:ln>
              <a:noFill/>
            </a:ln>
          </p:spPr>
          <p:style>
            <a:lnRef idx="0">
              <a:scrgbClr r="0" g="0" b="0"/>
            </a:lnRef>
            <a:fillRef idx="0">
              <a:scrgbClr r="0" g="0" b="0"/>
            </a:fillRef>
            <a:effectRef idx="0">
              <a:scrgbClr r="0" g="0" b="0"/>
            </a:effectRef>
            <a:fontRef idx="minor">
              <a:schemeClr val="lt1"/>
            </a:fontRef>
          </p:style>
          <p:txBody>
            <a:bodyPr wrap="square" lIns="0" tIns="0" rIns="0" bIns="0" rtlCol="0" anchor="t">
              <a:spAutoFit/>
            </a:bodyPr>
            <a:lstStyle/>
            <a:p>
              <a:pPr algn="r"/>
              <a:r>
                <a:rPr lang="en-US" sz="1000" b="1">
                  <a:solidFill>
                    <a:schemeClr val="tx1"/>
                  </a:solidFill>
                  <a:cs typeface="Calibri"/>
                </a:rPr>
                <a:t>User Intent</a:t>
              </a:r>
              <a:endParaRPr lang="en-US" sz="1000">
                <a:solidFill>
                  <a:schemeClr val="tx1"/>
                </a:solidFill>
                <a:cs typeface="Calibri"/>
              </a:endParaRPr>
            </a:p>
          </p:txBody>
        </p:sp>
        <p:sp>
          <p:nvSpPr>
            <p:cNvPr id="14" name="Rectangle 13">
              <a:extLst>
                <a:ext uri="{FF2B5EF4-FFF2-40B4-BE49-F238E27FC236}">
                  <a16:creationId xmlns:a16="http://schemas.microsoft.com/office/drawing/2014/main" id="{F262C98A-2994-8148-D611-A33A6C0CD400}"/>
                </a:ext>
              </a:extLst>
            </p:cNvPr>
            <p:cNvSpPr/>
            <p:nvPr/>
          </p:nvSpPr>
          <p:spPr>
            <a:xfrm>
              <a:off x="7848601" y="2555305"/>
              <a:ext cx="3514724" cy="153888"/>
            </a:xfrm>
            <a:prstGeom prst="rect">
              <a:avLst/>
            </a:prstGeom>
            <a:noFill/>
            <a:ln>
              <a:noFill/>
            </a:ln>
          </p:spPr>
          <p:style>
            <a:lnRef idx="0">
              <a:scrgbClr r="0" g="0" b="0"/>
            </a:lnRef>
            <a:fillRef idx="0">
              <a:scrgbClr r="0" g="0" b="0"/>
            </a:fillRef>
            <a:effectRef idx="0">
              <a:scrgbClr r="0" g="0" b="0"/>
            </a:effectRef>
            <a:fontRef idx="minor">
              <a:schemeClr val="lt1"/>
            </a:fontRef>
          </p:style>
          <p:txBody>
            <a:bodyPr wrap="square" lIns="0" tIns="0" rIns="0" bIns="0" rtlCol="0" anchor="t">
              <a:spAutoFit/>
            </a:bodyPr>
            <a:lstStyle/>
            <a:p>
              <a:r>
                <a:rPr lang="en-US" sz="1000">
                  <a:solidFill>
                    <a:schemeClr val="tx1"/>
                  </a:solidFill>
                  <a:cs typeface="Calibri"/>
                </a:rPr>
                <a:t>Detailed report</a:t>
              </a:r>
            </a:p>
          </p:txBody>
        </p:sp>
      </p:grpSp>
      <p:grpSp>
        <p:nvGrpSpPr>
          <p:cNvPr id="127" name="Group 126">
            <a:extLst>
              <a:ext uri="{FF2B5EF4-FFF2-40B4-BE49-F238E27FC236}">
                <a16:creationId xmlns:a16="http://schemas.microsoft.com/office/drawing/2014/main" id="{8A968F81-88D2-686D-17F8-DB5C81B62E59}"/>
              </a:ext>
            </a:extLst>
          </p:cNvPr>
          <p:cNvGrpSpPr/>
          <p:nvPr/>
        </p:nvGrpSpPr>
        <p:grpSpPr>
          <a:xfrm>
            <a:off x="6116950" y="2593159"/>
            <a:ext cx="5220181" cy="153888"/>
            <a:chOff x="6143144" y="2791128"/>
            <a:chExt cx="5220181" cy="153888"/>
          </a:xfrm>
        </p:grpSpPr>
        <p:sp>
          <p:nvSpPr>
            <p:cNvPr id="24" name="Rectangle 23">
              <a:extLst>
                <a:ext uri="{FF2B5EF4-FFF2-40B4-BE49-F238E27FC236}">
                  <a16:creationId xmlns:a16="http://schemas.microsoft.com/office/drawing/2014/main" id="{C43CA723-60AF-2FB0-84F9-FDE95B283E5B}"/>
                </a:ext>
              </a:extLst>
            </p:cNvPr>
            <p:cNvSpPr/>
            <p:nvPr/>
          </p:nvSpPr>
          <p:spPr>
            <a:xfrm>
              <a:off x="6143144" y="2791128"/>
              <a:ext cx="1639360" cy="153888"/>
            </a:xfrm>
            <a:prstGeom prst="rect">
              <a:avLst/>
            </a:prstGeom>
            <a:noFill/>
            <a:ln>
              <a:noFill/>
            </a:ln>
          </p:spPr>
          <p:style>
            <a:lnRef idx="0">
              <a:scrgbClr r="0" g="0" b="0"/>
            </a:lnRef>
            <a:fillRef idx="0">
              <a:scrgbClr r="0" g="0" b="0"/>
            </a:fillRef>
            <a:effectRef idx="0">
              <a:scrgbClr r="0" g="0" b="0"/>
            </a:effectRef>
            <a:fontRef idx="minor">
              <a:schemeClr val="lt1"/>
            </a:fontRef>
          </p:style>
          <p:txBody>
            <a:bodyPr wrap="square" lIns="0" tIns="0" rIns="0" bIns="0" rtlCol="0" anchor="t">
              <a:spAutoFit/>
            </a:bodyPr>
            <a:lstStyle/>
            <a:p>
              <a:pPr algn="r"/>
              <a:r>
                <a:rPr lang="en-US" sz="1000" b="1">
                  <a:solidFill>
                    <a:schemeClr val="tx1"/>
                  </a:solidFill>
                  <a:cs typeface="Calibri"/>
                </a:rPr>
                <a:t>Additional Context</a:t>
              </a:r>
              <a:endParaRPr lang="en-US" sz="1000">
                <a:solidFill>
                  <a:schemeClr val="tx1"/>
                </a:solidFill>
                <a:cs typeface="Calibri"/>
              </a:endParaRPr>
            </a:p>
          </p:txBody>
        </p:sp>
        <p:sp>
          <p:nvSpPr>
            <p:cNvPr id="26" name="Rectangle 25">
              <a:extLst>
                <a:ext uri="{FF2B5EF4-FFF2-40B4-BE49-F238E27FC236}">
                  <a16:creationId xmlns:a16="http://schemas.microsoft.com/office/drawing/2014/main" id="{D9E02EE8-F821-0EFF-0950-F8F2807FA416}"/>
                </a:ext>
              </a:extLst>
            </p:cNvPr>
            <p:cNvSpPr/>
            <p:nvPr/>
          </p:nvSpPr>
          <p:spPr>
            <a:xfrm>
              <a:off x="7848601" y="2791128"/>
              <a:ext cx="3514724" cy="153888"/>
            </a:xfrm>
            <a:prstGeom prst="rect">
              <a:avLst/>
            </a:prstGeom>
            <a:noFill/>
            <a:ln>
              <a:noFill/>
            </a:ln>
          </p:spPr>
          <p:style>
            <a:lnRef idx="0">
              <a:scrgbClr r="0" g="0" b="0"/>
            </a:lnRef>
            <a:fillRef idx="0">
              <a:scrgbClr r="0" g="0" b="0"/>
            </a:fillRef>
            <a:effectRef idx="0">
              <a:scrgbClr r="0" g="0" b="0"/>
            </a:effectRef>
            <a:fontRef idx="minor">
              <a:schemeClr val="lt1"/>
            </a:fontRef>
          </p:style>
          <p:txBody>
            <a:bodyPr wrap="square" lIns="0" tIns="0" rIns="0" bIns="0" rtlCol="0" anchor="t">
              <a:spAutoFit/>
            </a:bodyPr>
            <a:lstStyle/>
            <a:p>
              <a:r>
                <a:rPr lang="en-US" sz="1000">
                  <a:solidFill>
                    <a:schemeClr val="tx1"/>
                  </a:solidFill>
                  <a:cs typeface="Calibri"/>
                </a:rPr>
                <a:t>…</a:t>
              </a:r>
            </a:p>
          </p:txBody>
        </p:sp>
      </p:grpSp>
      <p:grpSp>
        <p:nvGrpSpPr>
          <p:cNvPr id="128" name="Group 127">
            <a:extLst>
              <a:ext uri="{FF2B5EF4-FFF2-40B4-BE49-F238E27FC236}">
                <a16:creationId xmlns:a16="http://schemas.microsoft.com/office/drawing/2014/main" id="{91CF365D-6280-DDB6-5E99-546BD7BDEC25}"/>
              </a:ext>
            </a:extLst>
          </p:cNvPr>
          <p:cNvGrpSpPr/>
          <p:nvPr/>
        </p:nvGrpSpPr>
        <p:grpSpPr>
          <a:xfrm>
            <a:off x="6116950" y="2828984"/>
            <a:ext cx="5220181" cy="153888"/>
            <a:chOff x="6143144" y="3026947"/>
            <a:chExt cx="5220181" cy="153888"/>
          </a:xfrm>
        </p:grpSpPr>
        <p:sp>
          <p:nvSpPr>
            <p:cNvPr id="25" name="Rectangle 24">
              <a:extLst>
                <a:ext uri="{FF2B5EF4-FFF2-40B4-BE49-F238E27FC236}">
                  <a16:creationId xmlns:a16="http://schemas.microsoft.com/office/drawing/2014/main" id="{A8873C77-64FA-6AF3-6390-252714C59D9E}"/>
                </a:ext>
              </a:extLst>
            </p:cNvPr>
            <p:cNvSpPr/>
            <p:nvPr/>
          </p:nvSpPr>
          <p:spPr>
            <a:xfrm>
              <a:off x="6143144" y="3026947"/>
              <a:ext cx="1639360" cy="153888"/>
            </a:xfrm>
            <a:prstGeom prst="rect">
              <a:avLst/>
            </a:prstGeom>
            <a:noFill/>
            <a:ln>
              <a:noFill/>
            </a:ln>
          </p:spPr>
          <p:style>
            <a:lnRef idx="0">
              <a:scrgbClr r="0" g="0" b="0"/>
            </a:lnRef>
            <a:fillRef idx="0">
              <a:scrgbClr r="0" g="0" b="0"/>
            </a:fillRef>
            <a:effectRef idx="0">
              <a:scrgbClr r="0" g="0" b="0"/>
            </a:effectRef>
            <a:fontRef idx="minor">
              <a:schemeClr val="lt1"/>
            </a:fontRef>
          </p:style>
          <p:txBody>
            <a:bodyPr wrap="square" lIns="0" tIns="0" rIns="0" bIns="0" rtlCol="0" anchor="t">
              <a:spAutoFit/>
            </a:bodyPr>
            <a:lstStyle/>
            <a:p>
              <a:pPr algn="r"/>
              <a:r>
                <a:rPr lang="en-US" sz="1000" b="1">
                  <a:solidFill>
                    <a:schemeClr val="tx1"/>
                  </a:solidFill>
                  <a:cs typeface="Calibri"/>
                </a:rPr>
                <a:t>Comprehensiveness Level</a:t>
              </a:r>
              <a:endParaRPr lang="en-US" sz="1000">
                <a:solidFill>
                  <a:schemeClr val="tx1"/>
                </a:solidFill>
                <a:cs typeface="Calibri"/>
              </a:endParaRPr>
            </a:p>
          </p:txBody>
        </p:sp>
        <p:sp>
          <p:nvSpPr>
            <p:cNvPr id="27" name="Rectangle 26">
              <a:extLst>
                <a:ext uri="{FF2B5EF4-FFF2-40B4-BE49-F238E27FC236}">
                  <a16:creationId xmlns:a16="http://schemas.microsoft.com/office/drawing/2014/main" id="{838BD8F4-59ED-FAAD-852B-644F448A5A92}"/>
                </a:ext>
              </a:extLst>
            </p:cNvPr>
            <p:cNvSpPr/>
            <p:nvPr/>
          </p:nvSpPr>
          <p:spPr>
            <a:xfrm>
              <a:off x="7848601" y="3026947"/>
              <a:ext cx="3514724" cy="153888"/>
            </a:xfrm>
            <a:prstGeom prst="rect">
              <a:avLst/>
            </a:prstGeom>
            <a:noFill/>
            <a:ln>
              <a:noFill/>
            </a:ln>
          </p:spPr>
          <p:style>
            <a:lnRef idx="0">
              <a:scrgbClr r="0" g="0" b="0"/>
            </a:lnRef>
            <a:fillRef idx="0">
              <a:scrgbClr r="0" g="0" b="0"/>
            </a:fillRef>
            <a:effectRef idx="0">
              <a:scrgbClr r="0" g="0" b="0"/>
            </a:effectRef>
            <a:fontRef idx="minor">
              <a:schemeClr val="lt1"/>
            </a:fontRef>
          </p:style>
          <p:txBody>
            <a:bodyPr wrap="square" lIns="0" tIns="0" rIns="0" bIns="0" rtlCol="0" anchor="t">
              <a:spAutoFit/>
            </a:bodyPr>
            <a:lstStyle/>
            <a:p>
              <a:r>
                <a:rPr lang="en-US" sz="1000">
                  <a:solidFill>
                    <a:schemeClr val="tx1"/>
                  </a:solidFill>
                  <a:cs typeface="Calibri"/>
                </a:rPr>
                <a:t>Extensive</a:t>
              </a:r>
            </a:p>
          </p:txBody>
        </p:sp>
      </p:grpSp>
      <p:cxnSp>
        <p:nvCxnSpPr>
          <p:cNvPr id="130" name="Straight Connector 129">
            <a:extLst>
              <a:ext uri="{FF2B5EF4-FFF2-40B4-BE49-F238E27FC236}">
                <a16:creationId xmlns:a16="http://schemas.microsoft.com/office/drawing/2014/main" id="{2800B013-D239-15DA-D239-C1627648F044}"/>
              </a:ext>
            </a:extLst>
          </p:cNvPr>
          <p:cNvCxnSpPr/>
          <p:nvPr/>
        </p:nvCxnSpPr>
        <p:spPr>
          <a:xfrm>
            <a:off x="6116950" y="3424901"/>
            <a:ext cx="5220181" cy="0"/>
          </a:xfrm>
          <a:prstGeom prst="line">
            <a:avLst/>
          </a:prstGeom>
          <a:ln w="63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0144C9BD-4982-814B-D90C-8B36970D5546}"/>
              </a:ext>
            </a:extLst>
          </p:cNvPr>
          <p:cNvCxnSpPr/>
          <p:nvPr/>
        </p:nvCxnSpPr>
        <p:spPr>
          <a:xfrm>
            <a:off x="6116950" y="3663650"/>
            <a:ext cx="5220181" cy="0"/>
          </a:xfrm>
          <a:prstGeom prst="line">
            <a:avLst/>
          </a:prstGeom>
          <a:ln w="63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C5CA003A-E27B-6DF1-2F6D-462D0818E6A6}"/>
              </a:ext>
            </a:extLst>
          </p:cNvPr>
          <p:cNvCxnSpPr/>
          <p:nvPr/>
        </p:nvCxnSpPr>
        <p:spPr>
          <a:xfrm>
            <a:off x="6116950" y="3902399"/>
            <a:ext cx="5220181" cy="0"/>
          </a:xfrm>
          <a:prstGeom prst="line">
            <a:avLst/>
          </a:prstGeom>
          <a:ln w="63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BBB260BA-9798-5B0C-FAF6-60906E7A6AA9}"/>
              </a:ext>
            </a:extLst>
          </p:cNvPr>
          <p:cNvCxnSpPr/>
          <p:nvPr/>
        </p:nvCxnSpPr>
        <p:spPr>
          <a:xfrm>
            <a:off x="6116950" y="4141148"/>
            <a:ext cx="5220181" cy="0"/>
          </a:xfrm>
          <a:prstGeom prst="line">
            <a:avLst/>
          </a:prstGeom>
          <a:ln w="63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C0398EC5-8E4D-65CB-B046-33EF6470F971}"/>
              </a:ext>
            </a:extLst>
          </p:cNvPr>
          <p:cNvCxnSpPr/>
          <p:nvPr/>
        </p:nvCxnSpPr>
        <p:spPr>
          <a:xfrm>
            <a:off x="6116950" y="4379897"/>
            <a:ext cx="5220181" cy="0"/>
          </a:xfrm>
          <a:prstGeom prst="line">
            <a:avLst/>
          </a:prstGeom>
          <a:ln w="63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7D17E4BB-EDBD-7747-F2D1-907202959CCF}"/>
              </a:ext>
            </a:extLst>
          </p:cNvPr>
          <p:cNvCxnSpPr/>
          <p:nvPr/>
        </p:nvCxnSpPr>
        <p:spPr>
          <a:xfrm>
            <a:off x="6116950" y="4741756"/>
            <a:ext cx="5220181" cy="0"/>
          </a:xfrm>
          <a:prstGeom prst="line">
            <a:avLst/>
          </a:prstGeom>
          <a:ln w="63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163" name="Group 162">
            <a:extLst>
              <a:ext uri="{FF2B5EF4-FFF2-40B4-BE49-F238E27FC236}">
                <a16:creationId xmlns:a16="http://schemas.microsoft.com/office/drawing/2014/main" id="{B8BCDD13-B500-A48F-18C5-6D8B03C39AC2}"/>
              </a:ext>
            </a:extLst>
          </p:cNvPr>
          <p:cNvGrpSpPr/>
          <p:nvPr/>
        </p:nvGrpSpPr>
        <p:grpSpPr>
          <a:xfrm>
            <a:off x="6116950" y="3213194"/>
            <a:ext cx="5220181" cy="153888"/>
            <a:chOff x="6116950" y="3346544"/>
            <a:chExt cx="5220181" cy="153888"/>
          </a:xfrm>
        </p:grpSpPr>
        <p:sp>
          <p:nvSpPr>
            <p:cNvPr id="137" name="Rectangle 136">
              <a:extLst>
                <a:ext uri="{FF2B5EF4-FFF2-40B4-BE49-F238E27FC236}">
                  <a16:creationId xmlns:a16="http://schemas.microsoft.com/office/drawing/2014/main" id="{47F1F2BA-5900-7FEA-2B93-1E97C93B3D90}"/>
                </a:ext>
              </a:extLst>
            </p:cNvPr>
            <p:cNvSpPr/>
            <p:nvPr/>
          </p:nvSpPr>
          <p:spPr>
            <a:xfrm>
              <a:off x="6116950" y="3346544"/>
              <a:ext cx="1639360" cy="153888"/>
            </a:xfrm>
            <a:prstGeom prst="rect">
              <a:avLst/>
            </a:prstGeom>
            <a:noFill/>
            <a:ln>
              <a:noFill/>
            </a:ln>
          </p:spPr>
          <p:style>
            <a:lnRef idx="0">
              <a:scrgbClr r="0" g="0" b="0"/>
            </a:lnRef>
            <a:fillRef idx="0">
              <a:scrgbClr r="0" g="0" b="0"/>
            </a:fillRef>
            <a:effectRef idx="0">
              <a:scrgbClr r="0" g="0" b="0"/>
            </a:effectRef>
            <a:fontRef idx="minor">
              <a:schemeClr val="lt1"/>
            </a:fontRef>
          </p:style>
          <p:txBody>
            <a:bodyPr wrap="square" lIns="0" tIns="0" rIns="0" bIns="0" rtlCol="0" anchor="t">
              <a:spAutoFit/>
            </a:bodyPr>
            <a:lstStyle/>
            <a:p>
              <a:pPr algn="r"/>
              <a:r>
                <a:rPr lang="en-US" sz="1000" b="1">
                  <a:solidFill>
                    <a:schemeClr val="tx1"/>
                  </a:solidFill>
                  <a:cs typeface="Calibri"/>
                </a:rPr>
                <a:t>Tool</a:t>
              </a:r>
              <a:endParaRPr lang="en-US" sz="1000">
                <a:solidFill>
                  <a:schemeClr val="tx1"/>
                </a:solidFill>
                <a:cs typeface="Calibri"/>
              </a:endParaRPr>
            </a:p>
          </p:txBody>
        </p:sp>
        <p:sp>
          <p:nvSpPr>
            <p:cNvPr id="138" name="Rectangle 137">
              <a:extLst>
                <a:ext uri="{FF2B5EF4-FFF2-40B4-BE49-F238E27FC236}">
                  <a16:creationId xmlns:a16="http://schemas.microsoft.com/office/drawing/2014/main" id="{7DB6E738-26EF-6958-272F-D1BF8E3AB72D}"/>
                </a:ext>
              </a:extLst>
            </p:cNvPr>
            <p:cNvSpPr/>
            <p:nvPr/>
          </p:nvSpPr>
          <p:spPr>
            <a:xfrm>
              <a:off x="7822407" y="3346544"/>
              <a:ext cx="3514724" cy="153888"/>
            </a:xfrm>
            <a:prstGeom prst="rect">
              <a:avLst/>
            </a:prstGeom>
            <a:noFill/>
            <a:ln>
              <a:noFill/>
            </a:ln>
          </p:spPr>
          <p:style>
            <a:lnRef idx="0">
              <a:scrgbClr r="0" g="0" b="0"/>
            </a:lnRef>
            <a:fillRef idx="0">
              <a:scrgbClr r="0" g="0" b="0"/>
            </a:fillRef>
            <a:effectRef idx="0">
              <a:scrgbClr r="0" g="0" b="0"/>
            </a:effectRef>
            <a:fontRef idx="minor">
              <a:schemeClr val="lt1"/>
            </a:fontRef>
          </p:style>
          <p:txBody>
            <a:bodyPr wrap="square" lIns="0" tIns="0" rIns="0" bIns="0" rtlCol="0" anchor="t">
              <a:spAutoFit/>
            </a:bodyPr>
            <a:lstStyle/>
            <a:p>
              <a:r>
                <a:rPr lang="en-US" sz="1000">
                  <a:solidFill>
                    <a:schemeClr val="tx1"/>
                  </a:solidFill>
                  <a:cs typeface="Calibri"/>
                </a:rPr>
                <a:t>Response Formatting</a:t>
              </a:r>
            </a:p>
          </p:txBody>
        </p:sp>
      </p:grpSp>
      <p:grpSp>
        <p:nvGrpSpPr>
          <p:cNvPr id="162" name="Group 161">
            <a:extLst>
              <a:ext uri="{FF2B5EF4-FFF2-40B4-BE49-F238E27FC236}">
                <a16:creationId xmlns:a16="http://schemas.microsoft.com/office/drawing/2014/main" id="{AA2E9175-5B82-CADB-D03B-881F95EF4ED4}"/>
              </a:ext>
            </a:extLst>
          </p:cNvPr>
          <p:cNvGrpSpPr/>
          <p:nvPr/>
        </p:nvGrpSpPr>
        <p:grpSpPr>
          <a:xfrm>
            <a:off x="6116950" y="3482720"/>
            <a:ext cx="5220181" cy="123111"/>
            <a:chOff x="6116950" y="3582366"/>
            <a:chExt cx="5220181" cy="123111"/>
          </a:xfrm>
        </p:grpSpPr>
        <p:sp>
          <p:nvSpPr>
            <p:cNvPr id="140" name="Rectangle 139">
              <a:extLst>
                <a:ext uri="{FF2B5EF4-FFF2-40B4-BE49-F238E27FC236}">
                  <a16:creationId xmlns:a16="http://schemas.microsoft.com/office/drawing/2014/main" id="{3CE3A0A2-6542-14C6-DD22-535BE2C413AE}"/>
                </a:ext>
              </a:extLst>
            </p:cNvPr>
            <p:cNvSpPr/>
            <p:nvPr/>
          </p:nvSpPr>
          <p:spPr>
            <a:xfrm>
              <a:off x="6116950" y="3582366"/>
              <a:ext cx="1639360" cy="153888"/>
            </a:xfrm>
            <a:prstGeom prst="rect">
              <a:avLst/>
            </a:prstGeom>
            <a:noFill/>
            <a:ln>
              <a:noFill/>
            </a:ln>
          </p:spPr>
          <p:style>
            <a:lnRef idx="0">
              <a:scrgbClr r="0" g="0" b="0"/>
            </a:lnRef>
            <a:fillRef idx="0">
              <a:scrgbClr r="0" g="0" b="0"/>
            </a:fillRef>
            <a:effectRef idx="0">
              <a:scrgbClr r="0" g="0" b="0"/>
            </a:effectRef>
            <a:fontRef idx="minor">
              <a:schemeClr val="lt1"/>
            </a:fontRef>
          </p:style>
          <p:txBody>
            <a:bodyPr wrap="square" lIns="0" tIns="0" rIns="0" bIns="0" rtlCol="0" anchor="t">
              <a:spAutoFit/>
            </a:bodyPr>
            <a:lstStyle/>
            <a:p>
              <a:pPr algn="r"/>
              <a:r>
                <a:rPr lang="en-US" sz="1000" b="1">
                  <a:solidFill>
                    <a:schemeClr val="tx1"/>
                  </a:solidFill>
                  <a:cs typeface="Calibri"/>
                </a:rPr>
                <a:t>Response</a:t>
              </a:r>
            </a:p>
          </p:txBody>
        </p:sp>
        <p:sp>
          <p:nvSpPr>
            <p:cNvPr id="141" name="Rectangle 140">
              <a:extLst>
                <a:ext uri="{FF2B5EF4-FFF2-40B4-BE49-F238E27FC236}">
                  <a16:creationId xmlns:a16="http://schemas.microsoft.com/office/drawing/2014/main" id="{21CD081C-D039-FE8D-14ED-1B4A51B8CD07}"/>
                </a:ext>
              </a:extLst>
            </p:cNvPr>
            <p:cNvSpPr/>
            <p:nvPr/>
          </p:nvSpPr>
          <p:spPr>
            <a:xfrm>
              <a:off x="7822407" y="3582366"/>
              <a:ext cx="3514724" cy="153888"/>
            </a:xfrm>
            <a:prstGeom prst="rect">
              <a:avLst/>
            </a:prstGeom>
            <a:noFill/>
            <a:ln>
              <a:noFill/>
            </a:ln>
          </p:spPr>
          <p:style>
            <a:lnRef idx="0">
              <a:scrgbClr r="0" g="0" b="0"/>
            </a:lnRef>
            <a:fillRef idx="0">
              <a:scrgbClr r="0" g="0" b="0"/>
            </a:fillRef>
            <a:effectRef idx="0">
              <a:scrgbClr r="0" g="0" b="0"/>
            </a:effectRef>
            <a:fontRef idx="minor">
              <a:schemeClr val="lt1"/>
            </a:fontRef>
          </p:style>
          <p:txBody>
            <a:bodyPr wrap="square" lIns="0" tIns="0" rIns="0" bIns="0" rtlCol="0" anchor="t">
              <a:spAutoFit/>
            </a:bodyPr>
            <a:lstStyle/>
            <a:p>
              <a:r>
                <a:rPr lang="en-US" sz="1000">
                  <a:solidFill>
                    <a:schemeClr val="tx1"/>
                  </a:solidFill>
                  <a:cs typeface="Calibri"/>
                </a:rPr>
                <a:t>Response from the Question answering agent</a:t>
              </a:r>
            </a:p>
          </p:txBody>
        </p:sp>
      </p:grpSp>
      <p:grpSp>
        <p:nvGrpSpPr>
          <p:cNvPr id="161" name="Group 160">
            <a:extLst>
              <a:ext uri="{FF2B5EF4-FFF2-40B4-BE49-F238E27FC236}">
                <a16:creationId xmlns:a16="http://schemas.microsoft.com/office/drawing/2014/main" id="{FC96F84B-2367-05ED-989C-D80FFACE6E3B}"/>
              </a:ext>
            </a:extLst>
          </p:cNvPr>
          <p:cNvGrpSpPr/>
          <p:nvPr/>
        </p:nvGrpSpPr>
        <p:grpSpPr>
          <a:xfrm>
            <a:off x="6116950" y="3721469"/>
            <a:ext cx="5220181" cy="153888"/>
            <a:chOff x="6116950" y="3818188"/>
            <a:chExt cx="5220181" cy="153888"/>
          </a:xfrm>
        </p:grpSpPr>
        <p:sp>
          <p:nvSpPr>
            <p:cNvPr id="143" name="Rectangle 142">
              <a:extLst>
                <a:ext uri="{FF2B5EF4-FFF2-40B4-BE49-F238E27FC236}">
                  <a16:creationId xmlns:a16="http://schemas.microsoft.com/office/drawing/2014/main" id="{7739DE66-4489-94B9-7E40-96BF68C54CDE}"/>
                </a:ext>
              </a:extLst>
            </p:cNvPr>
            <p:cNvSpPr/>
            <p:nvPr/>
          </p:nvSpPr>
          <p:spPr>
            <a:xfrm>
              <a:off x="6116950" y="3818188"/>
              <a:ext cx="1639360" cy="153888"/>
            </a:xfrm>
            <a:prstGeom prst="rect">
              <a:avLst/>
            </a:prstGeom>
            <a:noFill/>
            <a:ln>
              <a:noFill/>
            </a:ln>
          </p:spPr>
          <p:style>
            <a:lnRef idx="0">
              <a:scrgbClr r="0" g="0" b="0"/>
            </a:lnRef>
            <a:fillRef idx="0">
              <a:scrgbClr r="0" g="0" b="0"/>
            </a:fillRef>
            <a:effectRef idx="0">
              <a:scrgbClr r="0" g="0" b="0"/>
            </a:effectRef>
            <a:fontRef idx="minor">
              <a:schemeClr val="lt1"/>
            </a:fontRef>
          </p:style>
          <p:txBody>
            <a:bodyPr wrap="square" lIns="0" tIns="0" rIns="0" bIns="0" rtlCol="0" anchor="t">
              <a:spAutoFit/>
            </a:bodyPr>
            <a:lstStyle/>
            <a:p>
              <a:pPr algn="r"/>
              <a:r>
                <a:rPr lang="en-US" sz="1000" b="1">
                  <a:solidFill>
                    <a:schemeClr val="tx1"/>
                  </a:solidFill>
                  <a:cs typeface="Calibri"/>
                </a:rPr>
                <a:t>Target Format</a:t>
              </a:r>
            </a:p>
          </p:txBody>
        </p:sp>
        <p:sp>
          <p:nvSpPr>
            <p:cNvPr id="144" name="Rectangle 143">
              <a:extLst>
                <a:ext uri="{FF2B5EF4-FFF2-40B4-BE49-F238E27FC236}">
                  <a16:creationId xmlns:a16="http://schemas.microsoft.com/office/drawing/2014/main" id="{31EBF27D-799E-E91C-985B-8A7F25C774EE}"/>
                </a:ext>
              </a:extLst>
            </p:cNvPr>
            <p:cNvSpPr/>
            <p:nvPr/>
          </p:nvSpPr>
          <p:spPr>
            <a:xfrm>
              <a:off x="7822407" y="3818188"/>
              <a:ext cx="3514724" cy="153888"/>
            </a:xfrm>
            <a:prstGeom prst="rect">
              <a:avLst/>
            </a:prstGeom>
            <a:noFill/>
            <a:ln>
              <a:noFill/>
            </a:ln>
          </p:spPr>
          <p:style>
            <a:lnRef idx="0">
              <a:scrgbClr r="0" g="0" b="0"/>
            </a:lnRef>
            <a:fillRef idx="0">
              <a:scrgbClr r="0" g="0" b="0"/>
            </a:fillRef>
            <a:effectRef idx="0">
              <a:scrgbClr r="0" g="0" b="0"/>
            </a:effectRef>
            <a:fontRef idx="minor">
              <a:schemeClr val="lt1"/>
            </a:fontRef>
          </p:style>
          <p:txBody>
            <a:bodyPr wrap="square" lIns="0" tIns="0" rIns="0" bIns="0" rtlCol="0" anchor="t">
              <a:spAutoFit/>
            </a:bodyPr>
            <a:lstStyle/>
            <a:p>
              <a:r>
                <a:rPr lang="en-US" sz="1000">
                  <a:solidFill>
                    <a:schemeClr val="tx1"/>
                  </a:solidFill>
                  <a:cs typeface="Calibri"/>
                </a:rPr>
                <a:t>Bullets</a:t>
              </a:r>
            </a:p>
          </p:txBody>
        </p:sp>
      </p:grpSp>
      <p:grpSp>
        <p:nvGrpSpPr>
          <p:cNvPr id="160" name="Group 159">
            <a:extLst>
              <a:ext uri="{FF2B5EF4-FFF2-40B4-BE49-F238E27FC236}">
                <a16:creationId xmlns:a16="http://schemas.microsoft.com/office/drawing/2014/main" id="{839A6BD3-B577-51B4-46EB-4E0B1A52E457}"/>
              </a:ext>
            </a:extLst>
          </p:cNvPr>
          <p:cNvGrpSpPr/>
          <p:nvPr/>
        </p:nvGrpSpPr>
        <p:grpSpPr>
          <a:xfrm>
            <a:off x="6116950" y="3960218"/>
            <a:ext cx="5220181" cy="123111"/>
            <a:chOff x="6116950" y="4054010"/>
            <a:chExt cx="5220181" cy="123111"/>
          </a:xfrm>
        </p:grpSpPr>
        <p:sp>
          <p:nvSpPr>
            <p:cNvPr id="146" name="Rectangle 145">
              <a:extLst>
                <a:ext uri="{FF2B5EF4-FFF2-40B4-BE49-F238E27FC236}">
                  <a16:creationId xmlns:a16="http://schemas.microsoft.com/office/drawing/2014/main" id="{3D7AAB01-D062-66FA-7E1F-085C5A2E1D3B}"/>
                </a:ext>
              </a:extLst>
            </p:cNvPr>
            <p:cNvSpPr/>
            <p:nvPr/>
          </p:nvSpPr>
          <p:spPr>
            <a:xfrm>
              <a:off x="6116950" y="4054010"/>
              <a:ext cx="1639360" cy="153888"/>
            </a:xfrm>
            <a:prstGeom prst="rect">
              <a:avLst/>
            </a:prstGeom>
            <a:noFill/>
            <a:ln>
              <a:noFill/>
            </a:ln>
          </p:spPr>
          <p:style>
            <a:lnRef idx="0">
              <a:scrgbClr r="0" g="0" b="0"/>
            </a:lnRef>
            <a:fillRef idx="0">
              <a:scrgbClr r="0" g="0" b="0"/>
            </a:fillRef>
            <a:effectRef idx="0">
              <a:scrgbClr r="0" g="0" b="0"/>
            </a:effectRef>
            <a:fontRef idx="minor">
              <a:schemeClr val="lt1"/>
            </a:fontRef>
          </p:style>
          <p:txBody>
            <a:bodyPr wrap="square" lIns="0" tIns="0" rIns="0" bIns="0" rtlCol="0" anchor="t">
              <a:spAutoFit/>
            </a:bodyPr>
            <a:lstStyle/>
            <a:p>
              <a:pPr algn="r"/>
              <a:r>
                <a:rPr lang="en-US" sz="1000" b="1">
                  <a:solidFill>
                    <a:schemeClr val="tx1"/>
                  </a:solidFill>
                  <a:cs typeface="Calibri"/>
                </a:rPr>
                <a:t>Audience</a:t>
              </a:r>
            </a:p>
          </p:txBody>
        </p:sp>
        <p:sp>
          <p:nvSpPr>
            <p:cNvPr id="147" name="Rectangle 146">
              <a:extLst>
                <a:ext uri="{FF2B5EF4-FFF2-40B4-BE49-F238E27FC236}">
                  <a16:creationId xmlns:a16="http://schemas.microsoft.com/office/drawing/2014/main" id="{E67E3758-5BD7-051E-0563-46F3E4A19D52}"/>
                </a:ext>
              </a:extLst>
            </p:cNvPr>
            <p:cNvSpPr/>
            <p:nvPr/>
          </p:nvSpPr>
          <p:spPr>
            <a:xfrm>
              <a:off x="7822407" y="4054010"/>
              <a:ext cx="3514724" cy="153888"/>
            </a:xfrm>
            <a:prstGeom prst="rect">
              <a:avLst/>
            </a:prstGeom>
            <a:noFill/>
            <a:ln>
              <a:noFill/>
            </a:ln>
          </p:spPr>
          <p:style>
            <a:lnRef idx="0">
              <a:scrgbClr r="0" g="0" b="0"/>
            </a:lnRef>
            <a:fillRef idx="0">
              <a:scrgbClr r="0" g="0" b="0"/>
            </a:fillRef>
            <a:effectRef idx="0">
              <a:scrgbClr r="0" g="0" b="0"/>
            </a:effectRef>
            <a:fontRef idx="minor">
              <a:schemeClr val="lt1"/>
            </a:fontRef>
          </p:style>
          <p:txBody>
            <a:bodyPr wrap="square" lIns="0" tIns="0" rIns="0" bIns="0" rtlCol="0" anchor="t">
              <a:spAutoFit/>
            </a:bodyPr>
            <a:lstStyle/>
            <a:p>
              <a:r>
                <a:rPr lang="en-US" sz="1000">
                  <a:solidFill>
                    <a:schemeClr val="tx1"/>
                  </a:solidFill>
                  <a:cs typeface="Calibri"/>
                </a:rPr>
                <a:t>Medical Affairs Team</a:t>
              </a:r>
            </a:p>
          </p:txBody>
        </p:sp>
      </p:grpSp>
      <p:grpSp>
        <p:nvGrpSpPr>
          <p:cNvPr id="159" name="Group 158">
            <a:extLst>
              <a:ext uri="{FF2B5EF4-FFF2-40B4-BE49-F238E27FC236}">
                <a16:creationId xmlns:a16="http://schemas.microsoft.com/office/drawing/2014/main" id="{58BCE9B3-4187-57FC-E73C-52257730FE9B}"/>
              </a:ext>
            </a:extLst>
          </p:cNvPr>
          <p:cNvGrpSpPr/>
          <p:nvPr/>
        </p:nvGrpSpPr>
        <p:grpSpPr>
          <a:xfrm>
            <a:off x="6116950" y="4198967"/>
            <a:ext cx="5220181" cy="123111"/>
            <a:chOff x="6116950" y="4289832"/>
            <a:chExt cx="5220181" cy="123111"/>
          </a:xfrm>
        </p:grpSpPr>
        <p:sp>
          <p:nvSpPr>
            <p:cNvPr id="149" name="Rectangle 148">
              <a:extLst>
                <a:ext uri="{FF2B5EF4-FFF2-40B4-BE49-F238E27FC236}">
                  <a16:creationId xmlns:a16="http://schemas.microsoft.com/office/drawing/2014/main" id="{F2C172BE-DD00-453B-55BF-9FD1AB7E828D}"/>
                </a:ext>
              </a:extLst>
            </p:cNvPr>
            <p:cNvSpPr/>
            <p:nvPr/>
          </p:nvSpPr>
          <p:spPr>
            <a:xfrm>
              <a:off x="6116950" y="4289832"/>
              <a:ext cx="1639360" cy="153888"/>
            </a:xfrm>
            <a:prstGeom prst="rect">
              <a:avLst/>
            </a:prstGeom>
            <a:noFill/>
            <a:ln>
              <a:noFill/>
            </a:ln>
          </p:spPr>
          <p:style>
            <a:lnRef idx="0">
              <a:scrgbClr r="0" g="0" b="0"/>
            </a:lnRef>
            <a:fillRef idx="0">
              <a:scrgbClr r="0" g="0" b="0"/>
            </a:fillRef>
            <a:effectRef idx="0">
              <a:scrgbClr r="0" g="0" b="0"/>
            </a:effectRef>
            <a:fontRef idx="minor">
              <a:schemeClr val="lt1"/>
            </a:fontRef>
          </p:style>
          <p:txBody>
            <a:bodyPr wrap="square" lIns="0" tIns="0" rIns="0" bIns="0" rtlCol="0" anchor="t">
              <a:spAutoFit/>
            </a:bodyPr>
            <a:lstStyle/>
            <a:p>
              <a:pPr algn="r"/>
              <a:r>
                <a:rPr lang="en-US" sz="1000" b="1">
                  <a:solidFill>
                    <a:schemeClr val="tx1"/>
                  </a:solidFill>
                  <a:cs typeface="Calibri"/>
                </a:rPr>
                <a:t>Purpose</a:t>
              </a:r>
            </a:p>
          </p:txBody>
        </p:sp>
        <p:sp>
          <p:nvSpPr>
            <p:cNvPr id="150" name="Rectangle 149">
              <a:extLst>
                <a:ext uri="{FF2B5EF4-FFF2-40B4-BE49-F238E27FC236}">
                  <a16:creationId xmlns:a16="http://schemas.microsoft.com/office/drawing/2014/main" id="{4162E480-3074-6978-8F3B-4C656B5EC2D6}"/>
                </a:ext>
              </a:extLst>
            </p:cNvPr>
            <p:cNvSpPr/>
            <p:nvPr/>
          </p:nvSpPr>
          <p:spPr>
            <a:xfrm>
              <a:off x="7822407" y="4289832"/>
              <a:ext cx="3514724" cy="153888"/>
            </a:xfrm>
            <a:prstGeom prst="rect">
              <a:avLst/>
            </a:prstGeom>
            <a:noFill/>
            <a:ln>
              <a:noFill/>
            </a:ln>
          </p:spPr>
          <p:style>
            <a:lnRef idx="0">
              <a:scrgbClr r="0" g="0" b="0"/>
            </a:lnRef>
            <a:fillRef idx="0">
              <a:scrgbClr r="0" g="0" b="0"/>
            </a:fillRef>
            <a:effectRef idx="0">
              <a:scrgbClr r="0" g="0" b="0"/>
            </a:effectRef>
            <a:fontRef idx="minor">
              <a:schemeClr val="lt1"/>
            </a:fontRef>
          </p:style>
          <p:txBody>
            <a:bodyPr wrap="square" lIns="0" tIns="0" rIns="0" bIns="0" rtlCol="0" anchor="t">
              <a:spAutoFit/>
            </a:bodyPr>
            <a:lstStyle/>
            <a:p>
              <a:r>
                <a:rPr lang="en-US" sz="1000">
                  <a:solidFill>
                    <a:schemeClr val="tx1"/>
                  </a:solidFill>
                  <a:cs typeface="Calibri"/>
                </a:rPr>
                <a:t>detailed report</a:t>
              </a:r>
            </a:p>
          </p:txBody>
        </p:sp>
      </p:grpSp>
      <p:grpSp>
        <p:nvGrpSpPr>
          <p:cNvPr id="158" name="Group 157">
            <a:extLst>
              <a:ext uri="{FF2B5EF4-FFF2-40B4-BE49-F238E27FC236}">
                <a16:creationId xmlns:a16="http://schemas.microsoft.com/office/drawing/2014/main" id="{68D14105-307C-600C-ED71-F7CAA8AB71CC}"/>
              </a:ext>
            </a:extLst>
          </p:cNvPr>
          <p:cNvGrpSpPr/>
          <p:nvPr/>
        </p:nvGrpSpPr>
        <p:grpSpPr>
          <a:xfrm>
            <a:off x="6116950" y="4437716"/>
            <a:ext cx="5220181" cy="246221"/>
            <a:chOff x="6116950" y="4525654"/>
            <a:chExt cx="5220181" cy="246221"/>
          </a:xfrm>
        </p:grpSpPr>
        <p:sp>
          <p:nvSpPr>
            <p:cNvPr id="152" name="Rectangle 151">
              <a:extLst>
                <a:ext uri="{FF2B5EF4-FFF2-40B4-BE49-F238E27FC236}">
                  <a16:creationId xmlns:a16="http://schemas.microsoft.com/office/drawing/2014/main" id="{0345BE9C-F80D-9896-765D-0374B60BB7AE}"/>
                </a:ext>
              </a:extLst>
            </p:cNvPr>
            <p:cNvSpPr/>
            <p:nvPr/>
          </p:nvSpPr>
          <p:spPr>
            <a:xfrm>
              <a:off x="6116950" y="4525654"/>
              <a:ext cx="1639360" cy="153888"/>
            </a:xfrm>
            <a:prstGeom prst="rect">
              <a:avLst/>
            </a:prstGeom>
            <a:noFill/>
            <a:ln>
              <a:noFill/>
            </a:ln>
          </p:spPr>
          <p:style>
            <a:lnRef idx="0">
              <a:scrgbClr r="0" g="0" b="0"/>
            </a:lnRef>
            <a:fillRef idx="0">
              <a:scrgbClr r="0" g="0" b="0"/>
            </a:fillRef>
            <a:effectRef idx="0">
              <a:scrgbClr r="0" g="0" b="0"/>
            </a:effectRef>
            <a:fontRef idx="minor">
              <a:schemeClr val="lt1"/>
            </a:fontRef>
          </p:style>
          <p:txBody>
            <a:bodyPr wrap="square" lIns="0" tIns="0" rIns="0" bIns="0" rtlCol="0" anchor="t">
              <a:spAutoFit/>
            </a:bodyPr>
            <a:lstStyle/>
            <a:p>
              <a:pPr algn="r"/>
              <a:r>
                <a:rPr lang="en-US" sz="1000" b="1">
                  <a:solidFill>
                    <a:schemeClr val="tx1"/>
                  </a:solidFill>
                  <a:cs typeface="Calibri"/>
                </a:rPr>
                <a:t>Additional Context</a:t>
              </a:r>
              <a:endParaRPr lang="en-US" sz="1000">
                <a:solidFill>
                  <a:schemeClr val="tx1"/>
                </a:solidFill>
                <a:cs typeface="Calibri"/>
              </a:endParaRPr>
            </a:p>
          </p:txBody>
        </p:sp>
        <p:sp>
          <p:nvSpPr>
            <p:cNvPr id="153" name="Rectangle 152">
              <a:extLst>
                <a:ext uri="{FF2B5EF4-FFF2-40B4-BE49-F238E27FC236}">
                  <a16:creationId xmlns:a16="http://schemas.microsoft.com/office/drawing/2014/main" id="{E3785B29-95A9-1F13-05A8-9618A60A91FB}"/>
                </a:ext>
              </a:extLst>
            </p:cNvPr>
            <p:cNvSpPr/>
            <p:nvPr/>
          </p:nvSpPr>
          <p:spPr>
            <a:xfrm>
              <a:off x="7822407" y="4525654"/>
              <a:ext cx="3514724" cy="307777"/>
            </a:xfrm>
            <a:prstGeom prst="rect">
              <a:avLst/>
            </a:prstGeom>
            <a:noFill/>
            <a:ln>
              <a:noFill/>
            </a:ln>
          </p:spPr>
          <p:style>
            <a:lnRef idx="0">
              <a:scrgbClr r="0" g="0" b="0"/>
            </a:lnRef>
            <a:fillRef idx="0">
              <a:scrgbClr r="0" g="0" b="0"/>
            </a:fillRef>
            <a:effectRef idx="0">
              <a:scrgbClr r="0" g="0" b="0"/>
            </a:effectRef>
            <a:fontRef idx="minor">
              <a:schemeClr val="lt1"/>
            </a:fontRef>
          </p:style>
          <p:txBody>
            <a:bodyPr wrap="square" lIns="0" tIns="0" rIns="0" bIns="0" rtlCol="0" anchor="t">
              <a:spAutoFit/>
            </a:bodyPr>
            <a:lstStyle/>
            <a:p>
              <a:r>
                <a:rPr lang="en-US" sz="1000">
                  <a:solidFill>
                    <a:schemeClr val="tx1"/>
                  </a:solidFill>
                  <a:cs typeface="Calibri"/>
                </a:rPr>
                <a:t>The response is based on the prevalence of Thyroid Eye Disease (TED) and its variation based on location, age, and sex.</a:t>
              </a:r>
            </a:p>
          </p:txBody>
        </p:sp>
      </p:grpSp>
      <p:grpSp>
        <p:nvGrpSpPr>
          <p:cNvPr id="157" name="Group 156">
            <a:extLst>
              <a:ext uri="{FF2B5EF4-FFF2-40B4-BE49-F238E27FC236}">
                <a16:creationId xmlns:a16="http://schemas.microsoft.com/office/drawing/2014/main" id="{CE341CA5-C173-519D-A014-6DFC8D41E2B4}"/>
              </a:ext>
            </a:extLst>
          </p:cNvPr>
          <p:cNvGrpSpPr/>
          <p:nvPr/>
        </p:nvGrpSpPr>
        <p:grpSpPr>
          <a:xfrm>
            <a:off x="6116950" y="4799579"/>
            <a:ext cx="5220181" cy="153888"/>
            <a:chOff x="6116950" y="4761479"/>
            <a:chExt cx="5220181" cy="153888"/>
          </a:xfrm>
        </p:grpSpPr>
        <p:sp>
          <p:nvSpPr>
            <p:cNvPr id="155" name="Rectangle 154">
              <a:extLst>
                <a:ext uri="{FF2B5EF4-FFF2-40B4-BE49-F238E27FC236}">
                  <a16:creationId xmlns:a16="http://schemas.microsoft.com/office/drawing/2014/main" id="{3927C9C1-A9B5-912E-0C3E-FB12E26BB593}"/>
                </a:ext>
              </a:extLst>
            </p:cNvPr>
            <p:cNvSpPr/>
            <p:nvPr/>
          </p:nvSpPr>
          <p:spPr>
            <a:xfrm>
              <a:off x="6116950" y="4761479"/>
              <a:ext cx="1639360" cy="153888"/>
            </a:xfrm>
            <a:prstGeom prst="rect">
              <a:avLst/>
            </a:prstGeom>
            <a:noFill/>
            <a:ln>
              <a:noFill/>
            </a:ln>
          </p:spPr>
          <p:style>
            <a:lnRef idx="0">
              <a:scrgbClr r="0" g="0" b="0"/>
            </a:lnRef>
            <a:fillRef idx="0">
              <a:scrgbClr r="0" g="0" b="0"/>
            </a:fillRef>
            <a:effectRef idx="0">
              <a:scrgbClr r="0" g="0" b="0"/>
            </a:effectRef>
            <a:fontRef idx="minor">
              <a:schemeClr val="lt1"/>
            </a:fontRef>
          </p:style>
          <p:txBody>
            <a:bodyPr wrap="square" lIns="0" tIns="0" rIns="0" bIns="0" rtlCol="0" anchor="t">
              <a:spAutoFit/>
            </a:bodyPr>
            <a:lstStyle/>
            <a:p>
              <a:pPr algn="r"/>
              <a:r>
                <a:rPr lang="en-US" sz="1000" b="1">
                  <a:solidFill>
                    <a:schemeClr val="tx1"/>
                  </a:solidFill>
                  <a:cs typeface="Calibri"/>
                </a:rPr>
                <a:t>Comprehensiveness Level</a:t>
              </a:r>
              <a:endParaRPr lang="en-US" sz="1000">
                <a:solidFill>
                  <a:schemeClr val="tx1"/>
                </a:solidFill>
                <a:cs typeface="Calibri"/>
              </a:endParaRPr>
            </a:p>
          </p:txBody>
        </p:sp>
        <p:sp>
          <p:nvSpPr>
            <p:cNvPr id="156" name="Rectangle 155">
              <a:extLst>
                <a:ext uri="{FF2B5EF4-FFF2-40B4-BE49-F238E27FC236}">
                  <a16:creationId xmlns:a16="http://schemas.microsoft.com/office/drawing/2014/main" id="{E6756223-0EFA-4214-4D75-B605F210964D}"/>
                </a:ext>
              </a:extLst>
            </p:cNvPr>
            <p:cNvSpPr/>
            <p:nvPr/>
          </p:nvSpPr>
          <p:spPr>
            <a:xfrm>
              <a:off x="7822407" y="4761479"/>
              <a:ext cx="3514724" cy="153888"/>
            </a:xfrm>
            <a:prstGeom prst="rect">
              <a:avLst/>
            </a:prstGeom>
            <a:noFill/>
            <a:ln>
              <a:noFill/>
            </a:ln>
          </p:spPr>
          <p:style>
            <a:lnRef idx="0">
              <a:scrgbClr r="0" g="0" b="0"/>
            </a:lnRef>
            <a:fillRef idx="0">
              <a:scrgbClr r="0" g="0" b="0"/>
            </a:fillRef>
            <a:effectRef idx="0">
              <a:scrgbClr r="0" g="0" b="0"/>
            </a:effectRef>
            <a:fontRef idx="minor">
              <a:schemeClr val="lt1"/>
            </a:fontRef>
          </p:style>
          <p:txBody>
            <a:bodyPr wrap="square" lIns="0" tIns="0" rIns="0" bIns="0" rtlCol="0" anchor="t">
              <a:spAutoFit/>
            </a:bodyPr>
            <a:lstStyle/>
            <a:p>
              <a:r>
                <a:rPr lang="en-US" sz="1000">
                  <a:solidFill>
                    <a:schemeClr val="tx1"/>
                  </a:solidFill>
                  <a:cs typeface="Calibri"/>
                </a:rPr>
                <a:t>Extensive</a:t>
              </a:r>
            </a:p>
          </p:txBody>
        </p:sp>
      </p:grpSp>
      <p:cxnSp>
        <p:nvCxnSpPr>
          <p:cNvPr id="164" name="Straight Connector 163">
            <a:extLst>
              <a:ext uri="{FF2B5EF4-FFF2-40B4-BE49-F238E27FC236}">
                <a16:creationId xmlns:a16="http://schemas.microsoft.com/office/drawing/2014/main" id="{8B011A1E-E521-D131-D8C9-B4DE2CB8A939}"/>
              </a:ext>
            </a:extLst>
          </p:cNvPr>
          <p:cNvCxnSpPr/>
          <p:nvPr/>
        </p:nvCxnSpPr>
        <p:spPr>
          <a:xfrm>
            <a:off x="6116950" y="3098033"/>
            <a:ext cx="5220181" cy="0"/>
          </a:xfrm>
          <a:prstGeom prst="line">
            <a:avLst/>
          </a:prstGeom>
          <a:ln w="28575">
            <a:solidFill>
              <a:srgbClr val="170A0B"/>
            </a:solidFill>
          </a:ln>
        </p:spPr>
        <p:style>
          <a:lnRef idx="1">
            <a:schemeClr val="accent1"/>
          </a:lnRef>
          <a:fillRef idx="0">
            <a:schemeClr val="accent1"/>
          </a:fillRef>
          <a:effectRef idx="0">
            <a:schemeClr val="accent1"/>
          </a:effectRef>
          <a:fontRef idx="minor">
            <a:schemeClr val="tx1"/>
          </a:fontRef>
        </p:style>
      </p:cxnSp>
      <p:sp>
        <p:nvSpPr>
          <p:cNvPr id="165" name="Rectangle: Rounded Corners 164">
            <a:extLst>
              <a:ext uri="{FF2B5EF4-FFF2-40B4-BE49-F238E27FC236}">
                <a16:creationId xmlns:a16="http://schemas.microsoft.com/office/drawing/2014/main" id="{BA23299B-6AA3-3D1F-60BE-38141AF712CE}"/>
              </a:ext>
            </a:extLst>
          </p:cNvPr>
          <p:cNvSpPr/>
          <p:nvPr/>
        </p:nvSpPr>
        <p:spPr>
          <a:xfrm>
            <a:off x="723900" y="5311123"/>
            <a:ext cx="10660856" cy="792325"/>
          </a:xfrm>
          <a:prstGeom prst="roundRect">
            <a:avLst>
              <a:gd name="adj" fmla="val 10658"/>
            </a:avLst>
          </a:prstGeom>
          <a:solidFill>
            <a:schemeClr val="bg1"/>
          </a:solidFill>
          <a:ln>
            <a:noFill/>
          </a:ln>
          <a:effectLst>
            <a:outerShdw blurRad="63500" algn="ctr" rotWithShape="0">
              <a:prstClr val="black">
                <a:alpha val="25000"/>
              </a:prstClr>
            </a:outerShdw>
          </a:effectLst>
        </p:spPr>
        <p:style>
          <a:lnRef idx="0">
            <a:scrgbClr r="0" g="0" b="0"/>
          </a:lnRef>
          <a:fillRef idx="0">
            <a:scrgbClr r="0" g="0" b="0"/>
          </a:fillRef>
          <a:effectRef idx="0">
            <a:scrgbClr r="0" g="0" b="0"/>
          </a:effectRef>
          <a:fontRef idx="minor">
            <a:schemeClr val="lt1"/>
          </a:fontRef>
        </p:style>
        <p:txBody>
          <a:bodyPr rtlCol="0" anchor="ctr"/>
          <a:lstStyle/>
          <a:p>
            <a:pPr algn="ctr"/>
            <a:endParaRPr lang="en-IN"/>
          </a:p>
        </p:txBody>
      </p:sp>
      <p:sp>
        <p:nvSpPr>
          <p:cNvPr id="166" name="Rectangle: Rounded Corners 165">
            <a:extLst>
              <a:ext uri="{FF2B5EF4-FFF2-40B4-BE49-F238E27FC236}">
                <a16:creationId xmlns:a16="http://schemas.microsoft.com/office/drawing/2014/main" id="{C264730F-9042-FB89-3ACD-F4719E1E67E8}"/>
              </a:ext>
            </a:extLst>
          </p:cNvPr>
          <p:cNvSpPr/>
          <p:nvPr/>
        </p:nvSpPr>
        <p:spPr>
          <a:xfrm>
            <a:off x="866191" y="5221932"/>
            <a:ext cx="1235278" cy="970706"/>
          </a:xfrm>
          <a:prstGeom prst="roundRect">
            <a:avLst>
              <a:gd name="adj" fmla="val 5987"/>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lIns="54864" tIns="36576" rIns="54864" bIns="36576" rtlCol="0" anchor="ctr"/>
          <a:lstStyle/>
          <a:p>
            <a:pPr marL="3175" algn="ctr">
              <a:spcBef>
                <a:spcPts val="600"/>
              </a:spcBef>
              <a:spcAft>
                <a:spcPts val="600"/>
              </a:spcAft>
              <a:buClr>
                <a:srgbClr val="303030">
                  <a:lumMod val="50000"/>
                  <a:lumOff val="50000"/>
                </a:srgbClr>
              </a:buClr>
            </a:pPr>
            <a:r>
              <a:rPr lang="en-US" sz="1400" b="1">
                <a:solidFill>
                  <a:schemeClr val="bg1"/>
                </a:solidFill>
                <a:cs typeface="Tahoma" pitchFamily="34" charset="0"/>
              </a:rPr>
              <a:t>Enhancements after new architecture</a:t>
            </a:r>
          </a:p>
        </p:txBody>
      </p:sp>
      <p:sp>
        <p:nvSpPr>
          <p:cNvPr id="45" name="TextBox 44">
            <a:extLst>
              <a:ext uri="{FF2B5EF4-FFF2-40B4-BE49-F238E27FC236}">
                <a16:creationId xmlns:a16="http://schemas.microsoft.com/office/drawing/2014/main" id="{28629EB4-49D1-D3FD-BA57-3E0B9249EFF2}"/>
              </a:ext>
            </a:extLst>
          </p:cNvPr>
          <p:cNvSpPr txBox="1"/>
          <p:nvPr/>
        </p:nvSpPr>
        <p:spPr>
          <a:xfrm>
            <a:off x="2293620" y="5471323"/>
            <a:ext cx="4358402" cy="471924"/>
          </a:xfrm>
          <a:prstGeom prst="rect">
            <a:avLst/>
          </a:prstGeom>
          <a:noFill/>
          <a:ln w="9525">
            <a:noFill/>
          </a:ln>
        </p:spPr>
        <p:txBody>
          <a:bodyPr wrap="square" lIns="0" tIns="0" rIns="0" bIns="0" rtlCol="0" anchor="ctr">
            <a:spAutoFit/>
          </a:bodyPr>
          <a:lstStyle/>
          <a:p>
            <a:pPr marL="228600" indent="-225425">
              <a:spcBef>
                <a:spcPts val="400"/>
              </a:spcBef>
              <a:spcAft>
                <a:spcPts val="400"/>
              </a:spcAft>
              <a:buClr>
                <a:schemeClr val="bg2">
                  <a:lumMod val="50000"/>
                </a:schemeClr>
              </a:buClr>
              <a:buSzPct val="100000"/>
              <a:buFont typeface="Arial" panose="020B0604020202020204" pitchFamily="34" charset="0"/>
              <a:buChar char="•"/>
            </a:pPr>
            <a:r>
              <a:rPr lang="en-US" sz="1200">
                <a:solidFill>
                  <a:srgbClr val="304659"/>
                </a:solidFill>
                <a:latin typeface="Calibri" panose="020F0502020204030204" pitchFamily="34" charset="0"/>
                <a:cs typeface="Tahoma" pitchFamily="34" charset="0"/>
              </a:rPr>
              <a:t>Enhanced Prompt Engineering</a:t>
            </a:r>
          </a:p>
          <a:p>
            <a:pPr marL="228600" indent="-225425">
              <a:spcBef>
                <a:spcPts val="400"/>
              </a:spcBef>
              <a:spcAft>
                <a:spcPts val="400"/>
              </a:spcAft>
              <a:buClr>
                <a:schemeClr val="bg2">
                  <a:lumMod val="50000"/>
                </a:schemeClr>
              </a:buClr>
              <a:buSzPct val="100000"/>
              <a:buFont typeface="Arial" panose="020B0604020202020204" pitchFamily="34" charset="0"/>
              <a:buChar char="•"/>
            </a:pPr>
            <a:r>
              <a:rPr lang="en-US" sz="1200">
                <a:solidFill>
                  <a:srgbClr val="304659"/>
                </a:solidFill>
                <a:latin typeface="Calibri" panose="020F0502020204030204" pitchFamily="34" charset="0"/>
                <a:cs typeface="Tahoma" pitchFamily="34" charset="0"/>
              </a:rPr>
              <a:t>Text Chunking Improvement</a:t>
            </a:r>
          </a:p>
        </p:txBody>
      </p:sp>
      <p:sp>
        <p:nvSpPr>
          <p:cNvPr id="169" name="TextBox 168">
            <a:extLst>
              <a:ext uri="{FF2B5EF4-FFF2-40B4-BE49-F238E27FC236}">
                <a16:creationId xmlns:a16="http://schemas.microsoft.com/office/drawing/2014/main" id="{3CC7B546-19B4-384D-DBEF-B1DA7D4C4575}"/>
              </a:ext>
            </a:extLst>
          </p:cNvPr>
          <p:cNvSpPr txBox="1"/>
          <p:nvPr/>
        </p:nvSpPr>
        <p:spPr>
          <a:xfrm>
            <a:off x="6865858" y="5471323"/>
            <a:ext cx="4358402" cy="471924"/>
          </a:xfrm>
          <a:prstGeom prst="rect">
            <a:avLst/>
          </a:prstGeom>
          <a:noFill/>
          <a:ln w="9525">
            <a:noFill/>
          </a:ln>
        </p:spPr>
        <p:txBody>
          <a:bodyPr wrap="square" lIns="0" tIns="0" rIns="0" bIns="0" rtlCol="0" anchor="ctr">
            <a:spAutoFit/>
          </a:bodyPr>
          <a:lstStyle/>
          <a:p>
            <a:pPr marL="228600" indent="-225425">
              <a:spcBef>
                <a:spcPts val="400"/>
              </a:spcBef>
              <a:spcAft>
                <a:spcPts val="400"/>
              </a:spcAft>
              <a:buClr>
                <a:schemeClr val="bg2">
                  <a:lumMod val="50000"/>
                </a:schemeClr>
              </a:buClr>
              <a:buSzPct val="100000"/>
              <a:buFont typeface="Arial" panose="020B0604020202020204" pitchFamily="34" charset="0"/>
              <a:buChar char="•"/>
            </a:pPr>
            <a:r>
              <a:rPr lang="en-US" sz="1200">
                <a:solidFill>
                  <a:srgbClr val="304659"/>
                </a:solidFill>
                <a:latin typeface="Calibri" panose="020F0502020204030204" pitchFamily="34" charset="0"/>
                <a:cs typeface="Tahoma" pitchFamily="34" charset="0"/>
              </a:rPr>
              <a:t>Added examples in prompt</a:t>
            </a:r>
          </a:p>
          <a:p>
            <a:pPr marL="228600" indent="-225425">
              <a:spcBef>
                <a:spcPts val="400"/>
              </a:spcBef>
              <a:spcAft>
                <a:spcPts val="400"/>
              </a:spcAft>
              <a:buClr>
                <a:schemeClr val="bg2">
                  <a:lumMod val="50000"/>
                </a:schemeClr>
              </a:buClr>
              <a:buSzPct val="100000"/>
              <a:buFont typeface="Arial" panose="020B0604020202020204" pitchFamily="34" charset="0"/>
              <a:buChar char="•"/>
            </a:pPr>
            <a:r>
              <a:rPr lang="en-US" sz="1200">
                <a:solidFill>
                  <a:srgbClr val="304659"/>
                </a:solidFill>
                <a:latin typeface="Calibri" panose="020F0502020204030204" pitchFamily="34" charset="0"/>
              </a:rPr>
              <a:t>Adjust response comprehensiveness</a:t>
            </a:r>
          </a:p>
        </p:txBody>
      </p:sp>
      <p:grpSp>
        <p:nvGrpSpPr>
          <p:cNvPr id="190" name="Group 189">
            <a:extLst>
              <a:ext uri="{FF2B5EF4-FFF2-40B4-BE49-F238E27FC236}">
                <a16:creationId xmlns:a16="http://schemas.microsoft.com/office/drawing/2014/main" id="{8165A978-D0FD-8353-7C46-147CF259D69B}"/>
              </a:ext>
            </a:extLst>
          </p:cNvPr>
          <p:cNvGrpSpPr/>
          <p:nvPr/>
        </p:nvGrpSpPr>
        <p:grpSpPr>
          <a:xfrm>
            <a:off x="2231472" y="5471780"/>
            <a:ext cx="179165" cy="179165"/>
            <a:chOff x="2231472" y="5471780"/>
            <a:chExt cx="179165" cy="179165"/>
          </a:xfrm>
        </p:grpSpPr>
        <p:sp>
          <p:nvSpPr>
            <p:cNvPr id="174" name="Oval 173">
              <a:extLst>
                <a:ext uri="{FF2B5EF4-FFF2-40B4-BE49-F238E27FC236}">
                  <a16:creationId xmlns:a16="http://schemas.microsoft.com/office/drawing/2014/main" id="{5003029F-E405-EA1F-FBA3-02B6D9EBEAC9}"/>
                </a:ext>
              </a:extLst>
            </p:cNvPr>
            <p:cNvSpPr/>
            <p:nvPr/>
          </p:nvSpPr>
          <p:spPr>
            <a:xfrm>
              <a:off x="2231472" y="5471780"/>
              <a:ext cx="179165" cy="179165"/>
            </a:xfrm>
            <a:prstGeom prst="ellipse">
              <a:avLst/>
            </a:prstGeom>
            <a:noFill/>
            <a:ln w="25400" cap="rnd">
              <a:solidFill>
                <a:schemeClr val="accent1"/>
              </a:solidFill>
              <a:prstDash val="sysDot"/>
            </a:ln>
          </p:spPr>
          <p:style>
            <a:lnRef idx="0">
              <a:scrgbClr r="0" g="0" b="0"/>
            </a:lnRef>
            <a:fillRef idx="0">
              <a:scrgbClr r="0" g="0" b="0"/>
            </a:fillRef>
            <a:effectRef idx="0">
              <a:scrgbClr r="0" g="0" b="0"/>
            </a:effectRef>
            <a:fontRef idx="minor">
              <a:schemeClr val="lt1"/>
            </a:fontRef>
          </p:style>
          <p:txBody>
            <a:bodyPr rtlCol="0" anchor="ctr"/>
            <a:lstStyle/>
            <a:p>
              <a:pPr algn="ctr"/>
              <a:endParaRPr lang="en-IN"/>
            </a:p>
          </p:txBody>
        </p:sp>
        <p:sp>
          <p:nvSpPr>
            <p:cNvPr id="175" name="Oval 174">
              <a:extLst>
                <a:ext uri="{FF2B5EF4-FFF2-40B4-BE49-F238E27FC236}">
                  <a16:creationId xmlns:a16="http://schemas.microsoft.com/office/drawing/2014/main" id="{CC6F25AD-D2F7-F634-5F12-0A03AFA326E1}"/>
                </a:ext>
              </a:extLst>
            </p:cNvPr>
            <p:cNvSpPr/>
            <p:nvPr/>
          </p:nvSpPr>
          <p:spPr>
            <a:xfrm>
              <a:off x="2264950" y="5505258"/>
              <a:ext cx="112211" cy="112211"/>
            </a:xfrm>
            <a:prstGeom prst="ellipse">
              <a:avLst/>
            </a:prstGeom>
            <a:solidFill>
              <a:schemeClr val="accent3"/>
            </a:solidFill>
            <a:ln w="38100" cap="rnd">
              <a:noFill/>
              <a:prstDash val="sysDot"/>
            </a:ln>
          </p:spPr>
          <p:style>
            <a:lnRef idx="0">
              <a:scrgbClr r="0" g="0" b="0"/>
            </a:lnRef>
            <a:fillRef idx="0">
              <a:scrgbClr r="0" g="0" b="0"/>
            </a:fillRef>
            <a:effectRef idx="0">
              <a:scrgbClr r="0" g="0" b="0"/>
            </a:effectRef>
            <a:fontRef idx="minor">
              <a:schemeClr val="lt1"/>
            </a:fontRef>
          </p:style>
          <p:txBody>
            <a:bodyPr rtlCol="0" anchor="ctr"/>
            <a:lstStyle/>
            <a:p>
              <a:pPr algn="ctr"/>
              <a:endParaRPr lang="en-IN"/>
            </a:p>
          </p:txBody>
        </p:sp>
      </p:grpSp>
      <p:grpSp>
        <p:nvGrpSpPr>
          <p:cNvPr id="189" name="Group 188">
            <a:extLst>
              <a:ext uri="{FF2B5EF4-FFF2-40B4-BE49-F238E27FC236}">
                <a16:creationId xmlns:a16="http://schemas.microsoft.com/office/drawing/2014/main" id="{3BCC9EB1-CDF9-FC85-9BBE-9A5D6D469C58}"/>
              </a:ext>
            </a:extLst>
          </p:cNvPr>
          <p:cNvGrpSpPr/>
          <p:nvPr/>
        </p:nvGrpSpPr>
        <p:grpSpPr>
          <a:xfrm>
            <a:off x="2231472" y="5769437"/>
            <a:ext cx="179165" cy="179165"/>
            <a:chOff x="2231472" y="5769437"/>
            <a:chExt cx="179165" cy="179165"/>
          </a:xfrm>
        </p:grpSpPr>
        <p:sp>
          <p:nvSpPr>
            <p:cNvPr id="179" name="Oval 178">
              <a:extLst>
                <a:ext uri="{FF2B5EF4-FFF2-40B4-BE49-F238E27FC236}">
                  <a16:creationId xmlns:a16="http://schemas.microsoft.com/office/drawing/2014/main" id="{152DD302-3548-6F61-1705-94F6AF693101}"/>
                </a:ext>
              </a:extLst>
            </p:cNvPr>
            <p:cNvSpPr/>
            <p:nvPr/>
          </p:nvSpPr>
          <p:spPr>
            <a:xfrm>
              <a:off x="2231472" y="5769437"/>
              <a:ext cx="179165" cy="179165"/>
            </a:xfrm>
            <a:prstGeom prst="ellipse">
              <a:avLst/>
            </a:prstGeom>
            <a:noFill/>
            <a:ln w="25400" cap="rnd">
              <a:solidFill>
                <a:schemeClr val="accent1"/>
              </a:solidFill>
              <a:prstDash val="sysDot"/>
            </a:ln>
          </p:spPr>
          <p:style>
            <a:lnRef idx="0">
              <a:scrgbClr r="0" g="0" b="0"/>
            </a:lnRef>
            <a:fillRef idx="0">
              <a:scrgbClr r="0" g="0" b="0"/>
            </a:fillRef>
            <a:effectRef idx="0">
              <a:scrgbClr r="0" g="0" b="0"/>
            </a:effectRef>
            <a:fontRef idx="minor">
              <a:schemeClr val="lt1"/>
            </a:fontRef>
          </p:style>
          <p:txBody>
            <a:bodyPr rtlCol="0" anchor="ctr"/>
            <a:lstStyle/>
            <a:p>
              <a:pPr algn="ctr"/>
              <a:endParaRPr lang="en-IN"/>
            </a:p>
          </p:txBody>
        </p:sp>
        <p:sp>
          <p:nvSpPr>
            <p:cNvPr id="180" name="Oval 179">
              <a:extLst>
                <a:ext uri="{FF2B5EF4-FFF2-40B4-BE49-F238E27FC236}">
                  <a16:creationId xmlns:a16="http://schemas.microsoft.com/office/drawing/2014/main" id="{17FB5BA5-80F9-883C-33EA-746C47741A1D}"/>
                </a:ext>
              </a:extLst>
            </p:cNvPr>
            <p:cNvSpPr/>
            <p:nvPr/>
          </p:nvSpPr>
          <p:spPr>
            <a:xfrm>
              <a:off x="2264950" y="5802915"/>
              <a:ext cx="112211" cy="112211"/>
            </a:xfrm>
            <a:prstGeom prst="ellipse">
              <a:avLst/>
            </a:prstGeom>
            <a:solidFill>
              <a:schemeClr val="accent3"/>
            </a:solidFill>
            <a:ln w="38100" cap="rnd">
              <a:noFill/>
              <a:prstDash val="sysDot"/>
            </a:ln>
          </p:spPr>
          <p:style>
            <a:lnRef idx="0">
              <a:scrgbClr r="0" g="0" b="0"/>
            </a:lnRef>
            <a:fillRef idx="0">
              <a:scrgbClr r="0" g="0" b="0"/>
            </a:fillRef>
            <a:effectRef idx="0">
              <a:scrgbClr r="0" g="0" b="0"/>
            </a:effectRef>
            <a:fontRef idx="minor">
              <a:schemeClr val="lt1"/>
            </a:fontRef>
          </p:style>
          <p:txBody>
            <a:bodyPr rtlCol="0" anchor="ctr"/>
            <a:lstStyle/>
            <a:p>
              <a:pPr algn="ctr"/>
              <a:endParaRPr lang="en-IN"/>
            </a:p>
          </p:txBody>
        </p:sp>
      </p:grpSp>
      <p:grpSp>
        <p:nvGrpSpPr>
          <p:cNvPr id="188" name="Group 187">
            <a:extLst>
              <a:ext uri="{FF2B5EF4-FFF2-40B4-BE49-F238E27FC236}">
                <a16:creationId xmlns:a16="http://schemas.microsoft.com/office/drawing/2014/main" id="{22F6C938-3E39-ABEF-E133-83336E0B4E57}"/>
              </a:ext>
            </a:extLst>
          </p:cNvPr>
          <p:cNvGrpSpPr/>
          <p:nvPr/>
        </p:nvGrpSpPr>
        <p:grpSpPr>
          <a:xfrm>
            <a:off x="6821728" y="5471780"/>
            <a:ext cx="179165" cy="179165"/>
            <a:chOff x="6821728" y="5471780"/>
            <a:chExt cx="179165" cy="179165"/>
          </a:xfrm>
        </p:grpSpPr>
        <p:sp>
          <p:nvSpPr>
            <p:cNvPr id="182" name="Oval 181">
              <a:extLst>
                <a:ext uri="{FF2B5EF4-FFF2-40B4-BE49-F238E27FC236}">
                  <a16:creationId xmlns:a16="http://schemas.microsoft.com/office/drawing/2014/main" id="{236901E9-E3EE-17CE-E225-A91AFE74756B}"/>
                </a:ext>
              </a:extLst>
            </p:cNvPr>
            <p:cNvSpPr/>
            <p:nvPr/>
          </p:nvSpPr>
          <p:spPr>
            <a:xfrm>
              <a:off x="6821728" y="5471780"/>
              <a:ext cx="179165" cy="179165"/>
            </a:xfrm>
            <a:prstGeom prst="ellipse">
              <a:avLst/>
            </a:prstGeom>
            <a:noFill/>
            <a:ln w="25400" cap="rnd">
              <a:solidFill>
                <a:schemeClr val="accent1"/>
              </a:solidFill>
              <a:prstDash val="sysDot"/>
            </a:ln>
          </p:spPr>
          <p:style>
            <a:lnRef idx="0">
              <a:scrgbClr r="0" g="0" b="0"/>
            </a:lnRef>
            <a:fillRef idx="0">
              <a:scrgbClr r="0" g="0" b="0"/>
            </a:fillRef>
            <a:effectRef idx="0">
              <a:scrgbClr r="0" g="0" b="0"/>
            </a:effectRef>
            <a:fontRef idx="minor">
              <a:schemeClr val="lt1"/>
            </a:fontRef>
          </p:style>
          <p:txBody>
            <a:bodyPr rtlCol="0" anchor="ctr"/>
            <a:lstStyle/>
            <a:p>
              <a:pPr algn="ctr"/>
              <a:endParaRPr lang="en-IN"/>
            </a:p>
          </p:txBody>
        </p:sp>
        <p:sp>
          <p:nvSpPr>
            <p:cNvPr id="183" name="Oval 182">
              <a:extLst>
                <a:ext uri="{FF2B5EF4-FFF2-40B4-BE49-F238E27FC236}">
                  <a16:creationId xmlns:a16="http://schemas.microsoft.com/office/drawing/2014/main" id="{0B3DD94C-C557-C17F-7CA6-F6A7A3F1D1EE}"/>
                </a:ext>
              </a:extLst>
            </p:cNvPr>
            <p:cNvSpPr/>
            <p:nvPr/>
          </p:nvSpPr>
          <p:spPr>
            <a:xfrm>
              <a:off x="6855206" y="5505258"/>
              <a:ext cx="112211" cy="112211"/>
            </a:xfrm>
            <a:prstGeom prst="ellipse">
              <a:avLst/>
            </a:prstGeom>
            <a:solidFill>
              <a:schemeClr val="accent3"/>
            </a:solidFill>
            <a:ln w="38100" cap="rnd">
              <a:noFill/>
              <a:prstDash val="sysDot"/>
            </a:ln>
          </p:spPr>
          <p:style>
            <a:lnRef idx="0">
              <a:scrgbClr r="0" g="0" b="0"/>
            </a:lnRef>
            <a:fillRef idx="0">
              <a:scrgbClr r="0" g="0" b="0"/>
            </a:fillRef>
            <a:effectRef idx="0">
              <a:scrgbClr r="0" g="0" b="0"/>
            </a:effectRef>
            <a:fontRef idx="minor">
              <a:schemeClr val="lt1"/>
            </a:fontRef>
          </p:style>
          <p:txBody>
            <a:bodyPr rtlCol="0" anchor="ctr"/>
            <a:lstStyle/>
            <a:p>
              <a:pPr algn="ctr"/>
              <a:endParaRPr lang="en-IN"/>
            </a:p>
          </p:txBody>
        </p:sp>
      </p:grpSp>
      <p:grpSp>
        <p:nvGrpSpPr>
          <p:cNvPr id="187" name="Group 186">
            <a:extLst>
              <a:ext uri="{FF2B5EF4-FFF2-40B4-BE49-F238E27FC236}">
                <a16:creationId xmlns:a16="http://schemas.microsoft.com/office/drawing/2014/main" id="{7E3EA4B4-F46D-2EEE-9825-957F84C34480}"/>
              </a:ext>
            </a:extLst>
          </p:cNvPr>
          <p:cNvGrpSpPr/>
          <p:nvPr/>
        </p:nvGrpSpPr>
        <p:grpSpPr>
          <a:xfrm>
            <a:off x="6821728" y="5769437"/>
            <a:ext cx="179165" cy="179165"/>
            <a:chOff x="6821728" y="5769437"/>
            <a:chExt cx="179165" cy="179165"/>
          </a:xfrm>
        </p:grpSpPr>
        <p:sp>
          <p:nvSpPr>
            <p:cNvPr id="185" name="Oval 184">
              <a:extLst>
                <a:ext uri="{FF2B5EF4-FFF2-40B4-BE49-F238E27FC236}">
                  <a16:creationId xmlns:a16="http://schemas.microsoft.com/office/drawing/2014/main" id="{EB6DD386-851E-4859-C72F-2223EA9184D5}"/>
                </a:ext>
              </a:extLst>
            </p:cNvPr>
            <p:cNvSpPr/>
            <p:nvPr/>
          </p:nvSpPr>
          <p:spPr>
            <a:xfrm>
              <a:off x="6821728" y="5769437"/>
              <a:ext cx="179165" cy="179165"/>
            </a:xfrm>
            <a:prstGeom prst="ellipse">
              <a:avLst/>
            </a:prstGeom>
            <a:noFill/>
            <a:ln w="25400" cap="rnd">
              <a:solidFill>
                <a:schemeClr val="accent1"/>
              </a:solidFill>
              <a:prstDash val="sysDot"/>
            </a:ln>
          </p:spPr>
          <p:style>
            <a:lnRef idx="0">
              <a:scrgbClr r="0" g="0" b="0"/>
            </a:lnRef>
            <a:fillRef idx="0">
              <a:scrgbClr r="0" g="0" b="0"/>
            </a:fillRef>
            <a:effectRef idx="0">
              <a:scrgbClr r="0" g="0" b="0"/>
            </a:effectRef>
            <a:fontRef idx="minor">
              <a:schemeClr val="lt1"/>
            </a:fontRef>
          </p:style>
          <p:txBody>
            <a:bodyPr rtlCol="0" anchor="ctr"/>
            <a:lstStyle/>
            <a:p>
              <a:pPr algn="ctr"/>
              <a:endParaRPr lang="en-IN"/>
            </a:p>
          </p:txBody>
        </p:sp>
        <p:sp>
          <p:nvSpPr>
            <p:cNvPr id="186" name="Oval 185">
              <a:extLst>
                <a:ext uri="{FF2B5EF4-FFF2-40B4-BE49-F238E27FC236}">
                  <a16:creationId xmlns:a16="http://schemas.microsoft.com/office/drawing/2014/main" id="{0D5A27F2-7DBD-6144-03C9-41287157A073}"/>
                </a:ext>
              </a:extLst>
            </p:cNvPr>
            <p:cNvSpPr/>
            <p:nvPr/>
          </p:nvSpPr>
          <p:spPr>
            <a:xfrm>
              <a:off x="6855206" y="5802915"/>
              <a:ext cx="112211" cy="112211"/>
            </a:xfrm>
            <a:prstGeom prst="ellipse">
              <a:avLst/>
            </a:prstGeom>
            <a:solidFill>
              <a:schemeClr val="accent3"/>
            </a:solidFill>
            <a:ln w="38100" cap="rnd">
              <a:noFill/>
              <a:prstDash val="sysDot"/>
            </a:ln>
          </p:spPr>
          <p:style>
            <a:lnRef idx="0">
              <a:scrgbClr r="0" g="0" b="0"/>
            </a:lnRef>
            <a:fillRef idx="0">
              <a:scrgbClr r="0" g="0" b="0"/>
            </a:fillRef>
            <a:effectRef idx="0">
              <a:scrgbClr r="0" g="0" b="0"/>
            </a:effectRef>
            <a:fontRef idx="minor">
              <a:schemeClr val="lt1"/>
            </a:fontRef>
          </p:style>
          <p:txBody>
            <a:bodyPr rtlCol="0" anchor="ctr"/>
            <a:lstStyle/>
            <a:p>
              <a:pPr algn="ctr"/>
              <a:endParaRPr lang="en-IN"/>
            </a:p>
          </p:txBody>
        </p:sp>
      </p:grpSp>
      <p:sp>
        <p:nvSpPr>
          <p:cNvPr id="39" name="Rectangle 38">
            <a:extLst>
              <a:ext uri="{FF2B5EF4-FFF2-40B4-BE49-F238E27FC236}">
                <a16:creationId xmlns:a16="http://schemas.microsoft.com/office/drawing/2014/main" id="{3412961E-F4DB-5ED5-1A36-0442869BFFE1}"/>
              </a:ext>
            </a:extLst>
          </p:cNvPr>
          <p:cNvSpPr/>
          <p:nvPr/>
        </p:nvSpPr>
        <p:spPr>
          <a:xfrm>
            <a:off x="6088166" y="2302445"/>
            <a:ext cx="5364266" cy="700804"/>
          </a:xfrm>
          <a:prstGeom prst="rect">
            <a:avLst/>
          </a:prstGeom>
          <a:noFill/>
          <a:ln w="28575">
            <a:solidFill>
              <a:schemeClr val="accent4">
                <a:lumMod val="75000"/>
              </a:schemeClr>
            </a:solid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a:p>
        </p:txBody>
      </p:sp>
      <p:sp>
        <p:nvSpPr>
          <p:cNvPr id="40" name="Rectangle 39">
            <a:extLst>
              <a:ext uri="{FF2B5EF4-FFF2-40B4-BE49-F238E27FC236}">
                <a16:creationId xmlns:a16="http://schemas.microsoft.com/office/drawing/2014/main" id="{5B7C67C2-412E-BB5D-D425-2A59E6C95F18}"/>
              </a:ext>
            </a:extLst>
          </p:cNvPr>
          <p:cNvSpPr/>
          <p:nvPr/>
        </p:nvSpPr>
        <p:spPr>
          <a:xfrm>
            <a:off x="6103834" y="3202551"/>
            <a:ext cx="5364266" cy="1750916"/>
          </a:xfrm>
          <a:prstGeom prst="rect">
            <a:avLst/>
          </a:prstGeom>
          <a:noFill/>
          <a:ln w="28575">
            <a:solidFill>
              <a:schemeClr val="accent4">
                <a:lumMod val="75000"/>
              </a:schemeClr>
            </a:solid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a:p>
        </p:txBody>
      </p:sp>
      <p:sp>
        <p:nvSpPr>
          <p:cNvPr id="41" name="TextBox 40">
            <a:extLst>
              <a:ext uri="{FF2B5EF4-FFF2-40B4-BE49-F238E27FC236}">
                <a16:creationId xmlns:a16="http://schemas.microsoft.com/office/drawing/2014/main" id="{DA29F914-D0E6-2951-CE95-E462653458C8}"/>
              </a:ext>
            </a:extLst>
          </p:cNvPr>
          <p:cNvSpPr txBox="1"/>
          <p:nvPr/>
        </p:nvSpPr>
        <p:spPr>
          <a:xfrm>
            <a:off x="2029968" y="170752"/>
            <a:ext cx="914400" cy="914400"/>
          </a:xfrm>
          <a:prstGeom prst="rect">
            <a:avLst/>
          </a:prstGeom>
          <a:noFill/>
        </p:spPr>
        <p:txBody>
          <a:bodyPr wrap="none" rtlCol="0">
            <a:noAutofit/>
          </a:bodyPr>
          <a:lstStyle/>
          <a:p>
            <a:pPr marL="233363" indent="-230188">
              <a:spcBef>
                <a:spcPts val="600"/>
              </a:spcBef>
              <a:spcAft>
                <a:spcPts val="600"/>
              </a:spcAft>
              <a:buClr>
                <a:srgbClr val="303030">
                  <a:lumMod val="50000"/>
                  <a:lumOff val="50000"/>
                </a:srgbClr>
              </a:buClr>
              <a:buFont typeface="Arial" panose="020B0604020202020204" pitchFamily="34" charset="0"/>
              <a:buChar char="•"/>
            </a:pPr>
            <a:endParaRPr lang="en-US" sz="2000">
              <a:solidFill>
                <a:srgbClr val="002240"/>
              </a:solidFill>
              <a:cs typeface="Tahoma" pitchFamily="34" charset="0"/>
            </a:endParaRPr>
          </a:p>
        </p:txBody>
      </p:sp>
    </p:spTree>
    <p:custDataLst>
      <p:custData r:id="rId1"/>
    </p:custDataLst>
    <p:extLst>
      <p:ext uri="{BB962C8B-B14F-4D97-AF65-F5344CB8AC3E}">
        <p14:creationId xmlns:p14="http://schemas.microsoft.com/office/powerpoint/2010/main" val="45556440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F819D1D2-C04E-4FB6-D5A9-11C15ED00F73}"/>
              </a:ext>
            </a:extLst>
          </p:cNvPr>
          <p:cNvPicPr>
            <a:picLocks noChangeAspect="1"/>
          </p:cNvPicPr>
          <p:nvPr/>
        </p:nvPicPr>
        <p:blipFill rotWithShape="1">
          <a:blip r:embed="rId3"/>
          <a:srcRect l="628" t="1793" r="461" b="6686"/>
          <a:stretch/>
        </p:blipFill>
        <p:spPr>
          <a:xfrm>
            <a:off x="4078687" y="1282044"/>
            <a:ext cx="5250370" cy="2518803"/>
          </a:xfrm>
          <a:prstGeom prst="roundRect">
            <a:avLst>
              <a:gd name="adj" fmla="val 3533"/>
            </a:avLst>
          </a:prstGeom>
          <a:solidFill>
            <a:schemeClr val="bg1"/>
          </a:solidFill>
          <a:ln>
            <a:noFill/>
          </a:ln>
          <a:effectLst>
            <a:outerShdw blurRad="63500" algn="ctr" rotWithShape="0">
              <a:prstClr val="black">
                <a:alpha val="40000"/>
              </a:prstClr>
            </a:outerShdw>
          </a:effectLst>
        </p:spPr>
      </p:pic>
      <p:pic>
        <p:nvPicPr>
          <p:cNvPr id="6" name="Picture 5">
            <a:extLst>
              <a:ext uri="{FF2B5EF4-FFF2-40B4-BE49-F238E27FC236}">
                <a16:creationId xmlns:a16="http://schemas.microsoft.com/office/drawing/2014/main" id="{82C2B958-CFF6-D846-9D72-C17047DFFCAC}"/>
              </a:ext>
            </a:extLst>
          </p:cNvPr>
          <p:cNvPicPr>
            <a:picLocks noChangeAspect="1"/>
          </p:cNvPicPr>
          <p:nvPr/>
        </p:nvPicPr>
        <p:blipFill rotWithShape="1">
          <a:blip r:embed="rId4"/>
          <a:srcRect l="-146" t="-103" r="235" b="52"/>
          <a:stretch/>
        </p:blipFill>
        <p:spPr>
          <a:xfrm>
            <a:off x="3379084" y="3953475"/>
            <a:ext cx="6697483" cy="2217826"/>
          </a:xfrm>
          <a:prstGeom prst="roundRect">
            <a:avLst>
              <a:gd name="adj" fmla="val 3533"/>
            </a:avLst>
          </a:prstGeom>
          <a:solidFill>
            <a:schemeClr val="bg1"/>
          </a:solidFill>
          <a:ln>
            <a:noFill/>
          </a:ln>
          <a:effectLst>
            <a:outerShdw blurRad="63500" algn="ctr" rotWithShape="0">
              <a:prstClr val="black">
                <a:alpha val="40000"/>
              </a:prstClr>
            </a:outerShdw>
          </a:effectLst>
        </p:spPr>
      </p:pic>
      <p:sp>
        <p:nvSpPr>
          <p:cNvPr id="2" name="Arrow: Pentagon 1">
            <a:extLst>
              <a:ext uri="{FF2B5EF4-FFF2-40B4-BE49-F238E27FC236}">
                <a16:creationId xmlns:a16="http://schemas.microsoft.com/office/drawing/2014/main" id="{3AEC0AC2-B550-86A6-1B81-8B41826C5ABC}"/>
              </a:ext>
            </a:extLst>
          </p:cNvPr>
          <p:cNvSpPr/>
          <p:nvPr/>
        </p:nvSpPr>
        <p:spPr>
          <a:xfrm rot="5400000">
            <a:off x="-130503" y="2022148"/>
            <a:ext cx="2699408" cy="1219201"/>
          </a:xfrm>
          <a:prstGeom prst="homePlate">
            <a:avLst>
              <a:gd name="adj" fmla="val 11250"/>
            </a:avLst>
          </a:prstGeom>
          <a:solidFill>
            <a:schemeClr val="accent6"/>
          </a:solidFill>
          <a:ln>
            <a:noFill/>
          </a:ln>
        </p:spPr>
        <p:style>
          <a:lnRef idx="0">
            <a:scrgbClr r="0" g="0" b="0"/>
          </a:lnRef>
          <a:fillRef idx="0">
            <a:scrgbClr r="0" g="0" b="0"/>
          </a:fillRef>
          <a:effectRef idx="0">
            <a:scrgbClr r="0" g="0" b="0"/>
          </a:effectRef>
          <a:fontRef idx="minor">
            <a:schemeClr val="lt1"/>
          </a:fontRef>
        </p:style>
        <p:txBody>
          <a:bodyPr vert="vert270" rtlCol="0" anchor="ctr"/>
          <a:lstStyle/>
          <a:p>
            <a:pPr marL="3175" algn="ctr">
              <a:spcBef>
                <a:spcPts val="600"/>
              </a:spcBef>
              <a:spcAft>
                <a:spcPts val="600"/>
              </a:spcAft>
              <a:buClr>
                <a:srgbClr val="303030">
                  <a:lumMod val="50000"/>
                  <a:lumOff val="50000"/>
                </a:srgbClr>
              </a:buClr>
            </a:pPr>
            <a:r>
              <a:rPr lang="en-US" sz="1400" b="1">
                <a:solidFill>
                  <a:schemeClr val="bg1"/>
                </a:solidFill>
                <a:cs typeface="Tahoma" pitchFamily="34" charset="0"/>
              </a:rPr>
              <a:t>Old Architecture</a:t>
            </a:r>
          </a:p>
        </p:txBody>
      </p:sp>
      <p:sp>
        <p:nvSpPr>
          <p:cNvPr id="3" name="Arrow: Chevron 2">
            <a:extLst>
              <a:ext uri="{FF2B5EF4-FFF2-40B4-BE49-F238E27FC236}">
                <a16:creationId xmlns:a16="http://schemas.microsoft.com/office/drawing/2014/main" id="{7EFAFD62-1AB8-EF33-49C6-2F6F1511FDD0}"/>
              </a:ext>
            </a:extLst>
          </p:cNvPr>
          <p:cNvSpPr/>
          <p:nvPr/>
        </p:nvSpPr>
        <p:spPr>
          <a:xfrm rot="5400000">
            <a:off x="56810" y="4506264"/>
            <a:ext cx="2324779" cy="1219201"/>
          </a:xfrm>
          <a:prstGeom prst="chevron">
            <a:avLst>
              <a:gd name="adj" fmla="val 11250"/>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vert="vert270" rtlCol="0" anchor="ctr"/>
          <a:lstStyle/>
          <a:p>
            <a:pPr marL="3175" algn="ctr">
              <a:spcBef>
                <a:spcPts val="600"/>
              </a:spcBef>
              <a:spcAft>
                <a:spcPts val="600"/>
              </a:spcAft>
              <a:buClr>
                <a:srgbClr val="303030">
                  <a:lumMod val="50000"/>
                  <a:lumOff val="50000"/>
                </a:srgbClr>
              </a:buClr>
            </a:pPr>
            <a:r>
              <a:rPr lang="en-US" sz="1400" b="1">
                <a:solidFill>
                  <a:schemeClr val="bg1"/>
                </a:solidFill>
                <a:cs typeface="Tahoma" pitchFamily="34" charset="0"/>
              </a:rPr>
              <a:t>New Architecture</a:t>
            </a:r>
          </a:p>
        </p:txBody>
      </p:sp>
      <p:cxnSp>
        <p:nvCxnSpPr>
          <p:cNvPr id="4" name="Straight Connector 3">
            <a:extLst>
              <a:ext uri="{FF2B5EF4-FFF2-40B4-BE49-F238E27FC236}">
                <a16:creationId xmlns:a16="http://schemas.microsoft.com/office/drawing/2014/main" id="{6413C30D-FEA9-4CBE-19B9-42907DF4F452}"/>
              </a:ext>
            </a:extLst>
          </p:cNvPr>
          <p:cNvCxnSpPr>
            <a:cxnSpLocks/>
          </p:cNvCxnSpPr>
          <p:nvPr/>
        </p:nvCxnSpPr>
        <p:spPr>
          <a:xfrm>
            <a:off x="1873250" y="3901494"/>
            <a:ext cx="9709150"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7" name="Title 6">
            <a:extLst>
              <a:ext uri="{FF2B5EF4-FFF2-40B4-BE49-F238E27FC236}">
                <a16:creationId xmlns:a16="http://schemas.microsoft.com/office/drawing/2014/main" id="{79879C97-F8C6-F8EF-F28A-170BC5A0ABDD}"/>
              </a:ext>
            </a:extLst>
          </p:cNvPr>
          <p:cNvSpPr>
            <a:spLocks noGrp="1"/>
          </p:cNvSpPr>
          <p:nvPr>
            <p:ph type="title"/>
          </p:nvPr>
        </p:nvSpPr>
        <p:spPr>
          <a:xfrm>
            <a:off x="609600" y="311785"/>
            <a:ext cx="10972800" cy="492443"/>
          </a:xfrm>
        </p:spPr>
        <p:txBody>
          <a:bodyPr wrap="square">
            <a:spAutoFit/>
          </a:bodyPr>
          <a:lstStyle/>
          <a:p>
            <a:r>
              <a:rPr lang="en-US"/>
              <a:t>Response Improvisation Instances (2/4)</a:t>
            </a:r>
            <a:endParaRPr lang="en-IN"/>
          </a:p>
        </p:txBody>
      </p:sp>
    </p:spTree>
    <p:custDataLst>
      <p:custData r:id="rId1"/>
    </p:custDataLst>
    <p:extLst>
      <p:ext uri="{BB962C8B-B14F-4D97-AF65-F5344CB8AC3E}">
        <p14:creationId xmlns:p14="http://schemas.microsoft.com/office/powerpoint/2010/main" val="317683029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6D587B3-4180-5ACF-52ED-9C1DE57275A5}"/>
              </a:ext>
            </a:extLst>
          </p:cNvPr>
          <p:cNvSpPr>
            <a:spLocks noGrp="1"/>
          </p:cNvSpPr>
          <p:nvPr>
            <p:ph type="title"/>
          </p:nvPr>
        </p:nvSpPr>
        <p:spPr>
          <a:xfrm>
            <a:off x="609600" y="311785"/>
            <a:ext cx="10972800" cy="492443"/>
          </a:xfrm>
        </p:spPr>
        <p:txBody>
          <a:bodyPr wrap="square">
            <a:spAutoFit/>
          </a:bodyPr>
          <a:lstStyle/>
          <a:p>
            <a:r>
              <a:rPr lang="en-US"/>
              <a:t>Response Improvisation Instances (3/4)</a:t>
            </a:r>
            <a:endParaRPr lang="en-IN"/>
          </a:p>
        </p:txBody>
      </p:sp>
      <p:pic>
        <p:nvPicPr>
          <p:cNvPr id="5" name="Picture 4" descr="A screenshot of a computer&#10;&#10;Description automatically generated">
            <a:extLst>
              <a:ext uri="{FF2B5EF4-FFF2-40B4-BE49-F238E27FC236}">
                <a16:creationId xmlns:a16="http://schemas.microsoft.com/office/drawing/2014/main" id="{1430011A-3C4E-0157-06B6-AE4A2F708FFA}"/>
              </a:ext>
            </a:extLst>
          </p:cNvPr>
          <p:cNvPicPr>
            <a:picLocks noChangeAspect="1"/>
          </p:cNvPicPr>
          <p:nvPr/>
        </p:nvPicPr>
        <p:blipFill rotWithShape="1">
          <a:blip r:embed="rId3"/>
          <a:srcRect l="677" t="1011" r="270" b="-890"/>
          <a:stretch/>
        </p:blipFill>
        <p:spPr>
          <a:xfrm>
            <a:off x="4003904" y="1282045"/>
            <a:ext cx="5447843" cy="2826405"/>
          </a:xfrm>
          <a:prstGeom prst="roundRect">
            <a:avLst>
              <a:gd name="adj" fmla="val 3533"/>
            </a:avLst>
          </a:prstGeom>
          <a:solidFill>
            <a:schemeClr val="bg1"/>
          </a:solidFill>
          <a:ln>
            <a:noFill/>
          </a:ln>
          <a:effectLst>
            <a:outerShdw blurRad="63500" algn="ctr" rotWithShape="0">
              <a:prstClr val="black">
                <a:alpha val="40000"/>
              </a:prstClr>
            </a:outerShdw>
          </a:effectLst>
        </p:spPr>
      </p:pic>
      <p:pic>
        <p:nvPicPr>
          <p:cNvPr id="6" name="Picture 5" descr="A screenshot of a white page&#10;&#10;Description automatically generated">
            <a:extLst>
              <a:ext uri="{FF2B5EF4-FFF2-40B4-BE49-F238E27FC236}">
                <a16:creationId xmlns:a16="http://schemas.microsoft.com/office/drawing/2014/main" id="{BBFB0FBF-C88B-A782-42BA-366810FAFFB2}"/>
              </a:ext>
            </a:extLst>
          </p:cNvPr>
          <p:cNvPicPr>
            <a:picLocks noChangeAspect="1"/>
          </p:cNvPicPr>
          <p:nvPr/>
        </p:nvPicPr>
        <p:blipFill rotWithShape="1">
          <a:blip r:embed="rId4"/>
          <a:srcRect l="506" t="1519" r="435" b="122"/>
          <a:stretch/>
        </p:blipFill>
        <p:spPr>
          <a:xfrm>
            <a:off x="3096512" y="4250655"/>
            <a:ext cx="7262626" cy="1845346"/>
          </a:xfrm>
          <a:prstGeom prst="roundRect">
            <a:avLst>
              <a:gd name="adj" fmla="val 3533"/>
            </a:avLst>
          </a:prstGeom>
          <a:solidFill>
            <a:schemeClr val="bg1"/>
          </a:solidFill>
          <a:ln>
            <a:noFill/>
          </a:ln>
          <a:effectLst>
            <a:outerShdw blurRad="63500" algn="ctr" rotWithShape="0">
              <a:prstClr val="black">
                <a:alpha val="40000"/>
              </a:prstClr>
            </a:outerShdw>
          </a:effectLst>
        </p:spPr>
      </p:pic>
      <p:sp>
        <p:nvSpPr>
          <p:cNvPr id="9" name="Arrow: Pentagon 8">
            <a:extLst>
              <a:ext uri="{FF2B5EF4-FFF2-40B4-BE49-F238E27FC236}">
                <a16:creationId xmlns:a16="http://schemas.microsoft.com/office/drawing/2014/main" id="{44956460-BBC0-C315-EBEE-14B5DA854B29}"/>
              </a:ext>
            </a:extLst>
          </p:cNvPr>
          <p:cNvSpPr/>
          <p:nvPr/>
        </p:nvSpPr>
        <p:spPr>
          <a:xfrm rot="5400000">
            <a:off x="-282903" y="2174548"/>
            <a:ext cx="3004208" cy="1219201"/>
          </a:xfrm>
          <a:prstGeom prst="homePlate">
            <a:avLst>
              <a:gd name="adj" fmla="val 11250"/>
            </a:avLst>
          </a:prstGeom>
          <a:solidFill>
            <a:schemeClr val="accent6"/>
          </a:solidFill>
          <a:ln>
            <a:noFill/>
          </a:ln>
        </p:spPr>
        <p:style>
          <a:lnRef idx="0">
            <a:scrgbClr r="0" g="0" b="0"/>
          </a:lnRef>
          <a:fillRef idx="0">
            <a:scrgbClr r="0" g="0" b="0"/>
          </a:fillRef>
          <a:effectRef idx="0">
            <a:scrgbClr r="0" g="0" b="0"/>
          </a:effectRef>
          <a:fontRef idx="minor">
            <a:schemeClr val="lt1"/>
          </a:fontRef>
        </p:style>
        <p:txBody>
          <a:bodyPr vert="vert270" rtlCol="0" anchor="ctr"/>
          <a:lstStyle/>
          <a:p>
            <a:pPr marL="3175" algn="ctr">
              <a:spcBef>
                <a:spcPts val="600"/>
              </a:spcBef>
              <a:spcAft>
                <a:spcPts val="600"/>
              </a:spcAft>
              <a:buClr>
                <a:srgbClr val="303030">
                  <a:lumMod val="50000"/>
                  <a:lumOff val="50000"/>
                </a:srgbClr>
              </a:buClr>
            </a:pPr>
            <a:r>
              <a:rPr lang="en-US" sz="1400" b="1">
                <a:solidFill>
                  <a:schemeClr val="bg1"/>
                </a:solidFill>
                <a:cs typeface="Tahoma" pitchFamily="34" charset="0"/>
              </a:rPr>
              <a:t>Old Architecture</a:t>
            </a:r>
          </a:p>
        </p:txBody>
      </p:sp>
      <p:sp>
        <p:nvSpPr>
          <p:cNvPr id="10" name="Arrow: Chevron 9">
            <a:extLst>
              <a:ext uri="{FF2B5EF4-FFF2-40B4-BE49-F238E27FC236}">
                <a16:creationId xmlns:a16="http://schemas.microsoft.com/office/drawing/2014/main" id="{C17AE183-BB16-F1C9-996A-6322AE240BFB}"/>
              </a:ext>
            </a:extLst>
          </p:cNvPr>
          <p:cNvSpPr/>
          <p:nvPr/>
        </p:nvSpPr>
        <p:spPr>
          <a:xfrm rot="5400000">
            <a:off x="205399" y="4654854"/>
            <a:ext cx="2027599" cy="1219201"/>
          </a:xfrm>
          <a:prstGeom prst="chevron">
            <a:avLst>
              <a:gd name="adj" fmla="val 11250"/>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vert="vert270" rtlCol="0" anchor="ctr"/>
          <a:lstStyle/>
          <a:p>
            <a:pPr marL="3175" algn="ctr">
              <a:spcBef>
                <a:spcPts val="600"/>
              </a:spcBef>
              <a:spcAft>
                <a:spcPts val="600"/>
              </a:spcAft>
              <a:buClr>
                <a:srgbClr val="303030">
                  <a:lumMod val="50000"/>
                  <a:lumOff val="50000"/>
                </a:srgbClr>
              </a:buClr>
            </a:pPr>
            <a:r>
              <a:rPr lang="en-US" sz="1400" b="1">
                <a:solidFill>
                  <a:schemeClr val="bg1"/>
                </a:solidFill>
                <a:cs typeface="Tahoma" pitchFamily="34" charset="0"/>
              </a:rPr>
              <a:t>New Architecture</a:t>
            </a:r>
          </a:p>
        </p:txBody>
      </p:sp>
      <p:cxnSp>
        <p:nvCxnSpPr>
          <p:cNvPr id="11" name="Straight Connector 10">
            <a:extLst>
              <a:ext uri="{FF2B5EF4-FFF2-40B4-BE49-F238E27FC236}">
                <a16:creationId xmlns:a16="http://schemas.microsoft.com/office/drawing/2014/main" id="{C8ED7B8C-C4A9-5280-4818-0F5001F1548E}"/>
              </a:ext>
            </a:extLst>
          </p:cNvPr>
          <p:cNvCxnSpPr>
            <a:cxnSpLocks/>
          </p:cNvCxnSpPr>
          <p:nvPr/>
        </p:nvCxnSpPr>
        <p:spPr>
          <a:xfrm>
            <a:off x="1873250" y="4198674"/>
            <a:ext cx="9709150"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Tree>
    <p:custDataLst>
      <p:custData r:id="rId1"/>
    </p:custDataLst>
    <p:extLst>
      <p:ext uri="{BB962C8B-B14F-4D97-AF65-F5344CB8AC3E}">
        <p14:creationId xmlns:p14="http://schemas.microsoft.com/office/powerpoint/2010/main" val="342801667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04F4060-00D6-B918-C689-9CA14084AA58}"/>
              </a:ext>
            </a:extLst>
          </p:cNvPr>
          <p:cNvSpPr>
            <a:spLocks noGrp="1"/>
          </p:cNvSpPr>
          <p:nvPr>
            <p:ph type="title"/>
          </p:nvPr>
        </p:nvSpPr>
        <p:spPr/>
        <p:txBody>
          <a:bodyPr/>
          <a:lstStyle/>
          <a:p>
            <a:r>
              <a:rPr lang="en-US"/>
              <a:t>Response Improvisation Instances (4/4)</a:t>
            </a:r>
          </a:p>
        </p:txBody>
      </p:sp>
      <p:pic>
        <p:nvPicPr>
          <p:cNvPr id="7" name="Picture 6" descr="A screenshot of a medical test&#10;&#10;Description automatically generated">
            <a:extLst>
              <a:ext uri="{FF2B5EF4-FFF2-40B4-BE49-F238E27FC236}">
                <a16:creationId xmlns:a16="http://schemas.microsoft.com/office/drawing/2014/main" id="{90A67DDF-75B8-8690-DBB0-E59084F938F2}"/>
              </a:ext>
            </a:extLst>
          </p:cNvPr>
          <p:cNvPicPr>
            <a:picLocks noChangeAspect="1"/>
          </p:cNvPicPr>
          <p:nvPr/>
        </p:nvPicPr>
        <p:blipFill rotWithShape="1">
          <a:blip r:embed="rId3"/>
          <a:srcRect l="16" t="1799" r="298" b="-2"/>
          <a:stretch/>
        </p:blipFill>
        <p:spPr>
          <a:xfrm>
            <a:off x="3329332" y="1282044"/>
            <a:ext cx="6796987" cy="1832778"/>
          </a:xfrm>
          <a:prstGeom prst="roundRect">
            <a:avLst>
              <a:gd name="adj" fmla="val 3533"/>
            </a:avLst>
          </a:prstGeom>
          <a:solidFill>
            <a:schemeClr val="bg1"/>
          </a:solidFill>
          <a:ln>
            <a:noFill/>
          </a:ln>
          <a:effectLst>
            <a:outerShdw blurRad="63500" algn="ctr" rotWithShape="0">
              <a:prstClr val="black">
                <a:alpha val="40000"/>
              </a:prstClr>
            </a:outerShdw>
          </a:effectLst>
        </p:spPr>
      </p:pic>
      <p:pic>
        <p:nvPicPr>
          <p:cNvPr id="8" name="Picture 7" descr="A screenshot of a test&#10;&#10;Description automatically generated">
            <a:extLst>
              <a:ext uri="{FF2B5EF4-FFF2-40B4-BE49-F238E27FC236}">
                <a16:creationId xmlns:a16="http://schemas.microsoft.com/office/drawing/2014/main" id="{624BE43F-3139-22B3-D918-6ED730324AB3}"/>
              </a:ext>
            </a:extLst>
          </p:cNvPr>
          <p:cNvPicPr>
            <a:picLocks noChangeAspect="1"/>
          </p:cNvPicPr>
          <p:nvPr/>
        </p:nvPicPr>
        <p:blipFill rotWithShape="1">
          <a:blip r:embed="rId4"/>
          <a:srcRect l="256" t="-127" r="-247" b="2334"/>
          <a:stretch/>
        </p:blipFill>
        <p:spPr>
          <a:xfrm>
            <a:off x="2860527" y="3223967"/>
            <a:ext cx="7734595" cy="2865748"/>
          </a:xfrm>
          <a:prstGeom prst="roundRect">
            <a:avLst>
              <a:gd name="adj" fmla="val 3533"/>
            </a:avLst>
          </a:prstGeom>
          <a:solidFill>
            <a:schemeClr val="bg1"/>
          </a:solidFill>
          <a:ln>
            <a:noFill/>
          </a:ln>
          <a:effectLst>
            <a:outerShdw blurRad="63500" algn="ctr" rotWithShape="0">
              <a:prstClr val="black">
                <a:alpha val="40000"/>
              </a:prstClr>
            </a:outerShdw>
          </a:effectLst>
        </p:spPr>
      </p:pic>
      <p:sp>
        <p:nvSpPr>
          <p:cNvPr id="4" name="Arrow: Pentagon 3">
            <a:extLst>
              <a:ext uri="{FF2B5EF4-FFF2-40B4-BE49-F238E27FC236}">
                <a16:creationId xmlns:a16="http://schemas.microsoft.com/office/drawing/2014/main" id="{DFAAEAA0-858A-7C80-DBEC-A4FAB468C1AC}"/>
              </a:ext>
            </a:extLst>
          </p:cNvPr>
          <p:cNvSpPr/>
          <p:nvPr/>
        </p:nvSpPr>
        <p:spPr>
          <a:xfrm rot="5400000">
            <a:off x="243525" y="1648120"/>
            <a:ext cx="1951352" cy="1219201"/>
          </a:xfrm>
          <a:prstGeom prst="homePlate">
            <a:avLst>
              <a:gd name="adj" fmla="val 11250"/>
            </a:avLst>
          </a:prstGeom>
          <a:solidFill>
            <a:schemeClr val="accent6"/>
          </a:solidFill>
          <a:ln>
            <a:noFill/>
          </a:ln>
        </p:spPr>
        <p:style>
          <a:lnRef idx="0">
            <a:scrgbClr r="0" g="0" b="0"/>
          </a:lnRef>
          <a:fillRef idx="0">
            <a:scrgbClr r="0" g="0" b="0"/>
          </a:fillRef>
          <a:effectRef idx="0">
            <a:scrgbClr r="0" g="0" b="0"/>
          </a:effectRef>
          <a:fontRef idx="minor">
            <a:schemeClr val="lt1"/>
          </a:fontRef>
        </p:style>
        <p:txBody>
          <a:bodyPr vert="vert270" rtlCol="0" anchor="ctr"/>
          <a:lstStyle/>
          <a:p>
            <a:pPr marL="3175" algn="ctr">
              <a:spcBef>
                <a:spcPts val="600"/>
              </a:spcBef>
              <a:spcAft>
                <a:spcPts val="600"/>
              </a:spcAft>
              <a:buClr>
                <a:srgbClr val="303030">
                  <a:lumMod val="50000"/>
                  <a:lumOff val="50000"/>
                </a:srgbClr>
              </a:buClr>
            </a:pPr>
            <a:r>
              <a:rPr lang="en-US" sz="1400" b="1">
                <a:solidFill>
                  <a:schemeClr val="bg1"/>
                </a:solidFill>
                <a:cs typeface="Tahoma" pitchFamily="34" charset="0"/>
              </a:rPr>
              <a:t>Old Architecture</a:t>
            </a:r>
          </a:p>
        </p:txBody>
      </p:sp>
      <p:sp>
        <p:nvSpPr>
          <p:cNvPr id="5" name="Arrow: Chevron 4">
            <a:extLst>
              <a:ext uri="{FF2B5EF4-FFF2-40B4-BE49-F238E27FC236}">
                <a16:creationId xmlns:a16="http://schemas.microsoft.com/office/drawing/2014/main" id="{09869031-747B-0441-83AA-E09D53FEBA64}"/>
              </a:ext>
            </a:extLst>
          </p:cNvPr>
          <p:cNvSpPr/>
          <p:nvPr/>
        </p:nvSpPr>
        <p:spPr>
          <a:xfrm rot="5400000">
            <a:off x="-307946" y="4141510"/>
            <a:ext cx="3054287" cy="1219201"/>
          </a:xfrm>
          <a:prstGeom prst="chevron">
            <a:avLst>
              <a:gd name="adj" fmla="val 11250"/>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vert="vert270" rtlCol="0" anchor="ctr"/>
          <a:lstStyle/>
          <a:p>
            <a:pPr marL="3175" algn="ctr">
              <a:spcBef>
                <a:spcPts val="600"/>
              </a:spcBef>
              <a:spcAft>
                <a:spcPts val="600"/>
              </a:spcAft>
              <a:buClr>
                <a:srgbClr val="303030">
                  <a:lumMod val="50000"/>
                  <a:lumOff val="50000"/>
                </a:srgbClr>
              </a:buClr>
            </a:pPr>
            <a:r>
              <a:rPr lang="en-US" sz="1400" b="1">
                <a:solidFill>
                  <a:schemeClr val="bg1"/>
                </a:solidFill>
                <a:cs typeface="Tahoma" pitchFamily="34" charset="0"/>
              </a:rPr>
              <a:t>New Architecture</a:t>
            </a:r>
          </a:p>
        </p:txBody>
      </p:sp>
      <p:cxnSp>
        <p:nvCxnSpPr>
          <p:cNvPr id="6" name="Straight Connector 5">
            <a:extLst>
              <a:ext uri="{FF2B5EF4-FFF2-40B4-BE49-F238E27FC236}">
                <a16:creationId xmlns:a16="http://schemas.microsoft.com/office/drawing/2014/main" id="{82C9FA91-C16C-138F-D621-535A677461D2}"/>
              </a:ext>
            </a:extLst>
          </p:cNvPr>
          <p:cNvCxnSpPr>
            <a:cxnSpLocks/>
          </p:cNvCxnSpPr>
          <p:nvPr/>
        </p:nvCxnSpPr>
        <p:spPr>
          <a:xfrm>
            <a:off x="1873250" y="3161628"/>
            <a:ext cx="9709150"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Tree>
    <p:custDataLst>
      <p:custData r:id="rId1"/>
    </p:custDataLst>
    <p:extLst>
      <p:ext uri="{BB962C8B-B14F-4D97-AF65-F5344CB8AC3E}">
        <p14:creationId xmlns:p14="http://schemas.microsoft.com/office/powerpoint/2010/main" val="204221422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578C2C66-C0F5-EFEE-1F4A-C9C6247EABC9}"/>
              </a:ext>
            </a:extLst>
          </p:cNvPr>
          <p:cNvSpPr>
            <a:spLocks noGrp="1"/>
          </p:cNvSpPr>
          <p:nvPr>
            <p:ph type="body" sz="quarter" idx="10"/>
          </p:nvPr>
        </p:nvSpPr>
        <p:spPr>
          <a:xfrm>
            <a:off x="609600" y="1371600"/>
            <a:ext cx="10972800" cy="4401205"/>
          </a:xfrm>
        </p:spPr>
        <p:txBody>
          <a:bodyPr wrap="square">
            <a:spAutoFit/>
          </a:bodyPr>
          <a:lstStyle/>
          <a:p>
            <a:r>
              <a:rPr lang="en-US"/>
              <a:t>User Feedbacks</a:t>
            </a:r>
          </a:p>
          <a:p>
            <a:r>
              <a:rPr lang="en-US"/>
              <a:t>Resolved Issues with Latest Architecture</a:t>
            </a:r>
          </a:p>
          <a:p>
            <a:pPr lvl="1"/>
            <a:r>
              <a:rPr lang="en-US"/>
              <a:t>Issues with Examples</a:t>
            </a:r>
          </a:p>
          <a:p>
            <a:pPr lvl="1"/>
            <a:r>
              <a:rPr lang="en-US"/>
              <a:t>New architecture resolved the issue</a:t>
            </a:r>
          </a:p>
          <a:p>
            <a:pPr lvl="1"/>
            <a:r>
              <a:rPr lang="en-US"/>
              <a:t>Response Improvisation Instances	</a:t>
            </a:r>
          </a:p>
          <a:p>
            <a:r>
              <a:rPr lang="en-US" b="1"/>
              <a:t>Issues which need to be worked on </a:t>
            </a:r>
          </a:p>
          <a:p>
            <a:pPr lvl="1"/>
            <a:r>
              <a:rPr lang="en-US"/>
              <a:t>Issues with examples</a:t>
            </a:r>
          </a:p>
          <a:p>
            <a:pPr lvl="1"/>
            <a:r>
              <a:rPr lang="en-US"/>
              <a:t>Root Cause Analysis &amp; Solution</a:t>
            </a:r>
          </a:p>
          <a:p>
            <a:r>
              <a:rPr lang="en-US"/>
              <a:t>Need discussion with Medical Affairs Team on Feedbacks</a:t>
            </a:r>
          </a:p>
        </p:txBody>
      </p:sp>
      <p:sp>
        <p:nvSpPr>
          <p:cNvPr id="4" name="Title 3">
            <a:extLst>
              <a:ext uri="{FF2B5EF4-FFF2-40B4-BE49-F238E27FC236}">
                <a16:creationId xmlns:a16="http://schemas.microsoft.com/office/drawing/2014/main" id="{ED736DB7-2D74-6B6B-FF7E-6F53B395DA40}"/>
              </a:ext>
            </a:extLst>
          </p:cNvPr>
          <p:cNvSpPr>
            <a:spLocks noGrp="1"/>
          </p:cNvSpPr>
          <p:nvPr>
            <p:ph type="title"/>
          </p:nvPr>
        </p:nvSpPr>
        <p:spPr>
          <a:xfrm>
            <a:off x="609600" y="104415"/>
            <a:ext cx="10972800" cy="906738"/>
          </a:xfrm>
        </p:spPr>
        <p:txBody>
          <a:bodyPr/>
          <a:lstStyle/>
          <a:p>
            <a:r>
              <a:rPr lang="en-US"/>
              <a:t>Agenda</a:t>
            </a:r>
          </a:p>
        </p:txBody>
      </p:sp>
      <p:sp>
        <p:nvSpPr>
          <p:cNvPr id="7" name="Text Placeholder 6">
            <a:extLst>
              <a:ext uri="{FF2B5EF4-FFF2-40B4-BE49-F238E27FC236}">
                <a16:creationId xmlns:a16="http://schemas.microsoft.com/office/drawing/2014/main" id="{9C92888C-CE4D-DE6A-86AD-2AE0BD6D1F1D}"/>
              </a:ext>
            </a:extLst>
          </p:cNvPr>
          <p:cNvSpPr>
            <a:spLocks noGrp="1"/>
          </p:cNvSpPr>
          <p:nvPr>
            <p:ph type="body" sz="quarter" idx="12"/>
          </p:nvPr>
        </p:nvSpPr>
        <p:spPr>
          <a:xfrm rot="10800000">
            <a:off x="445008" y="3952131"/>
            <a:ext cx="329184" cy="329184"/>
          </a:xfrm>
        </p:spPr>
        <p:txBody>
          <a:bodyPr/>
          <a:lstStyle/>
          <a:p>
            <a:endParaRPr lang="en-IN"/>
          </a:p>
        </p:txBody>
      </p:sp>
    </p:spTree>
    <p:custDataLst>
      <p:custData r:id="rId1"/>
    </p:custDataLst>
    <p:extLst>
      <p:ext uri="{BB962C8B-B14F-4D97-AF65-F5344CB8AC3E}">
        <p14:creationId xmlns:p14="http://schemas.microsoft.com/office/powerpoint/2010/main" val="325864096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F39935-05AF-A634-27A8-499EB349F9AF}"/>
              </a:ext>
            </a:extLst>
          </p:cNvPr>
          <p:cNvSpPr>
            <a:spLocks noGrp="1"/>
          </p:cNvSpPr>
          <p:nvPr>
            <p:ph type="title"/>
          </p:nvPr>
        </p:nvSpPr>
        <p:spPr>
          <a:xfrm>
            <a:off x="609600" y="311785"/>
            <a:ext cx="10972800" cy="492443"/>
          </a:xfrm>
        </p:spPr>
        <p:txBody>
          <a:bodyPr wrap="square">
            <a:spAutoFit/>
          </a:bodyPr>
          <a:lstStyle/>
          <a:p>
            <a:r>
              <a:rPr lang="en-US"/>
              <a:t>Issue which need to worked On– Example 1</a:t>
            </a:r>
          </a:p>
        </p:txBody>
      </p:sp>
      <p:sp>
        <p:nvSpPr>
          <p:cNvPr id="4" name="Text Placeholder 3">
            <a:extLst>
              <a:ext uri="{FF2B5EF4-FFF2-40B4-BE49-F238E27FC236}">
                <a16:creationId xmlns:a16="http://schemas.microsoft.com/office/drawing/2014/main" id="{6BE7FC9A-3392-1344-BD93-493BB49841AF}"/>
              </a:ext>
            </a:extLst>
          </p:cNvPr>
          <p:cNvSpPr>
            <a:spLocks noGrp="1"/>
          </p:cNvSpPr>
          <p:nvPr>
            <p:ph type="body" sz="quarter" idx="14"/>
          </p:nvPr>
        </p:nvSpPr>
        <p:spPr>
          <a:xfrm>
            <a:off x="609600" y="6556376"/>
            <a:ext cx="10972800" cy="301625"/>
          </a:xfrm>
        </p:spPr>
        <p:txBody>
          <a:bodyPr vert="horz" lIns="91440" tIns="45720" rIns="91440" bIns="45720" rtlCol="0" anchor="t">
            <a:noAutofit/>
          </a:bodyPr>
          <a:lstStyle/>
          <a:p>
            <a:endParaRPr lang="en-US"/>
          </a:p>
          <a:p>
            <a:endParaRPr lang="en-US"/>
          </a:p>
        </p:txBody>
      </p:sp>
      <p:pic>
        <p:nvPicPr>
          <p:cNvPr id="3" name="Picture 2" descr="A screenshot of a cell phone&#10;&#10;Description automatically generated">
            <a:extLst>
              <a:ext uri="{FF2B5EF4-FFF2-40B4-BE49-F238E27FC236}">
                <a16:creationId xmlns:a16="http://schemas.microsoft.com/office/drawing/2014/main" id="{5A54BAF6-D939-3CB5-884E-6847817B03E1}"/>
              </a:ext>
            </a:extLst>
          </p:cNvPr>
          <p:cNvPicPr>
            <a:picLocks noChangeAspect="1"/>
          </p:cNvPicPr>
          <p:nvPr/>
        </p:nvPicPr>
        <p:blipFill>
          <a:blip r:embed="rId4"/>
          <a:stretch>
            <a:fillRect/>
          </a:stretch>
        </p:blipFill>
        <p:spPr>
          <a:xfrm>
            <a:off x="1208038" y="2901923"/>
            <a:ext cx="9775925" cy="3434679"/>
          </a:xfrm>
          <a:prstGeom prst="roundRect">
            <a:avLst>
              <a:gd name="adj" fmla="val 3533"/>
            </a:avLst>
          </a:prstGeom>
          <a:solidFill>
            <a:schemeClr val="bg1"/>
          </a:solidFill>
          <a:ln>
            <a:noFill/>
          </a:ln>
          <a:effectLst>
            <a:outerShdw blurRad="63500" algn="ctr" rotWithShape="0">
              <a:prstClr val="black">
                <a:alpha val="40000"/>
              </a:prstClr>
            </a:outerShdw>
          </a:effectLst>
        </p:spPr>
      </p:pic>
      <p:sp>
        <p:nvSpPr>
          <p:cNvPr id="7" name="Rectangle: Rounded Corners 6">
            <a:extLst>
              <a:ext uri="{FF2B5EF4-FFF2-40B4-BE49-F238E27FC236}">
                <a16:creationId xmlns:a16="http://schemas.microsoft.com/office/drawing/2014/main" id="{165BE0F3-951D-8DDC-3942-B36A20D79E20}"/>
              </a:ext>
            </a:extLst>
          </p:cNvPr>
          <p:cNvSpPr/>
          <p:nvPr/>
        </p:nvSpPr>
        <p:spPr>
          <a:xfrm>
            <a:off x="609600" y="1293600"/>
            <a:ext cx="5631180" cy="1307164"/>
          </a:xfrm>
          <a:prstGeom prst="roundRect">
            <a:avLst>
              <a:gd name="adj" fmla="val 5246"/>
            </a:avLst>
          </a:prstGeom>
          <a:solidFill>
            <a:schemeClr val="bg1"/>
          </a:solidFill>
          <a:ln>
            <a:noFill/>
          </a:ln>
          <a:effectLst>
            <a:outerShdw blurRad="63500" algn="ctr" rotWithShape="0">
              <a:prstClr val="black">
                <a:alpha val="25000"/>
              </a:prstClr>
            </a:outerShdw>
          </a:effectLst>
        </p:spPr>
        <p:style>
          <a:lnRef idx="0">
            <a:scrgbClr r="0" g="0" b="0"/>
          </a:lnRef>
          <a:fillRef idx="0">
            <a:scrgbClr r="0" g="0" b="0"/>
          </a:fillRef>
          <a:effectRef idx="0">
            <a:scrgbClr r="0" g="0" b="0"/>
          </a:effectRef>
          <a:fontRef idx="minor">
            <a:schemeClr val="lt1"/>
          </a:fontRef>
        </p:style>
        <p:txBody>
          <a:bodyPr rtlCol="0" anchor="ctr"/>
          <a:lstStyle/>
          <a:p>
            <a:pPr algn="ctr"/>
            <a:endParaRPr lang="en-IN"/>
          </a:p>
        </p:txBody>
      </p:sp>
      <p:sp>
        <p:nvSpPr>
          <p:cNvPr id="8" name="Rectangle: Rounded Corners 7">
            <a:extLst>
              <a:ext uri="{FF2B5EF4-FFF2-40B4-BE49-F238E27FC236}">
                <a16:creationId xmlns:a16="http://schemas.microsoft.com/office/drawing/2014/main" id="{30BC5FE5-CF25-51AA-AE3D-07948D38E876}"/>
              </a:ext>
            </a:extLst>
          </p:cNvPr>
          <p:cNvSpPr/>
          <p:nvPr/>
        </p:nvSpPr>
        <p:spPr>
          <a:xfrm>
            <a:off x="6410326" y="1293600"/>
            <a:ext cx="5172074" cy="1307164"/>
          </a:xfrm>
          <a:prstGeom prst="roundRect">
            <a:avLst>
              <a:gd name="adj" fmla="val 5246"/>
            </a:avLst>
          </a:prstGeom>
          <a:solidFill>
            <a:schemeClr val="bg1"/>
          </a:solidFill>
          <a:ln>
            <a:noFill/>
          </a:ln>
          <a:effectLst>
            <a:outerShdw blurRad="63500" algn="ctr" rotWithShape="0">
              <a:prstClr val="black">
                <a:alpha val="25000"/>
              </a:prstClr>
            </a:outerShdw>
          </a:effectLst>
        </p:spPr>
        <p:style>
          <a:lnRef idx="0">
            <a:scrgbClr r="0" g="0" b="0"/>
          </a:lnRef>
          <a:fillRef idx="0">
            <a:scrgbClr r="0" g="0" b="0"/>
          </a:fillRef>
          <a:effectRef idx="0">
            <a:scrgbClr r="0" g="0" b="0"/>
          </a:effectRef>
          <a:fontRef idx="minor">
            <a:schemeClr val="lt1"/>
          </a:fontRef>
        </p:style>
        <p:txBody>
          <a:bodyPr rtlCol="0" anchor="ctr"/>
          <a:lstStyle/>
          <a:p>
            <a:pPr algn="ctr"/>
            <a:endParaRPr lang="en-IN"/>
          </a:p>
        </p:txBody>
      </p:sp>
      <p:sp>
        <p:nvSpPr>
          <p:cNvPr id="9" name="Rectangle: Rounded Corners 8">
            <a:extLst>
              <a:ext uri="{FF2B5EF4-FFF2-40B4-BE49-F238E27FC236}">
                <a16:creationId xmlns:a16="http://schemas.microsoft.com/office/drawing/2014/main" id="{26DF36A1-B4DD-06BC-8A97-C8097422C1A0}"/>
              </a:ext>
            </a:extLst>
          </p:cNvPr>
          <p:cNvSpPr/>
          <p:nvPr/>
        </p:nvSpPr>
        <p:spPr>
          <a:xfrm>
            <a:off x="726110" y="1207724"/>
            <a:ext cx="1145552" cy="1478916"/>
          </a:xfrm>
          <a:prstGeom prst="roundRect">
            <a:avLst>
              <a:gd name="adj" fmla="val 5987"/>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en-US" sz="1600" b="1"/>
              <a:t>User Comment</a:t>
            </a:r>
          </a:p>
          <a:p>
            <a:pPr algn="ctr"/>
            <a:endParaRPr lang="en-US" sz="1600" b="1"/>
          </a:p>
          <a:p>
            <a:pPr algn="ctr"/>
            <a:endParaRPr lang="en-US" sz="1600" b="1"/>
          </a:p>
          <a:p>
            <a:pPr algn="ctr"/>
            <a:endParaRPr lang="en-US" sz="1600" b="1"/>
          </a:p>
        </p:txBody>
      </p:sp>
      <p:sp>
        <p:nvSpPr>
          <p:cNvPr id="12" name="TextBox 11">
            <a:extLst>
              <a:ext uri="{FF2B5EF4-FFF2-40B4-BE49-F238E27FC236}">
                <a16:creationId xmlns:a16="http://schemas.microsoft.com/office/drawing/2014/main" id="{21626A84-BD35-939B-A601-CF0A2C3314A5}"/>
              </a:ext>
            </a:extLst>
          </p:cNvPr>
          <p:cNvSpPr txBox="1"/>
          <p:nvPr/>
        </p:nvSpPr>
        <p:spPr>
          <a:xfrm>
            <a:off x="8213725" y="1624016"/>
            <a:ext cx="3277235" cy="646331"/>
          </a:xfrm>
          <a:prstGeom prst="rect">
            <a:avLst/>
          </a:prstGeom>
          <a:noFill/>
          <a:ln w="12700">
            <a:noFill/>
          </a:ln>
        </p:spPr>
        <p:txBody>
          <a:bodyPr wrap="square" lIns="0" tIns="0" rIns="0" bIns="0" anchor="ctr">
            <a:spAutoFit/>
          </a:bodyPr>
          <a:lstStyle>
            <a:defPPr>
              <a:defRPr lang="en-US"/>
            </a:defPPr>
            <a:lvl1pPr>
              <a:defRPr sz="1400" b="0" i="0" u="none" strike="noStrike">
                <a:effectLst/>
              </a:defRPr>
            </a:lvl1pPr>
          </a:lstStyle>
          <a:p>
            <a:r>
              <a:rPr lang="en-US"/>
              <a:t>Given responses are of different terminology which are similar words/extended words(like optic &amp; optic-x );</a:t>
            </a:r>
          </a:p>
        </p:txBody>
      </p:sp>
      <p:sp>
        <p:nvSpPr>
          <p:cNvPr id="13" name="TextBox 12">
            <a:extLst>
              <a:ext uri="{FF2B5EF4-FFF2-40B4-BE49-F238E27FC236}">
                <a16:creationId xmlns:a16="http://schemas.microsoft.com/office/drawing/2014/main" id="{79C02CA0-9AD8-6358-6D16-734186F4E33D}"/>
              </a:ext>
            </a:extLst>
          </p:cNvPr>
          <p:cNvSpPr txBox="1"/>
          <p:nvPr/>
        </p:nvSpPr>
        <p:spPr>
          <a:xfrm>
            <a:off x="1932243" y="1731738"/>
            <a:ext cx="4224718" cy="430887"/>
          </a:xfrm>
          <a:prstGeom prst="rect">
            <a:avLst/>
          </a:prstGeom>
          <a:noFill/>
          <a:ln w="12700">
            <a:noFill/>
          </a:ln>
        </p:spPr>
        <p:txBody>
          <a:bodyPr wrap="square" lIns="0" tIns="0" rIns="0" bIns="0" anchor="ctr">
            <a:spAutoFit/>
          </a:bodyPr>
          <a:lstStyle>
            <a:defPPr>
              <a:defRPr lang="en-US"/>
            </a:defPPr>
            <a:lvl1pPr>
              <a:defRPr sz="1400" b="0" i="0" u="none" strike="noStrike">
                <a:effectLst/>
              </a:defRPr>
            </a:lvl1pPr>
          </a:lstStyle>
          <a:p>
            <a:r>
              <a:rPr lang="en-US"/>
              <a:t>The first part of this answer is not for OPTIC-X. It looks like it was for OPTIC.</a:t>
            </a:r>
          </a:p>
        </p:txBody>
      </p:sp>
      <p:pic>
        <p:nvPicPr>
          <p:cNvPr id="14" name="Graphic 13">
            <a:extLst>
              <a:ext uri="{FF2B5EF4-FFF2-40B4-BE49-F238E27FC236}">
                <a16:creationId xmlns:a16="http://schemas.microsoft.com/office/drawing/2014/main" id="{395F5417-D2C3-C630-38F7-902C647408D0}"/>
              </a:ext>
            </a:extLst>
          </p:cNvPr>
          <p:cNvPicPr>
            <a:picLocks/>
          </p:cNvPicPr>
          <p:nvPr/>
        </p:nvPicPr>
        <p:blipFill>
          <a:blip r:embed="rId5">
            <a:extLst>
              <a:ext uri="{96DAC541-7B7A-43D3-8B79-37D633B846F1}">
                <asvg:svgBlip xmlns:asvg="http://schemas.microsoft.com/office/drawing/2016/SVG/main" r:embed="rId6"/>
              </a:ext>
            </a:extLst>
          </a:blip>
          <a:stretch>
            <a:fillRect/>
          </a:stretch>
        </p:blipFill>
        <p:spPr>
          <a:xfrm>
            <a:off x="940423" y="1885404"/>
            <a:ext cx="716928" cy="716926"/>
          </a:xfrm>
          <a:prstGeom prst="rect">
            <a:avLst/>
          </a:prstGeom>
        </p:spPr>
      </p:pic>
      <p:sp>
        <p:nvSpPr>
          <p:cNvPr id="11" name="Rectangle: Rounded Corners 10">
            <a:extLst>
              <a:ext uri="{FF2B5EF4-FFF2-40B4-BE49-F238E27FC236}">
                <a16:creationId xmlns:a16="http://schemas.microsoft.com/office/drawing/2014/main" id="{D787A82D-1BBD-44E3-E00C-7A60A41F2676}"/>
              </a:ext>
            </a:extLst>
          </p:cNvPr>
          <p:cNvSpPr/>
          <p:nvPr/>
        </p:nvSpPr>
        <p:spPr>
          <a:xfrm>
            <a:off x="6524625" y="1207724"/>
            <a:ext cx="1622107" cy="1478916"/>
          </a:xfrm>
          <a:prstGeom prst="roundRect">
            <a:avLst>
              <a:gd name="adj" fmla="val 5987"/>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en-US" sz="1600" b="1"/>
              <a:t>Problem Identified</a:t>
            </a:r>
          </a:p>
          <a:p>
            <a:pPr algn="ctr"/>
            <a:endParaRPr lang="en-US" sz="1600" b="1"/>
          </a:p>
          <a:p>
            <a:pPr algn="ctr"/>
            <a:endParaRPr lang="en-US" sz="1600" b="1"/>
          </a:p>
          <a:p>
            <a:pPr algn="ctr"/>
            <a:endParaRPr lang="en-US" sz="1600" b="1"/>
          </a:p>
        </p:txBody>
      </p:sp>
      <p:pic>
        <p:nvPicPr>
          <p:cNvPr id="15" name="Graphic 14">
            <a:extLst>
              <a:ext uri="{FF2B5EF4-FFF2-40B4-BE49-F238E27FC236}">
                <a16:creationId xmlns:a16="http://schemas.microsoft.com/office/drawing/2014/main" id="{5743DF82-19E9-0B66-07A8-2665F2E7E3DA}"/>
              </a:ext>
            </a:extLst>
          </p:cNvPr>
          <p:cNvPicPr>
            <a:picLocks/>
          </p:cNvPicPr>
          <p:nvPr/>
        </p:nvPicPr>
        <p:blipFill>
          <a:blip r:embed="rId7">
            <a:extLst>
              <a:ext uri="{96DAC541-7B7A-43D3-8B79-37D633B846F1}">
                <asvg:svgBlip xmlns:asvg="http://schemas.microsoft.com/office/drawing/2016/SVG/main" r:embed="rId8"/>
              </a:ext>
            </a:extLst>
          </a:blip>
          <a:stretch>
            <a:fillRect/>
          </a:stretch>
        </p:blipFill>
        <p:spPr>
          <a:xfrm>
            <a:off x="6938435" y="1846625"/>
            <a:ext cx="794486" cy="794484"/>
          </a:xfrm>
          <a:prstGeom prst="rect">
            <a:avLst/>
          </a:prstGeom>
        </p:spPr>
      </p:pic>
    </p:spTree>
    <p:custDataLst>
      <p:custData r:id="rId1"/>
    </p:custDataLst>
    <p:extLst>
      <p:ext uri="{BB962C8B-B14F-4D97-AF65-F5344CB8AC3E}">
        <p14:creationId xmlns:p14="http://schemas.microsoft.com/office/powerpoint/2010/main" val="213823777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F39935-05AF-A634-27A8-499EB349F9AF}"/>
              </a:ext>
            </a:extLst>
          </p:cNvPr>
          <p:cNvSpPr>
            <a:spLocks noGrp="1"/>
          </p:cNvSpPr>
          <p:nvPr>
            <p:ph type="title"/>
          </p:nvPr>
        </p:nvSpPr>
        <p:spPr>
          <a:xfrm>
            <a:off x="609600" y="311563"/>
            <a:ext cx="10972800" cy="492443"/>
          </a:xfrm>
        </p:spPr>
        <p:txBody>
          <a:bodyPr wrap="square">
            <a:spAutoFit/>
          </a:bodyPr>
          <a:lstStyle/>
          <a:p>
            <a:r>
              <a:rPr lang="en-US"/>
              <a:t>Example 2</a:t>
            </a:r>
          </a:p>
        </p:txBody>
      </p:sp>
      <p:sp>
        <p:nvSpPr>
          <p:cNvPr id="4" name="Text Placeholder 3">
            <a:extLst>
              <a:ext uri="{FF2B5EF4-FFF2-40B4-BE49-F238E27FC236}">
                <a16:creationId xmlns:a16="http://schemas.microsoft.com/office/drawing/2014/main" id="{6BE7FC9A-3392-1344-BD93-493BB49841AF}"/>
              </a:ext>
            </a:extLst>
          </p:cNvPr>
          <p:cNvSpPr>
            <a:spLocks noGrp="1"/>
          </p:cNvSpPr>
          <p:nvPr>
            <p:ph type="body" sz="quarter" idx="14"/>
          </p:nvPr>
        </p:nvSpPr>
        <p:spPr/>
        <p:txBody>
          <a:bodyPr vert="horz" lIns="91440" tIns="45720" rIns="91440" bIns="45720" rtlCol="0" anchor="t">
            <a:noAutofit/>
          </a:bodyPr>
          <a:lstStyle/>
          <a:p>
            <a:endParaRPr lang="en-US"/>
          </a:p>
          <a:p>
            <a:pPr>
              <a:buClr>
                <a:srgbClr val="767171"/>
              </a:buClr>
            </a:pPr>
            <a:endParaRPr lang="en-US"/>
          </a:p>
        </p:txBody>
      </p:sp>
      <p:pic>
        <p:nvPicPr>
          <p:cNvPr id="5" name="Picture 4" descr="A screenshot of a computer&#10;&#10;Description automatically generated">
            <a:extLst>
              <a:ext uri="{FF2B5EF4-FFF2-40B4-BE49-F238E27FC236}">
                <a16:creationId xmlns:a16="http://schemas.microsoft.com/office/drawing/2014/main" id="{77B2C34F-8D4E-3779-CC73-79E29610CBFC}"/>
              </a:ext>
            </a:extLst>
          </p:cNvPr>
          <p:cNvPicPr>
            <a:picLocks noChangeAspect="1"/>
          </p:cNvPicPr>
          <p:nvPr/>
        </p:nvPicPr>
        <p:blipFill>
          <a:blip r:embed="rId4"/>
          <a:stretch>
            <a:fillRect/>
          </a:stretch>
        </p:blipFill>
        <p:spPr>
          <a:xfrm>
            <a:off x="842920" y="3079148"/>
            <a:ext cx="10506161" cy="3120573"/>
          </a:xfrm>
          <a:prstGeom prst="roundRect">
            <a:avLst>
              <a:gd name="adj" fmla="val 3533"/>
            </a:avLst>
          </a:prstGeom>
          <a:solidFill>
            <a:schemeClr val="bg1"/>
          </a:solidFill>
          <a:ln>
            <a:noFill/>
          </a:ln>
          <a:effectLst>
            <a:outerShdw blurRad="63500" algn="ctr" rotWithShape="0">
              <a:prstClr val="black">
                <a:alpha val="40000"/>
              </a:prstClr>
            </a:outerShdw>
          </a:effectLst>
        </p:spPr>
      </p:pic>
      <p:sp>
        <p:nvSpPr>
          <p:cNvPr id="3" name="Rectangle: Rounded Corners 2">
            <a:extLst>
              <a:ext uri="{FF2B5EF4-FFF2-40B4-BE49-F238E27FC236}">
                <a16:creationId xmlns:a16="http://schemas.microsoft.com/office/drawing/2014/main" id="{327E90A3-81CC-8593-91C4-E1F4FDFEF8A0}"/>
              </a:ext>
            </a:extLst>
          </p:cNvPr>
          <p:cNvSpPr/>
          <p:nvPr/>
        </p:nvSpPr>
        <p:spPr>
          <a:xfrm>
            <a:off x="609600" y="1293600"/>
            <a:ext cx="5631180" cy="1307164"/>
          </a:xfrm>
          <a:prstGeom prst="roundRect">
            <a:avLst>
              <a:gd name="adj" fmla="val 5246"/>
            </a:avLst>
          </a:prstGeom>
          <a:solidFill>
            <a:schemeClr val="bg1"/>
          </a:solidFill>
          <a:ln>
            <a:noFill/>
          </a:ln>
          <a:effectLst>
            <a:outerShdw blurRad="63500" algn="ctr" rotWithShape="0">
              <a:prstClr val="black">
                <a:alpha val="25000"/>
              </a:prstClr>
            </a:outerShdw>
          </a:effectLst>
        </p:spPr>
        <p:style>
          <a:lnRef idx="0">
            <a:scrgbClr r="0" g="0" b="0"/>
          </a:lnRef>
          <a:fillRef idx="0">
            <a:scrgbClr r="0" g="0" b="0"/>
          </a:fillRef>
          <a:effectRef idx="0">
            <a:scrgbClr r="0" g="0" b="0"/>
          </a:effectRef>
          <a:fontRef idx="minor">
            <a:schemeClr val="lt1"/>
          </a:fontRef>
        </p:style>
        <p:txBody>
          <a:bodyPr rtlCol="0" anchor="ctr"/>
          <a:lstStyle/>
          <a:p>
            <a:pPr algn="ctr"/>
            <a:endParaRPr lang="en-IN"/>
          </a:p>
        </p:txBody>
      </p:sp>
      <p:sp>
        <p:nvSpPr>
          <p:cNvPr id="6" name="Rectangle: Rounded Corners 5">
            <a:extLst>
              <a:ext uri="{FF2B5EF4-FFF2-40B4-BE49-F238E27FC236}">
                <a16:creationId xmlns:a16="http://schemas.microsoft.com/office/drawing/2014/main" id="{620172CA-D638-C992-F780-5FC67542B85A}"/>
              </a:ext>
            </a:extLst>
          </p:cNvPr>
          <p:cNvSpPr/>
          <p:nvPr/>
        </p:nvSpPr>
        <p:spPr>
          <a:xfrm>
            <a:off x="6410326" y="1293600"/>
            <a:ext cx="5172074" cy="1307164"/>
          </a:xfrm>
          <a:prstGeom prst="roundRect">
            <a:avLst>
              <a:gd name="adj" fmla="val 5246"/>
            </a:avLst>
          </a:prstGeom>
          <a:solidFill>
            <a:schemeClr val="bg1"/>
          </a:solidFill>
          <a:ln>
            <a:noFill/>
          </a:ln>
          <a:effectLst>
            <a:outerShdw blurRad="63500" algn="ctr" rotWithShape="0">
              <a:prstClr val="black">
                <a:alpha val="25000"/>
              </a:prstClr>
            </a:outerShdw>
          </a:effectLst>
        </p:spPr>
        <p:style>
          <a:lnRef idx="0">
            <a:scrgbClr r="0" g="0" b="0"/>
          </a:lnRef>
          <a:fillRef idx="0">
            <a:scrgbClr r="0" g="0" b="0"/>
          </a:fillRef>
          <a:effectRef idx="0">
            <a:scrgbClr r="0" g="0" b="0"/>
          </a:effectRef>
          <a:fontRef idx="minor">
            <a:schemeClr val="lt1"/>
          </a:fontRef>
        </p:style>
        <p:txBody>
          <a:bodyPr rtlCol="0" anchor="ctr"/>
          <a:lstStyle/>
          <a:p>
            <a:pPr algn="ctr"/>
            <a:endParaRPr lang="en-IN"/>
          </a:p>
        </p:txBody>
      </p:sp>
      <p:sp>
        <p:nvSpPr>
          <p:cNvPr id="7" name="Rectangle: Rounded Corners 6">
            <a:extLst>
              <a:ext uri="{FF2B5EF4-FFF2-40B4-BE49-F238E27FC236}">
                <a16:creationId xmlns:a16="http://schemas.microsoft.com/office/drawing/2014/main" id="{0BF98CE0-93A1-0830-7366-F0D2D8232642}"/>
              </a:ext>
            </a:extLst>
          </p:cNvPr>
          <p:cNvSpPr/>
          <p:nvPr/>
        </p:nvSpPr>
        <p:spPr>
          <a:xfrm>
            <a:off x="726110" y="1207724"/>
            <a:ext cx="1145552" cy="1478916"/>
          </a:xfrm>
          <a:prstGeom prst="roundRect">
            <a:avLst>
              <a:gd name="adj" fmla="val 5987"/>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en-US" sz="1600" b="1"/>
              <a:t>User Comment</a:t>
            </a:r>
          </a:p>
          <a:p>
            <a:pPr algn="ctr"/>
            <a:endParaRPr lang="en-US" sz="1600" b="1"/>
          </a:p>
          <a:p>
            <a:pPr algn="ctr"/>
            <a:endParaRPr lang="en-US" sz="1600" b="1"/>
          </a:p>
          <a:p>
            <a:pPr algn="ctr"/>
            <a:endParaRPr lang="en-US" sz="1600" b="1"/>
          </a:p>
        </p:txBody>
      </p:sp>
      <p:sp>
        <p:nvSpPr>
          <p:cNvPr id="8" name="TextBox 7">
            <a:extLst>
              <a:ext uri="{FF2B5EF4-FFF2-40B4-BE49-F238E27FC236}">
                <a16:creationId xmlns:a16="http://schemas.microsoft.com/office/drawing/2014/main" id="{1FB684D5-0C23-371B-90B6-41143695646C}"/>
              </a:ext>
            </a:extLst>
          </p:cNvPr>
          <p:cNvSpPr txBox="1"/>
          <p:nvPr/>
        </p:nvSpPr>
        <p:spPr>
          <a:xfrm>
            <a:off x="8213725" y="1408573"/>
            <a:ext cx="3277235" cy="1077218"/>
          </a:xfrm>
          <a:prstGeom prst="rect">
            <a:avLst/>
          </a:prstGeom>
          <a:noFill/>
          <a:ln w="12700">
            <a:noFill/>
          </a:ln>
        </p:spPr>
        <p:txBody>
          <a:bodyPr wrap="square" lIns="0" tIns="0" rIns="0" bIns="0" anchor="ctr">
            <a:spAutoFit/>
          </a:bodyPr>
          <a:lstStyle>
            <a:defPPr>
              <a:defRPr lang="en-US"/>
            </a:defPPr>
            <a:lvl1pPr>
              <a:defRPr sz="1400" b="0" i="0" u="none" strike="noStrike">
                <a:effectLst/>
              </a:defRPr>
            </a:lvl1pPr>
          </a:lstStyle>
          <a:p>
            <a:pPr marL="228600" indent="-225425">
              <a:buClr>
                <a:schemeClr val="bg2">
                  <a:lumMod val="50000"/>
                </a:schemeClr>
              </a:buClr>
              <a:buSzPct val="100000"/>
              <a:buFont typeface="Arial" panose="020B0604020202020204" pitchFamily="34" charset="0"/>
              <a:buChar char="•"/>
            </a:pPr>
            <a:r>
              <a:rPr lang="en-US">
                <a:solidFill>
                  <a:srgbClr val="304659"/>
                </a:solidFill>
                <a:cs typeface="Tahoma" pitchFamily="34" charset="0"/>
              </a:rPr>
              <a:t>Incorrect response generated</a:t>
            </a:r>
          </a:p>
          <a:p>
            <a:pPr marL="228600" indent="-225425">
              <a:buClr>
                <a:schemeClr val="bg2">
                  <a:lumMod val="50000"/>
                </a:schemeClr>
              </a:buClr>
              <a:buSzPct val="100000"/>
              <a:buFont typeface="Arial" panose="020B0604020202020204" pitchFamily="34" charset="0"/>
              <a:buChar char="•"/>
            </a:pPr>
            <a:r>
              <a:rPr lang="en-US">
                <a:solidFill>
                  <a:srgbClr val="304659"/>
                </a:solidFill>
                <a:cs typeface="Tahoma" pitchFamily="34" charset="0"/>
              </a:rPr>
              <a:t>the content might not be available in knowledgebase</a:t>
            </a:r>
          </a:p>
          <a:p>
            <a:pPr marL="228600" indent="-225425">
              <a:buClr>
                <a:schemeClr val="bg2">
                  <a:lumMod val="50000"/>
                </a:schemeClr>
              </a:buClr>
              <a:buSzPct val="100000"/>
              <a:buFont typeface="Arial" panose="020B0604020202020204" pitchFamily="34" charset="0"/>
              <a:buChar char="•"/>
            </a:pPr>
            <a:r>
              <a:rPr lang="en-US">
                <a:solidFill>
                  <a:srgbClr val="304659"/>
                </a:solidFill>
                <a:cs typeface="Tahoma" pitchFamily="34" charset="0"/>
              </a:rPr>
              <a:t>Incorrect response generated due to chunk searching</a:t>
            </a:r>
          </a:p>
        </p:txBody>
      </p:sp>
      <p:sp>
        <p:nvSpPr>
          <p:cNvPr id="9" name="TextBox 8">
            <a:extLst>
              <a:ext uri="{FF2B5EF4-FFF2-40B4-BE49-F238E27FC236}">
                <a16:creationId xmlns:a16="http://schemas.microsoft.com/office/drawing/2014/main" id="{A8764802-6463-9FED-D301-0A3E1D57B9AE}"/>
              </a:ext>
            </a:extLst>
          </p:cNvPr>
          <p:cNvSpPr txBox="1"/>
          <p:nvPr/>
        </p:nvSpPr>
        <p:spPr>
          <a:xfrm>
            <a:off x="1932243" y="1839459"/>
            <a:ext cx="4224718" cy="215444"/>
          </a:xfrm>
          <a:prstGeom prst="rect">
            <a:avLst/>
          </a:prstGeom>
          <a:noFill/>
          <a:ln w="12700">
            <a:noFill/>
          </a:ln>
        </p:spPr>
        <p:txBody>
          <a:bodyPr wrap="square" lIns="0" tIns="0" rIns="0" bIns="0" anchor="ctr">
            <a:spAutoFit/>
          </a:bodyPr>
          <a:lstStyle>
            <a:defPPr>
              <a:defRPr lang="en-US"/>
            </a:defPPr>
            <a:lvl1pPr>
              <a:defRPr sz="1400" b="0" i="0" u="none" strike="noStrike">
                <a:effectLst/>
              </a:defRPr>
            </a:lvl1pPr>
          </a:lstStyle>
          <a:p>
            <a:r>
              <a:rPr lang="en-US"/>
              <a:t>This answer is wrong</a:t>
            </a:r>
          </a:p>
        </p:txBody>
      </p:sp>
      <p:pic>
        <p:nvPicPr>
          <p:cNvPr id="11" name="Graphic 10">
            <a:extLst>
              <a:ext uri="{FF2B5EF4-FFF2-40B4-BE49-F238E27FC236}">
                <a16:creationId xmlns:a16="http://schemas.microsoft.com/office/drawing/2014/main" id="{9F3B448E-F103-9740-AC0C-0AA1B074AECF}"/>
              </a:ext>
            </a:extLst>
          </p:cNvPr>
          <p:cNvPicPr>
            <a:picLocks/>
          </p:cNvPicPr>
          <p:nvPr/>
        </p:nvPicPr>
        <p:blipFill>
          <a:blip r:embed="rId5">
            <a:extLst>
              <a:ext uri="{96DAC541-7B7A-43D3-8B79-37D633B846F1}">
                <asvg:svgBlip xmlns:asvg="http://schemas.microsoft.com/office/drawing/2016/SVG/main" r:embed="rId6"/>
              </a:ext>
            </a:extLst>
          </a:blip>
          <a:stretch>
            <a:fillRect/>
          </a:stretch>
        </p:blipFill>
        <p:spPr>
          <a:xfrm>
            <a:off x="940423" y="1885404"/>
            <a:ext cx="716928" cy="716926"/>
          </a:xfrm>
          <a:prstGeom prst="rect">
            <a:avLst/>
          </a:prstGeom>
        </p:spPr>
      </p:pic>
      <p:sp>
        <p:nvSpPr>
          <p:cNvPr id="12" name="Rectangle: Rounded Corners 11">
            <a:extLst>
              <a:ext uri="{FF2B5EF4-FFF2-40B4-BE49-F238E27FC236}">
                <a16:creationId xmlns:a16="http://schemas.microsoft.com/office/drawing/2014/main" id="{19C0C884-3059-4215-650A-8F27A7C3DD77}"/>
              </a:ext>
            </a:extLst>
          </p:cNvPr>
          <p:cNvSpPr/>
          <p:nvPr/>
        </p:nvSpPr>
        <p:spPr>
          <a:xfrm>
            <a:off x="6524625" y="1207724"/>
            <a:ext cx="1622107" cy="1478916"/>
          </a:xfrm>
          <a:prstGeom prst="roundRect">
            <a:avLst>
              <a:gd name="adj" fmla="val 5987"/>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en-US" sz="1600" b="1"/>
              <a:t>Problem Identified</a:t>
            </a:r>
          </a:p>
          <a:p>
            <a:pPr algn="ctr"/>
            <a:endParaRPr lang="en-US" sz="1600" b="1"/>
          </a:p>
          <a:p>
            <a:pPr algn="ctr"/>
            <a:endParaRPr lang="en-US" sz="1600" b="1"/>
          </a:p>
          <a:p>
            <a:pPr algn="ctr"/>
            <a:endParaRPr lang="en-US" sz="1600" b="1"/>
          </a:p>
        </p:txBody>
      </p:sp>
      <p:pic>
        <p:nvPicPr>
          <p:cNvPr id="13" name="Graphic 12">
            <a:extLst>
              <a:ext uri="{FF2B5EF4-FFF2-40B4-BE49-F238E27FC236}">
                <a16:creationId xmlns:a16="http://schemas.microsoft.com/office/drawing/2014/main" id="{49A33EAF-4687-860D-86D1-CB0FB23BE9A7}"/>
              </a:ext>
            </a:extLst>
          </p:cNvPr>
          <p:cNvPicPr>
            <a:picLocks/>
          </p:cNvPicPr>
          <p:nvPr/>
        </p:nvPicPr>
        <p:blipFill>
          <a:blip r:embed="rId7">
            <a:extLst>
              <a:ext uri="{96DAC541-7B7A-43D3-8B79-37D633B846F1}">
                <asvg:svgBlip xmlns:asvg="http://schemas.microsoft.com/office/drawing/2016/SVG/main" r:embed="rId8"/>
              </a:ext>
            </a:extLst>
          </a:blip>
          <a:stretch>
            <a:fillRect/>
          </a:stretch>
        </p:blipFill>
        <p:spPr>
          <a:xfrm>
            <a:off x="6938435" y="1846625"/>
            <a:ext cx="794486" cy="794484"/>
          </a:xfrm>
          <a:prstGeom prst="rect">
            <a:avLst/>
          </a:prstGeom>
        </p:spPr>
      </p:pic>
    </p:spTree>
    <p:custDataLst>
      <p:custData r:id="rId1"/>
    </p:custDataLst>
    <p:extLst>
      <p:ext uri="{BB962C8B-B14F-4D97-AF65-F5344CB8AC3E}">
        <p14:creationId xmlns:p14="http://schemas.microsoft.com/office/powerpoint/2010/main" val="69627125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F39935-05AF-A634-27A8-499EB349F9AF}"/>
              </a:ext>
            </a:extLst>
          </p:cNvPr>
          <p:cNvSpPr>
            <a:spLocks noGrp="1"/>
          </p:cNvSpPr>
          <p:nvPr>
            <p:ph type="title"/>
          </p:nvPr>
        </p:nvSpPr>
        <p:spPr>
          <a:xfrm>
            <a:off x="609600" y="311785"/>
            <a:ext cx="10972800" cy="492443"/>
          </a:xfrm>
        </p:spPr>
        <p:txBody>
          <a:bodyPr wrap="square">
            <a:spAutoFit/>
          </a:bodyPr>
          <a:lstStyle/>
          <a:p>
            <a:r>
              <a:rPr lang="en-US"/>
              <a:t>Example 3</a:t>
            </a:r>
          </a:p>
        </p:txBody>
      </p:sp>
      <p:sp>
        <p:nvSpPr>
          <p:cNvPr id="4" name="Text Placeholder 3">
            <a:extLst>
              <a:ext uri="{FF2B5EF4-FFF2-40B4-BE49-F238E27FC236}">
                <a16:creationId xmlns:a16="http://schemas.microsoft.com/office/drawing/2014/main" id="{6BE7FC9A-3392-1344-BD93-493BB49841AF}"/>
              </a:ext>
            </a:extLst>
          </p:cNvPr>
          <p:cNvSpPr>
            <a:spLocks noGrp="1"/>
          </p:cNvSpPr>
          <p:nvPr>
            <p:ph type="body" sz="quarter" idx="14"/>
          </p:nvPr>
        </p:nvSpPr>
        <p:spPr>
          <a:xfrm>
            <a:off x="609600" y="6556376"/>
            <a:ext cx="10972800" cy="301625"/>
          </a:xfrm>
        </p:spPr>
        <p:txBody>
          <a:bodyPr vert="horz" lIns="91440" tIns="45720" rIns="91440" bIns="45720" rtlCol="0" anchor="t">
            <a:noAutofit/>
          </a:bodyPr>
          <a:lstStyle/>
          <a:p>
            <a:endParaRPr lang="en-US"/>
          </a:p>
          <a:p>
            <a:endParaRPr lang="en-US"/>
          </a:p>
        </p:txBody>
      </p:sp>
      <p:pic>
        <p:nvPicPr>
          <p:cNvPr id="3" name="Picture 2" descr="A screenshot of a medical document&#10;&#10;Description automatically generated">
            <a:extLst>
              <a:ext uri="{FF2B5EF4-FFF2-40B4-BE49-F238E27FC236}">
                <a16:creationId xmlns:a16="http://schemas.microsoft.com/office/drawing/2014/main" id="{71C94A1B-A3E5-7F41-A031-5E9BC35B99D6}"/>
              </a:ext>
            </a:extLst>
          </p:cNvPr>
          <p:cNvPicPr>
            <a:picLocks noChangeAspect="1"/>
          </p:cNvPicPr>
          <p:nvPr/>
        </p:nvPicPr>
        <p:blipFill>
          <a:blip r:embed="rId4"/>
          <a:stretch>
            <a:fillRect/>
          </a:stretch>
        </p:blipFill>
        <p:spPr>
          <a:xfrm>
            <a:off x="1885188" y="2912444"/>
            <a:ext cx="8421624" cy="3608648"/>
          </a:xfrm>
          <a:prstGeom prst="roundRect">
            <a:avLst>
              <a:gd name="adj" fmla="val 3533"/>
            </a:avLst>
          </a:prstGeom>
          <a:solidFill>
            <a:schemeClr val="bg1"/>
          </a:solidFill>
          <a:ln>
            <a:noFill/>
          </a:ln>
          <a:effectLst>
            <a:outerShdw blurRad="63500" algn="ctr" rotWithShape="0">
              <a:prstClr val="black">
                <a:alpha val="40000"/>
              </a:prstClr>
            </a:outerShdw>
          </a:effectLst>
        </p:spPr>
      </p:pic>
      <p:sp>
        <p:nvSpPr>
          <p:cNvPr id="5" name="Rectangle: Rounded Corners 4">
            <a:extLst>
              <a:ext uri="{FF2B5EF4-FFF2-40B4-BE49-F238E27FC236}">
                <a16:creationId xmlns:a16="http://schemas.microsoft.com/office/drawing/2014/main" id="{14170532-82E7-8B98-7EA9-BB93D2A522B5}"/>
              </a:ext>
            </a:extLst>
          </p:cNvPr>
          <p:cNvSpPr/>
          <p:nvPr/>
        </p:nvSpPr>
        <p:spPr>
          <a:xfrm>
            <a:off x="609600" y="1293600"/>
            <a:ext cx="5631180" cy="1307164"/>
          </a:xfrm>
          <a:prstGeom prst="roundRect">
            <a:avLst>
              <a:gd name="adj" fmla="val 5246"/>
            </a:avLst>
          </a:prstGeom>
          <a:solidFill>
            <a:schemeClr val="bg1"/>
          </a:solidFill>
          <a:ln>
            <a:noFill/>
          </a:ln>
          <a:effectLst>
            <a:outerShdw blurRad="63500" algn="ctr" rotWithShape="0">
              <a:prstClr val="black">
                <a:alpha val="25000"/>
              </a:prstClr>
            </a:outerShdw>
          </a:effectLst>
        </p:spPr>
        <p:style>
          <a:lnRef idx="0">
            <a:scrgbClr r="0" g="0" b="0"/>
          </a:lnRef>
          <a:fillRef idx="0">
            <a:scrgbClr r="0" g="0" b="0"/>
          </a:fillRef>
          <a:effectRef idx="0">
            <a:scrgbClr r="0" g="0" b="0"/>
          </a:effectRef>
          <a:fontRef idx="minor">
            <a:schemeClr val="lt1"/>
          </a:fontRef>
        </p:style>
        <p:txBody>
          <a:bodyPr rtlCol="0" anchor="ctr"/>
          <a:lstStyle/>
          <a:p>
            <a:pPr algn="ctr"/>
            <a:endParaRPr lang="en-IN"/>
          </a:p>
        </p:txBody>
      </p:sp>
      <p:sp>
        <p:nvSpPr>
          <p:cNvPr id="6" name="Rectangle: Rounded Corners 5">
            <a:extLst>
              <a:ext uri="{FF2B5EF4-FFF2-40B4-BE49-F238E27FC236}">
                <a16:creationId xmlns:a16="http://schemas.microsoft.com/office/drawing/2014/main" id="{8C5FC258-E315-FD3B-B4F8-0D07D697420E}"/>
              </a:ext>
            </a:extLst>
          </p:cNvPr>
          <p:cNvSpPr/>
          <p:nvPr/>
        </p:nvSpPr>
        <p:spPr>
          <a:xfrm>
            <a:off x="6410326" y="1293600"/>
            <a:ext cx="5172074" cy="1307164"/>
          </a:xfrm>
          <a:prstGeom prst="roundRect">
            <a:avLst>
              <a:gd name="adj" fmla="val 5246"/>
            </a:avLst>
          </a:prstGeom>
          <a:solidFill>
            <a:schemeClr val="bg1"/>
          </a:solidFill>
          <a:ln>
            <a:noFill/>
          </a:ln>
          <a:effectLst>
            <a:outerShdw blurRad="63500" algn="ctr" rotWithShape="0">
              <a:prstClr val="black">
                <a:alpha val="25000"/>
              </a:prstClr>
            </a:outerShdw>
          </a:effectLst>
        </p:spPr>
        <p:style>
          <a:lnRef idx="0">
            <a:scrgbClr r="0" g="0" b="0"/>
          </a:lnRef>
          <a:fillRef idx="0">
            <a:scrgbClr r="0" g="0" b="0"/>
          </a:fillRef>
          <a:effectRef idx="0">
            <a:scrgbClr r="0" g="0" b="0"/>
          </a:effectRef>
          <a:fontRef idx="minor">
            <a:schemeClr val="lt1"/>
          </a:fontRef>
        </p:style>
        <p:txBody>
          <a:bodyPr rtlCol="0" anchor="ctr"/>
          <a:lstStyle/>
          <a:p>
            <a:pPr algn="ctr"/>
            <a:endParaRPr lang="en-IN"/>
          </a:p>
        </p:txBody>
      </p:sp>
      <p:sp>
        <p:nvSpPr>
          <p:cNvPr id="7" name="Rectangle: Rounded Corners 6">
            <a:extLst>
              <a:ext uri="{FF2B5EF4-FFF2-40B4-BE49-F238E27FC236}">
                <a16:creationId xmlns:a16="http://schemas.microsoft.com/office/drawing/2014/main" id="{59BEEF01-A1C1-D5A9-2C77-3463D0C500A3}"/>
              </a:ext>
            </a:extLst>
          </p:cNvPr>
          <p:cNvSpPr/>
          <p:nvPr/>
        </p:nvSpPr>
        <p:spPr>
          <a:xfrm>
            <a:off x="726110" y="1207724"/>
            <a:ext cx="1145552" cy="1478916"/>
          </a:xfrm>
          <a:prstGeom prst="roundRect">
            <a:avLst>
              <a:gd name="adj" fmla="val 5987"/>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en-US" sz="1600" b="1"/>
              <a:t>User Comment</a:t>
            </a:r>
          </a:p>
          <a:p>
            <a:pPr algn="ctr"/>
            <a:endParaRPr lang="en-US" sz="1600" b="1"/>
          </a:p>
          <a:p>
            <a:pPr algn="ctr"/>
            <a:endParaRPr lang="en-US" sz="1600" b="1"/>
          </a:p>
          <a:p>
            <a:pPr algn="ctr"/>
            <a:endParaRPr lang="en-US" sz="1600" b="1"/>
          </a:p>
        </p:txBody>
      </p:sp>
      <p:sp>
        <p:nvSpPr>
          <p:cNvPr id="8" name="TextBox 7">
            <a:extLst>
              <a:ext uri="{FF2B5EF4-FFF2-40B4-BE49-F238E27FC236}">
                <a16:creationId xmlns:a16="http://schemas.microsoft.com/office/drawing/2014/main" id="{A6E25AE2-8116-DEBB-62B7-849243DE3C07}"/>
              </a:ext>
            </a:extLst>
          </p:cNvPr>
          <p:cNvSpPr txBox="1"/>
          <p:nvPr/>
        </p:nvSpPr>
        <p:spPr>
          <a:xfrm>
            <a:off x="8213725" y="1439350"/>
            <a:ext cx="3277235" cy="1015663"/>
          </a:xfrm>
          <a:prstGeom prst="rect">
            <a:avLst/>
          </a:prstGeom>
          <a:noFill/>
          <a:ln w="12700">
            <a:noFill/>
          </a:ln>
        </p:spPr>
        <p:txBody>
          <a:bodyPr wrap="square" lIns="0" tIns="0" rIns="0" bIns="0" anchor="ctr">
            <a:spAutoFit/>
          </a:bodyPr>
          <a:lstStyle>
            <a:defPPr>
              <a:defRPr lang="en-US"/>
            </a:defPPr>
            <a:lvl1pPr marL="228600" indent="-225425">
              <a:buClr>
                <a:schemeClr val="bg2">
                  <a:lumMod val="50000"/>
                </a:schemeClr>
              </a:buClr>
              <a:buSzPct val="100000"/>
              <a:buFont typeface="Arial" panose="020B0604020202020204" pitchFamily="34" charset="0"/>
              <a:buChar char="•"/>
              <a:defRPr sz="1400" b="0" i="0" u="none" strike="noStrike">
                <a:solidFill>
                  <a:srgbClr val="304659"/>
                </a:solidFill>
                <a:effectLst/>
                <a:cs typeface="Tahoma" pitchFamily="34" charset="0"/>
              </a:defRPr>
            </a:lvl1pPr>
          </a:lstStyle>
          <a:p>
            <a:r>
              <a:rPr lang="en-US"/>
              <a:t>Some points are not relevant</a:t>
            </a:r>
          </a:p>
          <a:p>
            <a:r>
              <a:rPr lang="en-US"/>
              <a:t>Few irrelevant pointers are coming in the response, which are due to lesser similarity score threshold</a:t>
            </a:r>
          </a:p>
        </p:txBody>
      </p:sp>
      <p:sp>
        <p:nvSpPr>
          <p:cNvPr id="9" name="TextBox 8">
            <a:extLst>
              <a:ext uri="{FF2B5EF4-FFF2-40B4-BE49-F238E27FC236}">
                <a16:creationId xmlns:a16="http://schemas.microsoft.com/office/drawing/2014/main" id="{B8BA9A63-D212-942F-3A0F-8DE86F8C8C81}"/>
              </a:ext>
            </a:extLst>
          </p:cNvPr>
          <p:cNvSpPr txBox="1"/>
          <p:nvPr/>
        </p:nvSpPr>
        <p:spPr>
          <a:xfrm>
            <a:off x="1932243" y="1516294"/>
            <a:ext cx="4224718" cy="861774"/>
          </a:xfrm>
          <a:prstGeom prst="rect">
            <a:avLst/>
          </a:prstGeom>
          <a:noFill/>
          <a:ln w="12700">
            <a:noFill/>
          </a:ln>
        </p:spPr>
        <p:txBody>
          <a:bodyPr wrap="square" lIns="0" tIns="0" rIns="0" bIns="0" anchor="ctr">
            <a:spAutoFit/>
          </a:bodyPr>
          <a:lstStyle>
            <a:defPPr>
              <a:defRPr lang="en-US"/>
            </a:defPPr>
            <a:lvl1pPr>
              <a:defRPr sz="1400" b="0" i="0" u="none" strike="noStrike">
                <a:effectLst/>
              </a:defRPr>
            </a:lvl1pPr>
          </a:lstStyle>
          <a:p>
            <a:r>
              <a:rPr lang="en-US"/>
              <a:t>EUGOGO is a good source for this response and should be included. Also the last response Preferred Therapeutic Option for Moderate-to-Severe TED is not relevant to this question. </a:t>
            </a:r>
          </a:p>
        </p:txBody>
      </p:sp>
      <p:pic>
        <p:nvPicPr>
          <p:cNvPr id="11" name="Graphic 10">
            <a:extLst>
              <a:ext uri="{FF2B5EF4-FFF2-40B4-BE49-F238E27FC236}">
                <a16:creationId xmlns:a16="http://schemas.microsoft.com/office/drawing/2014/main" id="{7F0F9995-E74D-96AC-3934-C5A321A8C5F7}"/>
              </a:ext>
            </a:extLst>
          </p:cNvPr>
          <p:cNvPicPr>
            <a:picLocks/>
          </p:cNvPicPr>
          <p:nvPr/>
        </p:nvPicPr>
        <p:blipFill>
          <a:blip r:embed="rId5">
            <a:extLst>
              <a:ext uri="{96DAC541-7B7A-43D3-8B79-37D633B846F1}">
                <asvg:svgBlip xmlns:asvg="http://schemas.microsoft.com/office/drawing/2016/SVG/main" r:embed="rId6"/>
              </a:ext>
            </a:extLst>
          </a:blip>
          <a:stretch>
            <a:fillRect/>
          </a:stretch>
        </p:blipFill>
        <p:spPr>
          <a:xfrm>
            <a:off x="940423" y="1885404"/>
            <a:ext cx="716928" cy="716926"/>
          </a:xfrm>
          <a:prstGeom prst="rect">
            <a:avLst/>
          </a:prstGeom>
        </p:spPr>
      </p:pic>
      <p:sp>
        <p:nvSpPr>
          <p:cNvPr id="12" name="Rectangle: Rounded Corners 11">
            <a:extLst>
              <a:ext uri="{FF2B5EF4-FFF2-40B4-BE49-F238E27FC236}">
                <a16:creationId xmlns:a16="http://schemas.microsoft.com/office/drawing/2014/main" id="{A03AD86B-F71D-BBB9-0AE1-834EBF760FE8}"/>
              </a:ext>
            </a:extLst>
          </p:cNvPr>
          <p:cNvSpPr/>
          <p:nvPr/>
        </p:nvSpPr>
        <p:spPr>
          <a:xfrm>
            <a:off x="6524625" y="1207724"/>
            <a:ext cx="1622107" cy="1478916"/>
          </a:xfrm>
          <a:prstGeom prst="roundRect">
            <a:avLst>
              <a:gd name="adj" fmla="val 5987"/>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en-US" sz="1600" b="1"/>
              <a:t>Problem Identified</a:t>
            </a:r>
          </a:p>
          <a:p>
            <a:pPr algn="ctr"/>
            <a:endParaRPr lang="en-US" sz="1600" b="1"/>
          </a:p>
          <a:p>
            <a:pPr algn="ctr"/>
            <a:endParaRPr lang="en-US" sz="1600" b="1"/>
          </a:p>
          <a:p>
            <a:pPr algn="ctr"/>
            <a:endParaRPr lang="en-US" sz="1600" b="1"/>
          </a:p>
        </p:txBody>
      </p:sp>
      <p:pic>
        <p:nvPicPr>
          <p:cNvPr id="13" name="Graphic 12">
            <a:extLst>
              <a:ext uri="{FF2B5EF4-FFF2-40B4-BE49-F238E27FC236}">
                <a16:creationId xmlns:a16="http://schemas.microsoft.com/office/drawing/2014/main" id="{B047CA39-C80B-EEC6-9C68-29901B813029}"/>
              </a:ext>
            </a:extLst>
          </p:cNvPr>
          <p:cNvPicPr>
            <a:picLocks/>
          </p:cNvPicPr>
          <p:nvPr/>
        </p:nvPicPr>
        <p:blipFill>
          <a:blip r:embed="rId7">
            <a:extLst>
              <a:ext uri="{96DAC541-7B7A-43D3-8B79-37D633B846F1}">
                <asvg:svgBlip xmlns:asvg="http://schemas.microsoft.com/office/drawing/2016/SVG/main" r:embed="rId8"/>
              </a:ext>
            </a:extLst>
          </a:blip>
          <a:stretch>
            <a:fillRect/>
          </a:stretch>
        </p:blipFill>
        <p:spPr>
          <a:xfrm>
            <a:off x="6938435" y="1846625"/>
            <a:ext cx="794486" cy="794484"/>
          </a:xfrm>
          <a:prstGeom prst="rect">
            <a:avLst/>
          </a:prstGeom>
        </p:spPr>
      </p:pic>
    </p:spTree>
    <p:custDataLst>
      <p:custData r:id="rId1"/>
    </p:custDataLst>
    <p:extLst>
      <p:ext uri="{BB962C8B-B14F-4D97-AF65-F5344CB8AC3E}">
        <p14:creationId xmlns:p14="http://schemas.microsoft.com/office/powerpoint/2010/main" val="293627077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C12E71-8344-700C-2D85-D021B891B0B4}"/>
              </a:ext>
            </a:extLst>
          </p:cNvPr>
          <p:cNvSpPr>
            <a:spLocks noGrp="1"/>
          </p:cNvSpPr>
          <p:nvPr>
            <p:ph type="title"/>
          </p:nvPr>
        </p:nvSpPr>
        <p:spPr>
          <a:xfrm>
            <a:off x="609600" y="311785"/>
            <a:ext cx="10972800" cy="492443"/>
          </a:xfrm>
        </p:spPr>
        <p:txBody>
          <a:bodyPr wrap="square">
            <a:spAutoFit/>
          </a:bodyPr>
          <a:lstStyle/>
          <a:p>
            <a:r>
              <a:rPr lang="en-US"/>
              <a:t>Root Cause Analysis &amp; Solution</a:t>
            </a:r>
          </a:p>
        </p:txBody>
      </p:sp>
      <p:grpSp>
        <p:nvGrpSpPr>
          <p:cNvPr id="17" name="Group 16">
            <a:extLst>
              <a:ext uri="{FF2B5EF4-FFF2-40B4-BE49-F238E27FC236}">
                <a16:creationId xmlns:a16="http://schemas.microsoft.com/office/drawing/2014/main" id="{D93E4FAD-1757-B99A-0047-D78DD67E8F2A}"/>
              </a:ext>
            </a:extLst>
          </p:cNvPr>
          <p:cNvGrpSpPr/>
          <p:nvPr/>
        </p:nvGrpSpPr>
        <p:grpSpPr>
          <a:xfrm>
            <a:off x="11024711" y="213680"/>
            <a:ext cx="688658" cy="688654"/>
            <a:chOff x="11024711" y="213680"/>
            <a:chExt cx="688658" cy="688654"/>
          </a:xfrm>
        </p:grpSpPr>
        <p:sp>
          <p:nvSpPr>
            <p:cNvPr id="19" name="Oval 18">
              <a:extLst>
                <a:ext uri="{FF2B5EF4-FFF2-40B4-BE49-F238E27FC236}">
                  <a16:creationId xmlns:a16="http://schemas.microsoft.com/office/drawing/2014/main" id="{0DFDEEE3-8FF4-0F93-892F-24FE36FB1693}"/>
                </a:ext>
              </a:extLst>
            </p:cNvPr>
            <p:cNvSpPr/>
            <p:nvPr/>
          </p:nvSpPr>
          <p:spPr>
            <a:xfrm>
              <a:off x="11024711" y="213680"/>
              <a:ext cx="688658" cy="688654"/>
            </a:xfrm>
            <a:prstGeom prst="ellipse">
              <a:avLst/>
            </a:prstGeom>
            <a:solidFill>
              <a:schemeClr val="bg1"/>
            </a:solidFill>
            <a:ln w="38100">
              <a:solidFill>
                <a:schemeClr val="tx2">
                  <a:lumMod val="25000"/>
                  <a:lumOff val="75000"/>
                  <a:alpha val="72000"/>
                </a:schemeClr>
              </a:solid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pic>
          <p:nvPicPr>
            <p:cNvPr id="21" name="Graphic 20">
              <a:extLst>
                <a:ext uri="{FF2B5EF4-FFF2-40B4-BE49-F238E27FC236}">
                  <a16:creationId xmlns:a16="http://schemas.microsoft.com/office/drawing/2014/main" id="{E643A5FE-A904-1CDF-E19E-DDBC464E61E5}"/>
                </a:ext>
              </a:extLst>
            </p:cNvPr>
            <p:cNvPicPr>
              <a:picLocks/>
            </p:cNvPicPr>
            <p:nvPr/>
          </p:nvPicPr>
          <p:blipFill>
            <a:blip r:embed="rId3">
              <a:extLst>
                <a:ext uri="{96DAC541-7B7A-43D3-8B79-37D633B846F1}">
                  <asvg:svgBlip xmlns:asvg="http://schemas.microsoft.com/office/drawing/2016/SVG/main" r:embed="rId4"/>
                </a:ext>
              </a:extLst>
            </a:blip>
            <a:stretch>
              <a:fillRect/>
            </a:stretch>
          </p:blipFill>
          <p:spPr>
            <a:xfrm>
              <a:off x="11119961" y="297024"/>
              <a:ext cx="498158" cy="498158"/>
            </a:xfrm>
            <a:prstGeom prst="rect">
              <a:avLst/>
            </a:prstGeom>
          </p:spPr>
        </p:pic>
      </p:grpSp>
      <p:grpSp>
        <p:nvGrpSpPr>
          <p:cNvPr id="22" name="Group 21">
            <a:extLst>
              <a:ext uri="{FF2B5EF4-FFF2-40B4-BE49-F238E27FC236}">
                <a16:creationId xmlns:a16="http://schemas.microsoft.com/office/drawing/2014/main" id="{09832109-DC6B-C654-815D-339D228D8BEB}"/>
              </a:ext>
            </a:extLst>
          </p:cNvPr>
          <p:cNvGrpSpPr/>
          <p:nvPr/>
        </p:nvGrpSpPr>
        <p:grpSpPr>
          <a:xfrm>
            <a:off x="3208415" y="2952569"/>
            <a:ext cx="211932" cy="259772"/>
            <a:chOff x="3208415" y="3306184"/>
            <a:chExt cx="211932" cy="259772"/>
          </a:xfrm>
        </p:grpSpPr>
        <p:sp>
          <p:nvSpPr>
            <p:cNvPr id="24" name="Isosceles Triangle 23">
              <a:extLst>
                <a:ext uri="{FF2B5EF4-FFF2-40B4-BE49-F238E27FC236}">
                  <a16:creationId xmlns:a16="http://schemas.microsoft.com/office/drawing/2014/main" id="{A2838D84-12CB-3F64-72D4-4D4E8FE44E46}"/>
                </a:ext>
              </a:extLst>
            </p:cNvPr>
            <p:cNvSpPr/>
            <p:nvPr/>
          </p:nvSpPr>
          <p:spPr>
            <a:xfrm rot="5400000">
              <a:off x="3220549" y="3366158"/>
              <a:ext cx="259772" cy="139824"/>
            </a:xfrm>
            <a:prstGeom prst="triangle">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IN"/>
            </a:p>
          </p:txBody>
        </p:sp>
        <p:sp>
          <p:nvSpPr>
            <p:cNvPr id="25" name="Isosceles Triangle 24">
              <a:extLst>
                <a:ext uri="{FF2B5EF4-FFF2-40B4-BE49-F238E27FC236}">
                  <a16:creationId xmlns:a16="http://schemas.microsoft.com/office/drawing/2014/main" id="{8F85DCF6-FE0F-C7C6-F0E1-21418F9ADEEE}"/>
                </a:ext>
              </a:extLst>
            </p:cNvPr>
            <p:cNvSpPr/>
            <p:nvPr/>
          </p:nvSpPr>
          <p:spPr>
            <a:xfrm rot="5400000">
              <a:off x="3148441" y="3366158"/>
              <a:ext cx="259772" cy="139824"/>
            </a:xfrm>
            <a:prstGeom prst="triangle">
              <a:avLst/>
            </a:prstGeom>
            <a:solidFill>
              <a:schemeClr val="accent1">
                <a:lumMod val="20000"/>
                <a:lumOff val="8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IN"/>
            </a:p>
          </p:txBody>
        </p:sp>
      </p:grpSp>
      <p:sp>
        <p:nvSpPr>
          <p:cNvPr id="26" name="TextBox 25">
            <a:extLst>
              <a:ext uri="{FF2B5EF4-FFF2-40B4-BE49-F238E27FC236}">
                <a16:creationId xmlns:a16="http://schemas.microsoft.com/office/drawing/2014/main" id="{82409F0B-541C-2B5C-5FAD-31C3D3FDC411}"/>
              </a:ext>
            </a:extLst>
          </p:cNvPr>
          <p:cNvSpPr txBox="1"/>
          <p:nvPr/>
        </p:nvSpPr>
        <p:spPr>
          <a:xfrm>
            <a:off x="3582466" y="1327183"/>
            <a:ext cx="6570483" cy="3534141"/>
          </a:xfrm>
          <a:prstGeom prst="roundRect">
            <a:avLst>
              <a:gd name="adj" fmla="val 3105"/>
            </a:avLst>
          </a:prstGeom>
          <a:solidFill>
            <a:schemeClr val="tx1"/>
          </a:solidFill>
          <a:ln>
            <a:noFill/>
          </a:ln>
        </p:spPr>
        <p:txBody>
          <a:bodyPr wrap="square" lIns="54864" tIns="36576" rIns="54864" bIns="36576" rtlCol="0" anchor="t">
            <a:noAutofit/>
          </a:bodyPr>
          <a:lstStyle/>
          <a:p>
            <a:pPr marL="3175" algn="ctr">
              <a:spcBef>
                <a:spcPts val="600"/>
              </a:spcBef>
              <a:spcAft>
                <a:spcPts val="600"/>
              </a:spcAft>
              <a:buClr>
                <a:srgbClr val="303030">
                  <a:lumMod val="50000"/>
                  <a:lumOff val="50000"/>
                </a:srgbClr>
              </a:buClr>
            </a:pPr>
            <a:r>
              <a:rPr lang="en-US" b="1">
                <a:solidFill>
                  <a:schemeClr val="bg1"/>
                </a:solidFill>
              </a:rPr>
              <a:t>Area of improvement</a:t>
            </a:r>
          </a:p>
        </p:txBody>
      </p:sp>
      <p:sp>
        <p:nvSpPr>
          <p:cNvPr id="29" name="TextBox 28">
            <a:extLst>
              <a:ext uri="{FF2B5EF4-FFF2-40B4-BE49-F238E27FC236}">
                <a16:creationId xmlns:a16="http://schemas.microsoft.com/office/drawing/2014/main" id="{5E52FEDA-A06A-7BD0-1F8E-32E0244FB90D}"/>
              </a:ext>
            </a:extLst>
          </p:cNvPr>
          <p:cNvSpPr txBox="1"/>
          <p:nvPr/>
        </p:nvSpPr>
        <p:spPr>
          <a:xfrm>
            <a:off x="3582466" y="1746284"/>
            <a:ext cx="6570483" cy="3115040"/>
          </a:xfrm>
          <a:prstGeom prst="roundRect">
            <a:avLst>
              <a:gd name="adj" fmla="val 3105"/>
            </a:avLst>
          </a:prstGeom>
          <a:solidFill>
            <a:schemeClr val="bg1"/>
          </a:solidFill>
          <a:ln>
            <a:noFill/>
          </a:ln>
          <a:effectLst>
            <a:outerShdw blurRad="63500" algn="ctr" rotWithShape="0">
              <a:prstClr val="black">
                <a:alpha val="25000"/>
              </a:prstClr>
            </a:outerShdw>
          </a:effectLst>
        </p:spPr>
        <p:style>
          <a:lnRef idx="0">
            <a:scrgbClr r="0" g="0" b="0"/>
          </a:lnRef>
          <a:fillRef idx="0">
            <a:scrgbClr r="0" g="0" b="0"/>
          </a:fillRef>
          <a:effectRef idx="0">
            <a:scrgbClr r="0" g="0" b="0"/>
          </a:effectRef>
          <a:fontRef idx="minor">
            <a:schemeClr val="lt1"/>
          </a:fontRef>
        </p:style>
        <p:txBody>
          <a:bodyPr rtlCol="0" anchor="ctr"/>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endParaRPr lang="en-US"/>
          </a:p>
        </p:txBody>
      </p:sp>
      <p:sp>
        <p:nvSpPr>
          <p:cNvPr id="33" name="Oval 32">
            <a:extLst>
              <a:ext uri="{FF2B5EF4-FFF2-40B4-BE49-F238E27FC236}">
                <a16:creationId xmlns:a16="http://schemas.microsoft.com/office/drawing/2014/main" id="{D00E4C81-44D1-AA7D-1F66-8756C46608B5}"/>
              </a:ext>
            </a:extLst>
          </p:cNvPr>
          <p:cNvSpPr/>
          <p:nvPr/>
        </p:nvSpPr>
        <p:spPr>
          <a:xfrm>
            <a:off x="477969" y="2549903"/>
            <a:ext cx="1065104" cy="1065104"/>
          </a:xfrm>
          <a:prstGeom prst="ellipse">
            <a:avLst/>
          </a:prstGeom>
          <a:solidFill>
            <a:schemeClr val="bg1"/>
          </a:solidFill>
          <a:ln>
            <a:noFill/>
          </a:ln>
          <a:effectLst>
            <a:outerShdw blurRad="63500" algn="ctr" rotWithShape="0">
              <a:prstClr val="black">
                <a:alpha val="25000"/>
              </a:prstClr>
            </a:outerShdw>
          </a:effectLst>
        </p:spPr>
        <p:style>
          <a:lnRef idx="0">
            <a:scrgbClr r="0" g="0" b="0"/>
          </a:lnRef>
          <a:fillRef idx="0">
            <a:scrgbClr r="0" g="0" b="0"/>
          </a:fillRef>
          <a:effectRef idx="0">
            <a:scrgbClr r="0" g="0" b="0"/>
          </a:effectRef>
          <a:fontRef idx="minor">
            <a:schemeClr val="lt1"/>
          </a:fontRef>
        </p:style>
        <p:txBody>
          <a:bodyPr rtlCol="0" anchor="ctr"/>
          <a:lstStyle/>
          <a:p>
            <a:pPr algn="ctr"/>
            <a:endParaRPr lang="en-IN"/>
          </a:p>
        </p:txBody>
      </p:sp>
      <p:sp>
        <p:nvSpPr>
          <p:cNvPr id="34" name="TextBox 33">
            <a:extLst>
              <a:ext uri="{FF2B5EF4-FFF2-40B4-BE49-F238E27FC236}">
                <a16:creationId xmlns:a16="http://schemas.microsoft.com/office/drawing/2014/main" id="{D09A45C4-77FA-C003-FE36-A9D35D5DD3B0}"/>
              </a:ext>
            </a:extLst>
          </p:cNvPr>
          <p:cNvSpPr txBox="1"/>
          <p:nvPr/>
        </p:nvSpPr>
        <p:spPr>
          <a:xfrm>
            <a:off x="350612" y="3246375"/>
            <a:ext cx="1319820" cy="242414"/>
          </a:xfrm>
          <a:prstGeom prst="roundRect">
            <a:avLst>
              <a:gd name="adj" fmla="val 50000"/>
            </a:avLst>
          </a:prstGeom>
          <a:solidFill>
            <a:schemeClr val="accent1"/>
          </a:solidFill>
        </p:spPr>
        <p:txBody>
          <a:bodyPr wrap="none" rtlCol="0" anchor="ctr">
            <a:noAutofit/>
          </a:bodyPr>
          <a:lstStyle/>
          <a:p>
            <a:pPr marL="3175" algn="ctr">
              <a:buClr>
                <a:srgbClr val="303030">
                  <a:lumMod val="50000"/>
                  <a:lumOff val="50000"/>
                </a:srgbClr>
              </a:buClr>
            </a:pPr>
            <a:r>
              <a:rPr lang="en-US" sz="1400" b="1">
                <a:solidFill>
                  <a:schemeClr val="bg1"/>
                </a:solidFill>
                <a:cs typeface="Tahoma" pitchFamily="34" charset="0"/>
              </a:rPr>
              <a:t>User Query</a:t>
            </a:r>
          </a:p>
        </p:txBody>
      </p:sp>
      <p:pic>
        <p:nvPicPr>
          <p:cNvPr id="37" name="Graphic 36">
            <a:extLst>
              <a:ext uri="{FF2B5EF4-FFF2-40B4-BE49-F238E27FC236}">
                <a16:creationId xmlns:a16="http://schemas.microsoft.com/office/drawing/2014/main" id="{A76707C4-892A-549E-2E2B-5B95D93915EA}"/>
              </a:ext>
            </a:extLst>
          </p:cNvPr>
          <p:cNvPicPr>
            <a:picLocks/>
          </p:cNvPicPr>
          <p:nvPr/>
        </p:nvPicPr>
        <p:blipFill>
          <a:blip r:embed="rId5">
            <a:extLst>
              <a:ext uri="{96DAC541-7B7A-43D3-8B79-37D633B846F1}">
                <asvg:svgBlip xmlns:asvg="http://schemas.microsoft.com/office/drawing/2016/SVG/main" r:embed="rId6"/>
              </a:ext>
            </a:extLst>
          </a:blip>
          <a:stretch>
            <a:fillRect/>
          </a:stretch>
        </p:blipFill>
        <p:spPr>
          <a:xfrm>
            <a:off x="543798" y="2455304"/>
            <a:ext cx="933448" cy="933446"/>
          </a:xfrm>
          <a:prstGeom prst="rect">
            <a:avLst/>
          </a:prstGeom>
        </p:spPr>
      </p:pic>
      <p:grpSp>
        <p:nvGrpSpPr>
          <p:cNvPr id="38" name="Group 37">
            <a:extLst>
              <a:ext uri="{FF2B5EF4-FFF2-40B4-BE49-F238E27FC236}">
                <a16:creationId xmlns:a16="http://schemas.microsoft.com/office/drawing/2014/main" id="{61D82690-8E32-CD9F-7398-463BB148A734}"/>
              </a:ext>
            </a:extLst>
          </p:cNvPr>
          <p:cNvGrpSpPr/>
          <p:nvPr/>
        </p:nvGrpSpPr>
        <p:grpSpPr>
          <a:xfrm>
            <a:off x="1677286" y="2952569"/>
            <a:ext cx="211933" cy="259772"/>
            <a:chOff x="1778784" y="3654976"/>
            <a:chExt cx="121463" cy="259772"/>
          </a:xfrm>
        </p:grpSpPr>
        <p:sp>
          <p:nvSpPr>
            <p:cNvPr id="41" name="Isosceles Triangle 40">
              <a:extLst>
                <a:ext uri="{FF2B5EF4-FFF2-40B4-BE49-F238E27FC236}">
                  <a16:creationId xmlns:a16="http://schemas.microsoft.com/office/drawing/2014/main" id="{EBAAD782-F5BA-8AB4-FF11-F6CF32864EBD}"/>
                </a:ext>
              </a:extLst>
            </p:cNvPr>
            <p:cNvSpPr/>
            <p:nvPr/>
          </p:nvSpPr>
          <p:spPr>
            <a:xfrm rot="5400000">
              <a:off x="1730293" y="3744794"/>
              <a:ext cx="259772" cy="80136"/>
            </a:xfrm>
            <a:prstGeom prst="triangle">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IN"/>
            </a:p>
          </p:txBody>
        </p:sp>
        <p:sp>
          <p:nvSpPr>
            <p:cNvPr id="42" name="Isosceles Triangle 41">
              <a:extLst>
                <a:ext uri="{FF2B5EF4-FFF2-40B4-BE49-F238E27FC236}">
                  <a16:creationId xmlns:a16="http://schemas.microsoft.com/office/drawing/2014/main" id="{517FCEB5-6FB5-3D93-CD73-8F718733CB63}"/>
                </a:ext>
              </a:extLst>
            </p:cNvPr>
            <p:cNvSpPr/>
            <p:nvPr/>
          </p:nvSpPr>
          <p:spPr>
            <a:xfrm rot="5400000">
              <a:off x="1688966" y="3744794"/>
              <a:ext cx="259772" cy="80136"/>
            </a:xfrm>
            <a:prstGeom prst="triangle">
              <a:avLst/>
            </a:prstGeom>
            <a:solidFill>
              <a:schemeClr val="accent1">
                <a:lumMod val="20000"/>
                <a:lumOff val="8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IN"/>
            </a:p>
          </p:txBody>
        </p:sp>
      </p:grpSp>
      <p:sp>
        <p:nvSpPr>
          <p:cNvPr id="50" name="Oval 49">
            <a:extLst>
              <a:ext uri="{FF2B5EF4-FFF2-40B4-BE49-F238E27FC236}">
                <a16:creationId xmlns:a16="http://schemas.microsoft.com/office/drawing/2014/main" id="{7747ED90-7D80-BE80-0505-D31B3A50B2AA}"/>
              </a:ext>
            </a:extLst>
          </p:cNvPr>
          <p:cNvSpPr/>
          <p:nvPr/>
        </p:nvSpPr>
        <p:spPr>
          <a:xfrm>
            <a:off x="2023400" y="2549903"/>
            <a:ext cx="1065104" cy="1065104"/>
          </a:xfrm>
          <a:prstGeom prst="ellipse">
            <a:avLst/>
          </a:prstGeom>
          <a:solidFill>
            <a:schemeClr val="bg1"/>
          </a:solidFill>
          <a:ln>
            <a:noFill/>
          </a:ln>
          <a:effectLst>
            <a:outerShdw blurRad="63500" algn="ctr" rotWithShape="0">
              <a:prstClr val="black">
                <a:alpha val="25000"/>
              </a:prstClr>
            </a:outerShdw>
          </a:effectLst>
        </p:spPr>
        <p:style>
          <a:lnRef idx="0">
            <a:scrgbClr r="0" g="0" b="0"/>
          </a:lnRef>
          <a:fillRef idx="0">
            <a:scrgbClr r="0" g="0" b="0"/>
          </a:fillRef>
          <a:effectRef idx="0">
            <a:scrgbClr r="0" g="0" b="0"/>
          </a:effectRef>
          <a:fontRef idx="minor">
            <a:schemeClr val="lt1"/>
          </a:fontRef>
        </p:style>
        <p:txBody>
          <a:bodyPr rtlCol="0" anchor="ctr"/>
          <a:lstStyle/>
          <a:p>
            <a:pPr algn="ctr"/>
            <a:endParaRPr lang="en-IN"/>
          </a:p>
        </p:txBody>
      </p:sp>
      <p:sp>
        <p:nvSpPr>
          <p:cNvPr id="51" name="TextBox 50">
            <a:extLst>
              <a:ext uri="{FF2B5EF4-FFF2-40B4-BE49-F238E27FC236}">
                <a16:creationId xmlns:a16="http://schemas.microsoft.com/office/drawing/2014/main" id="{F28EFA05-900B-E56B-9A66-74498562A3A2}"/>
              </a:ext>
            </a:extLst>
          </p:cNvPr>
          <p:cNvSpPr txBox="1"/>
          <p:nvPr/>
        </p:nvSpPr>
        <p:spPr>
          <a:xfrm>
            <a:off x="1896043" y="3246375"/>
            <a:ext cx="1319820" cy="242414"/>
          </a:xfrm>
          <a:prstGeom prst="roundRect">
            <a:avLst>
              <a:gd name="adj" fmla="val 50000"/>
            </a:avLst>
          </a:prstGeom>
          <a:solidFill>
            <a:schemeClr val="accent1"/>
          </a:solidFill>
        </p:spPr>
        <p:txBody>
          <a:bodyPr wrap="none" rtlCol="0" anchor="ctr">
            <a:noAutofit/>
          </a:bodyPr>
          <a:lstStyle>
            <a:defPPr>
              <a:defRPr lang="en-US"/>
            </a:defPPr>
            <a:lvl1pPr marL="3175" algn="ctr">
              <a:buClr>
                <a:srgbClr val="303030">
                  <a:lumMod val="50000"/>
                  <a:lumOff val="50000"/>
                </a:srgbClr>
              </a:buClr>
              <a:defRPr sz="1400" b="1">
                <a:solidFill>
                  <a:schemeClr val="bg1"/>
                </a:solidFill>
                <a:cs typeface="Tahoma" pitchFamily="34" charset="0"/>
              </a:defRPr>
            </a:lvl1pPr>
          </a:lstStyle>
          <a:p>
            <a:r>
              <a:rPr lang="en-US"/>
              <a:t>LLM Model</a:t>
            </a:r>
          </a:p>
        </p:txBody>
      </p:sp>
      <p:pic>
        <p:nvPicPr>
          <p:cNvPr id="52" name="Picture 51" descr="A black and white logo&#10;&#10;Description automatically generated">
            <a:extLst>
              <a:ext uri="{FF2B5EF4-FFF2-40B4-BE49-F238E27FC236}">
                <a16:creationId xmlns:a16="http://schemas.microsoft.com/office/drawing/2014/main" id="{1B3EC3B4-3FA5-C98A-CF2D-70DA6530FAC3}"/>
              </a:ext>
            </a:extLst>
          </p:cNvPr>
          <p:cNvPicPr>
            <a:picLocks noChangeAspect="1"/>
          </p:cNvPicPr>
          <p:nvPr/>
        </p:nvPicPr>
        <p:blipFill rotWithShape="1">
          <a:blip r:embed="rId7"/>
          <a:srcRect l="10362" t="9881" r="8693" b="4192"/>
          <a:stretch/>
        </p:blipFill>
        <p:spPr>
          <a:xfrm>
            <a:off x="2291634" y="2656359"/>
            <a:ext cx="538162" cy="554806"/>
          </a:xfrm>
          <a:prstGeom prst="rect">
            <a:avLst/>
          </a:prstGeom>
        </p:spPr>
      </p:pic>
      <p:sp>
        <p:nvSpPr>
          <p:cNvPr id="54" name="TextBox 53">
            <a:extLst>
              <a:ext uri="{FF2B5EF4-FFF2-40B4-BE49-F238E27FC236}">
                <a16:creationId xmlns:a16="http://schemas.microsoft.com/office/drawing/2014/main" id="{8574D753-7DF5-868A-C811-9E360AAC67FE}"/>
              </a:ext>
            </a:extLst>
          </p:cNvPr>
          <p:cNvSpPr txBox="1"/>
          <p:nvPr/>
        </p:nvSpPr>
        <p:spPr>
          <a:xfrm>
            <a:off x="3582466" y="1962454"/>
            <a:ext cx="2376620" cy="607378"/>
          </a:xfrm>
          <a:prstGeom prst="homePlate">
            <a:avLst>
              <a:gd name="adj" fmla="val 15080"/>
            </a:avLst>
          </a:prstGeom>
          <a:solidFill>
            <a:schemeClr val="accent1">
              <a:lumMod val="20000"/>
              <a:lumOff val="80000"/>
            </a:schemeClr>
          </a:solidFill>
        </p:spPr>
        <p:txBody>
          <a:bodyPr wrap="square" rtlCol="0" anchor="ctr">
            <a:noAutofit/>
          </a:bodyPr>
          <a:lstStyle/>
          <a:p>
            <a:pPr marL="3175" algn="ctr">
              <a:spcBef>
                <a:spcPts val="600"/>
              </a:spcBef>
              <a:spcAft>
                <a:spcPts val="600"/>
              </a:spcAft>
              <a:buClr>
                <a:srgbClr val="303030">
                  <a:lumMod val="50000"/>
                  <a:lumOff val="50000"/>
                </a:srgbClr>
              </a:buClr>
            </a:pPr>
            <a:r>
              <a:rPr lang="en-US" sz="1600">
                <a:solidFill>
                  <a:srgbClr val="002240"/>
                </a:solidFill>
                <a:cs typeface="Tahoma" pitchFamily="34" charset="0"/>
              </a:rPr>
              <a:t>Sematic search to Knowledge base</a:t>
            </a:r>
          </a:p>
        </p:txBody>
      </p:sp>
      <p:sp>
        <p:nvSpPr>
          <p:cNvPr id="55" name="TextBox 54">
            <a:extLst>
              <a:ext uri="{FF2B5EF4-FFF2-40B4-BE49-F238E27FC236}">
                <a16:creationId xmlns:a16="http://schemas.microsoft.com/office/drawing/2014/main" id="{77EBE654-34AE-50D9-8EC5-FD873A3CF1B5}"/>
              </a:ext>
            </a:extLst>
          </p:cNvPr>
          <p:cNvSpPr txBox="1"/>
          <p:nvPr/>
        </p:nvSpPr>
        <p:spPr>
          <a:xfrm>
            <a:off x="5945770" y="1962454"/>
            <a:ext cx="2376620" cy="607378"/>
          </a:xfrm>
          <a:prstGeom prst="chevron">
            <a:avLst>
              <a:gd name="adj" fmla="val 15080"/>
            </a:avLst>
          </a:prstGeom>
          <a:solidFill>
            <a:schemeClr val="tx2">
              <a:lumMod val="10000"/>
              <a:lumOff val="90000"/>
            </a:schemeClr>
          </a:solidFill>
        </p:spPr>
        <p:txBody>
          <a:bodyPr wrap="square" rtlCol="0" anchor="ctr">
            <a:noAutofit/>
          </a:bodyPr>
          <a:lstStyle/>
          <a:p>
            <a:pPr marL="3175" algn="ctr">
              <a:spcBef>
                <a:spcPts val="600"/>
              </a:spcBef>
              <a:spcAft>
                <a:spcPts val="600"/>
              </a:spcAft>
              <a:buClr>
                <a:srgbClr val="303030">
                  <a:lumMod val="50000"/>
                  <a:lumOff val="50000"/>
                </a:srgbClr>
              </a:buClr>
            </a:pPr>
            <a:r>
              <a:rPr lang="en-US" sz="1600">
                <a:solidFill>
                  <a:srgbClr val="002240"/>
                </a:solidFill>
                <a:cs typeface="Tahoma" pitchFamily="34" charset="0"/>
              </a:rPr>
              <a:t>Select top 10 chunks</a:t>
            </a:r>
          </a:p>
        </p:txBody>
      </p:sp>
      <p:sp>
        <p:nvSpPr>
          <p:cNvPr id="56" name="TextBox 55">
            <a:extLst>
              <a:ext uri="{FF2B5EF4-FFF2-40B4-BE49-F238E27FC236}">
                <a16:creationId xmlns:a16="http://schemas.microsoft.com/office/drawing/2014/main" id="{74330EEC-FA72-874E-C66C-BD68508FB9E4}"/>
              </a:ext>
            </a:extLst>
          </p:cNvPr>
          <p:cNvSpPr txBox="1"/>
          <p:nvPr/>
        </p:nvSpPr>
        <p:spPr>
          <a:xfrm>
            <a:off x="8309073" y="1962454"/>
            <a:ext cx="1958571" cy="607378"/>
          </a:xfrm>
          <a:prstGeom prst="chevron">
            <a:avLst>
              <a:gd name="adj" fmla="val 15080"/>
            </a:avLst>
          </a:prstGeom>
          <a:solidFill>
            <a:schemeClr val="tx2">
              <a:lumMod val="10000"/>
              <a:lumOff val="90000"/>
            </a:schemeClr>
          </a:solidFill>
        </p:spPr>
        <p:txBody>
          <a:bodyPr wrap="square" rtlCol="0" anchor="ctr">
            <a:noAutofit/>
          </a:bodyPr>
          <a:lstStyle/>
          <a:p>
            <a:pPr marL="3175" algn="ctr">
              <a:spcBef>
                <a:spcPts val="600"/>
              </a:spcBef>
              <a:spcAft>
                <a:spcPts val="600"/>
              </a:spcAft>
              <a:buClr>
                <a:srgbClr val="303030">
                  <a:lumMod val="50000"/>
                  <a:lumOff val="50000"/>
                </a:srgbClr>
              </a:buClr>
            </a:pPr>
            <a:r>
              <a:rPr lang="en-US" sz="1600" err="1">
                <a:solidFill>
                  <a:srgbClr val="002240"/>
                </a:solidFill>
                <a:cs typeface="Tahoma" pitchFamily="34" charset="0"/>
              </a:rPr>
              <a:t>ReRanker</a:t>
            </a:r>
            <a:r>
              <a:rPr lang="en-US" sz="1600">
                <a:solidFill>
                  <a:srgbClr val="002240"/>
                </a:solidFill>
                <a:cs typeface="Tahoma" pitchFamily="34" charset="0"/>
              </a:rPr>
              <a:t> - Reshuffling</a:t>
            </a:r>
          </a:p>
        </p:txBody>
      </p:sp>
      <p:grpSp>
        <p:nvGrpSpPr>
          <p:cNvPr id="57" name="Group 56">
            <a:extLst>
              <a:ext uri="{FF2B5EF4-FFF2-40B4-BE49-F238E27FC236}">
                <a16:creationId xmlns:a16="http://schemas.microsoft.com/office/drawing/2014/main" id="{DB90C75A-765C-6B8C-252A-ACDB2D1F5330}"/>
              </a:ext>
            </a:extLst>
          </p:cNvPr>
          <p:cNvGrpSpPr/>
          <p:nvPr/>
        </p:nvGrpSpPr>
        <p:grpSpPr>
          <a:xfrm>
            <a:off x="3680203" y="2805335"/>
            <a:ext cx="2135518" cy="1953984"/>
            <a:chOff x="3648414" y="3158950"/>
            <a:chExt cx="2072713" cy="1953984"/>
          </a:xfrm>
        </p:grpSpPr>
        <p:sp>
          <p:nvSpPr>
            <p:cNvPr id="58" name="Rectangle 57">
              <a:extLst>
                <a:ext uri="{FF2B5EF4-FFF2-40B4-BE49-F238E27FC236}">
                  <a16:creationId xmlns:a16="http://schemas.microsoft.com/office/drawing/2014/main" id="{200016DE-F1F9-A2FA-9877-11C0CE5F2326}"/>
                </a:ext>
              </a:extLst>
            </p:cNvPr>
            <p:cNvSpPr/>
            <p:nvPr/>
          </p:nvSpPr>
          <p:spPr>
            <a:xfrm>
              <a:off x="3648414" y="3914343"/>
              <a:ext cx="794269" cy="443198"/>
            </a:xfrm>
            <a:prstGeom prst="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wrap="square" lIns="54864" tIns="36576" rIns="54864" bIns="36576" rtlCol="0" anchor="ctr">
              <a:spAutoFit/>
            </a:bodyPr>
            <a:lstStyle/>
            <a:p>
              <a:pPr algn="ctr"/>
              <a:r>
                <a:rPr lang="en-US" sz="1200"/>
                <a:t>Knowledgebase</a:t>
              </a:r>
            </a:p>
          </p:txBody>
        </p:sp>
        <p:sp>
          <p:nvSpPr>
            <p:cNvPr id="59" name="Rectangle 58">
              <a:extLst>
                <a:ext uri="{FF2B5EF4-FFF2-40B4-BE49-F238E27FC236}">
                  <a16:creationId xmlns:a16="http://schemas.microsoft.com/office/drawing/2014/main" id="{B2B7BC5C-16AB-DA7F-DC2D-CF1F2378C57E}"/>
                </a:ext>
              </a:extLst>
            </p:cNvPr>
            <p:cNvSpPr/>
            <p:nvPr/>
          </p:nvSpPr>
          <p:spPr>
            <a:xfrm>
              <a:off x="4946684" y="3158950"/>
              <a:ext cx="774443" cy="258532"/>
            </a:xfrm>
            <a:prstGeom prst="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wrap="square" lIns="54864" tIns="36576" rIns="54864" bIns="36576" rtlCol="0" anchor="ctr">
              <a:spAutoFit/>
            </a:bodyPr>
            <a:lstStyle/>
            <a:p>
              <a:pPr algn="ctr"/>
              <a:r>
                <a:rPr lang="en-US" sz="1200"/>
                <a:t>Chunk 1</a:t>
              </a:r>
            </a:p>
          </p:txBody>
        </p:sp>
        <p:sp>
          <p:nvSpPr>
            <p:cNvPr id="60" name="Rectangle 59">
              <a:extLst>
                <a:ext uri="{FF2B5EF4-FFF2-40B4-BE49-F238E27FC236}">
                  <a16:creationId xmlns:a16="http://schemas.microsoft.com/office/drawing/2014/main" id="{E71FE17B-B8E8-0F6C-FC24-264554D2A8A7}"/>
                </a:ext>
              </a:extLst>
            </p:cNvPr>
            <p:cNvSpPr/>
            <p:nvPr/>
          </p:nvSpPr>
          <p:spPr>
            <a:xfrm>
              <a:off x="4946684" y="3582813"/>
              <a:ext cx="774443" cy="258532"/>
            </a:xfrm>
            <a:prstGeom prst="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wrap="square" lIns="54864" tIns="36576" rIns="54864" bIns="36576" rtlCol="0" anchor="ctr">
              <a:spAutoFit/>
            </a:bodyPr>
            <a:lstStyle/>
            <a:p>
              <a:pPr algn="ctr"/>
              <a:r>
                <a:rPr lang="en-US" sz="1200"/>
                <a:t>Chunk …</a:t>
              </a:r>
            </a:p>
          </p:txBody>
        </p:sp>
        <p:sp>
          <p:nvSpPr>
            <p:cNvPr id="61" name="Rectangle 60">
              <a:extLst>
                <a:ext uri="{FF2B5EF4-FFF2-40B4-BE49-F238E27FC236}">
                  <a16:creationId xmlns:a16="http://schemas.microsoft.com/office/drawing/2014/main" id="{BE30D369-5007-2803-C92E-9DDD3E71679A}"/>
                </a:ext>
              </a:extLst>
            </p:cNvPr>
            <p:cNvSpPr/>
            <p:nvPr/>
          </p:nvSpPr>
          <p:spPr>
            <a:xfrm>
              <a:off x="4946684" y="4006676"/>
              <a:ext cx="774443" cy="258532"/>
            </a:xfrm>
            <a:prstGeom prst="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wrap="square" lIns="54864" tIns="36576" rIns="54864" bIns="36576" rtlCol="0" anchor="ctr">
              <a:spAutoFit/>
            </a:bodyPr>
            <a:lstStyle/>
            <a:p>
              <a:pPr algn="ctr"/>
              <a:r>
                <a:rPr lang="en-US" sz="1200"/>
                <a:t>Chunk …</a:t>
              </a:r>
            </a:p>
          </p:txBody>
        </p:sp>
        <p:sp>
          <p:nvSpPr>
            <p:cNvPr id="62" name="Rectangle 61">
              <a:extLst>
                <a:ext uri="{FF2B5EF4-FFF2-40B4-BE49-F238E27FC236}">
                  <a16:creationId xmlns:a16="http://schemas.microsoft.com/office/drawing/2014/main" id="{8C1E2B71-9B4A-D2B0-0DFA-FE0C8AA06DEB}"/>
                </a:ext>
              </a:extLst>
            </p:cNvPr>
            <p:cNvSpPr/>
            <p:nvPr/>
          </p:nvSpPr>
          <p:spPr>
            <a:xfrm>
              <a:off x="4946684" y="4430539"/>
              <a:ext cx="774443" cy="258532"/>
            </a:xfrm>
            <a:prstGeom prst="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wrap="square" lIns="54864" tIns="36576" rIns="54864" bIns="36576" rtlCol="0" anchor="ctr">
              <a:spAutoFit/>
            </a:bodyPr>
            <a:lstStyle/>
            <a:p>
              <a:pPr algn="ctr"/>
              <a:r>
                <a:rPr lang="en-US" sz="1200"/>
                <a:t>Chunk …</a:t>
              </a:r>
            </a:p>
          </p:txBody>
        </p:sp>
        <p:sp>
          <p:nvSpPr>
            <p:cNvPr id="63" name="Rectangle 62">
              <a:extLst>
                <a:ext uri="{FF2B5EF4-FFF2-40B4-BE49-F238E27FC236}">
                  <a16:creationId xmlns:a16="http://schemas.microsoft.com/office/drawing/2014/main" id="{B5C085EC-43DF-62A7-96B2-F276804BDC64}"/>
                </a:ext>
              </a:extLst>
            </p:cNvPr>
            <p:cNvSpPr/>
            <p:nvPr/>
          </p:nvSpPr>
          <p:spPr>
            <a:xfrm>
              <a:off x="4946684" y="4854402"/>
              <a:ext cx="774443" cy="258532"/>
            </a:xfrm>
            <a:prstGeom prst="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wrap="square" lIns="54864" tIns="36576" rIns="54864" bIns="36576" rtlCol="0" anchor="ctr">
              <a:noAutofit/>
            </a:bodyPr>
            <a:lstStyle/>
            <a:p>
              <a:pPr algn="ctr"/>
              <a:r>
                <a:rPr lang="en-US" sz="1200"/>
                <a:t>Chunk 100</a:t>
              </a:r>
            </a:p>
          </p:txBody>
        </p:sp>
        <p:cxnSp>
          <p:nvCxnSpPr>
            <p:cNvPr id="64" name="Connector: Elbow 63">
              <a:extLst>
                <a:ext uri="{FF2B5EF4-FFF2-40B4-BE49-F238E27FC236}">
                  <a16:creationId xmlns:a16="http://schemas.microsoft.com/office/drawing/2014/main" id="{A8D87065-0F44-A4EF-0C86-29E72198F7DB}"/>
                </a:ext>
              </a:extLst>
            </p:cNvPr>
            <p:cNvCxnSpPr>
              <a:stCxn id="58" idx="3"/>
              <a:endCxn id="59" idx="1"/>
            </p:cNvCxnSpPr>
            <p:nvPr/>
          </p:nvCxnSpPr>
          <p:spPr>
            <a:xfrm flipV="1">
              <a:off x="4442683" y="3288216"/>
              <a:ext cx="504001" cy="847726"/>
            </a:xfrm>
            <a:prstGeom prst="bentConnector3">
              <a:avLst/>
            </a:prstGeom>
          </p:spPr>
          <p:style>
            <a:lnRef idx="1">
              <a:schemeClr val="accent1"/>
            </a:lnRef>
            <a:fillRef idx="0">
              <a:schemeClr val="accent1"/>
            </a:fillRef>
            <a:effectRef idx="0">
              <a:schemeClr val="accent1"/>
            </a:effectRef>
            <a:fontRef idx="minor">
              <a:schemeClr val="tx1"/>
            </a:fontRef>
          </p:style>
        </p:cxnSp>
        <p:cxnSp>
          <p:nvCxnSpPr>
            <p:cNvPr id="67" name="Connector: Elbow 66">
              <a:extLst>
                <a:ext uri="{FF2B5EF4-FFF2-40B4-BE49-F238E27FC236}">
                  <a16:creationId xmlns:a16="http://schemas.microsoft.com/office/drawing/2014/main" id="{91369C21-0A58-26E5-E4B2-3400820D2ED7}"/>
                </a:ext>
              </a:extLst>
            </p:cNvPr>
            <p:cNvCxnSpPr>
              <a:stCxn id="58" idx="3"/>
              <a:endCxn id="60" idx="1"/>
            </p:cNvCxnSpPr>
            <p:nvPr/>
          </p:nvCxnSpPr>
          <p:spPr>
            <a:xfrm flipV="1">
              <a:off x="4442683" y="3712079"/>
              <a:ext cx="504001" cy="423863"/>
            </a:xfrm>
            <a:prstGeom prst="bentConnector3">
              <a:avLst/>
            </a:prstGeom>
          </p:spPr>
          <p:style>
            <a:lnRef idx="1">
              <a:schemeClr val="accent1"/>
            </a:lnRef>
            <a:fillRef idx="0">
              <a:schemeClr val="accent1"/>
            </a:fillRef>
            <a:effectRef idx="0">
              <a:schemeClr val="accent1"/>
            </a:effectRef>
            <a:fontRef idx="minor">
              <a:schemeClr val="tx1"/>
            </a:fontRef>
          </p:style>
        </p:cxnSp>
        <p:cxnSp>
          <p:nvCxnSpPr>
            <p:cNvPr id="68" name="Connector: Elbow 67">
              <a:extLst>
                <a:ext uri="{FF2B5EF4-FFF2-40B4-BE49-F238E27FC236}">
                  <a16:creationId xmlns:a16="http://schemas.microsoft.com/office/drawing/2014/main" id="{D61BB40D-D16B-AE0F-9743-BCACC4CA2F4A}"/>
                </a:ext>
              </a:extLst>
            </p:cNvPr>
            <p:cNvCxnSpPr>
              <a:stCxn id="58" idx="3"/>
              <a:endCxn id="62" idx="1"/>
            </p:cNvCxnSpPr>
            <p:nvPr/>
          </p:nvCxnSpPr>
          <p:spPr>
            <a:xfrm>
              <a:off x="4442683" y="4135942"/>
              <a:ext cx="504001" cy="423863"/>
            </a:xfrm>
            <a:prstGeom prst="bentConnector3">
              <a:avLst/>
            </a:prstGeom>
          </p:spPr>
          <p:style>
            <a:lnRef idx="1">
              <a:schemeClr val="accent1"/>
            </a:lnRef>
            <a:fillRef idx="0">
              <a:schemeClr val="accent1"/>
            </a:fillRef>
            <a:effectRef idx="0">
              <a:schemeClr val="accent1"/>
            </a:effectRef>
            <a:fontRef idx="minor">
              <a:schemeClr val="tx1"/>
            </a:fontRef>
          </p:style>
        </p:cxnSp>
        <p:cxnSp>
          <p:nvCxnSpPr>
            <p:cNvPr id="69" name="Connector: Elbow 68">
              <a:extLst>
                <a:ext uri="{FF2B5EF4-FFF2-40B4-BE49-F238E27FC236}">
                  <a16:creationId xmlns:a16="http://schemas.microsoft.com/office/drawing/2014/main" id="{6DA97FE5-56B8-336B-75F1-29B72E8E3B8D}"/>
                </a:ext>
              </a:extLst>
            </p:cNvPr>
            <p:cNvCxnSpPr>
              <a:cxnSpLocks/>
              <a:stCxn id="58" idx="3"/>
              <a:endCxn id="63" idx="1"/>
            </p:cNvCxnSpPr>
            <p:nvPr/>
          </p:nvCxnSpPr>
          <p:spPr>
            <a:xfrm>
              <a:off x="4442683" y="4135942"/>
              <a:ext cx="504001" cy="847726"/>
            </a:xfrm>
            <a:prstGeom prst="bentConnector3">
              <a:avLst>
                <a:gd name="adj1" fmla="val 50000"/>
              </a:avLst>
            </a:prstGeom>
          </p:spPr>
          <p:style>
            <a:lnRef idx="1">
              <a:schemeClr val="accent1"/>
            </a:lnRef>
            <a:fillRef idx="0">
              <a:schemeClr val="accent1"/>
            </a:fillRef>
            <a:effectRef idx="0">
              <a:schemeClr val="accent1"/>
            </a:effectRef>
            <a:fontRef idx="minor">
              <a:schemeClr val="tx1"/>
            </a:fontRef>
          </p:style>
        </p:cxnSp>
        <p:cxnSp>
          <p:nvCxnSpPr>
            <p:cNvPr id="71" name="Connector: Elbow 48">
              <a:extLst>
                <a:ext uri="{FF2B5EF4-FFF2-40B4-BE49-F238E27FC236}">
                  <a16:creationId xmlns:a16="http://schemas.microsoft.com/office/drawing/2014/main" id="{EF4404FE-5A3D-2192-907A-AB86D5C595FE}"/>
                </a:ext>
              </a:extLst>
            </p:cNvPr>
            <p:cNvCxnSpPr>
              <a:stCxn id="58" idx="3"/>
              <a:endCxn id="61" idx="1"/>
            </p:cNvCxnSpPr>
            <p:nvPr/>
          </p:nvCxnSpPr>
          <p:spPr>
            <a:xfrm>
              <a:off x="4442683" y="4135942"/>
              <a:ext cx="504001" cy="0"/>
            </a:xfrm>
            <a:prstGeom prst="straightConnector1">
              <a:avLst/>
            </a:prstGeom>
          </p:spPr>
          <p:style>
            <a:lnRef idx="1">
              <a:schemeClr val="accent1"/>
            </a:lnRef>
            <a:fillRef idx="0">
              <a:schemeClr val="accent1"/>
            </a:fillRef>
            <a:effectRef idx="0">
              <a:schemeClr val="accent1"/>
            </a:effectRef>
            <a:fontRef idx="minor">
              <a:schemeClr val="tx1"/>
            </a:fontRef>
          </p:style>
        </p:cxnSp>
      </p:grpSp>
      <p:sp>
        <p:nvSpPr>
          <p:cNvPr id="72" name="Rectangle 71">
            <a:extLst>
              <a:ext uri="{FF2B5EF4-FFF2-40B4-BE49-F238E27FC236}">
                <a16:creationId xmlns:a16="http://schemas.microsoft.com/office/drawing/2014/main" id="{B39439A0-D320-9156-0D7E-A16A2976F9DB}"/>
              </a:ext>
            </a:extLst>
          </p:cNvPr>
          <p:cNvSpPr/>
          <p:nvPr/>
        </p:nvSpPr>
        <p:spPr>
          <a:xfrm>
            <a:off x="6205597" y="2805335"/>
            <a:ext cx="1862801" cy="258532"/>
          </a:xfrm>
          <a:prstGeom prst="rect">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wrap="square" lIns="54864" tIns="36576" rIns="54864" bIns="36576" rtlCol="0" anchor="ctr">
            <a:spAutoFit/>
          </a:bodyPr>
          <a:lstStyle/>
          <a:p>
            <a:pPr algn="ctr"/>
            <a:r>
              <a:rPr lang="en-US" sz="1200"/>
              <a:t>Chunk 5</a:t>
            </a:r>
          </a:p>
        </p:txBody>
      </p:sp>
      <p:sp>
        <p:nvSpPr>
          <p:cNvPr id="73" name="Rectangle 72">
            <a:extLst>
              <a:ext uri="{FF2B5EF4-FFF2-40B4-BE49-F238E27FC236}">
                <a16:creationId xmlns:a16="http://schemas.microsoft.com/office/drawing/2014/main" id="{1959704B-7BDB-F320-C5C2-AF8F00906E45}"/>
              </a:ext>
            </a:extLst>
          </p:cNvPr>
          <p:cNvSpPr/>
          <p:nvPr/>
        </p:nvSpPr>
        <p:spPr>
          <a:xfrm>
            <a:off x="6205597" y="3229198"/>
            <a:ext cx="1862801" cy="258532"/>
          </a:xfrm>
          <a:prstGeom prst="rect">
            <a:avLst/>
          </a:prstGeom>
          <a:solidFill>
            <a:schemeClr val="bg2">
              <a:lumMod val="75000"/>
            </a:schemeClr>
          </a:solidFill>
          <a:ln>
            <a:noFill/>
          </a:ln>
        </p:spPr>
        <p:style>
          <a:lnRef idx="0">
            <a:scrgbClr r="0" g="0" b="0"/>
          </a:lnRef>
          <a:fillRef idx="0">
            <a:scrgbClr r="0" g="0" b="0"/>
          </a:fillRef>
          <a:effectRef idx="0">
            <a:scrgbClr r="0" g="0" b="0"/>
          </a:effectRef>
          <a:fontRef idx="minor">
            <a:schemeClr val="lt1"/>
          </a:fontRef>
        </p:style>
        <p:txBody>
          <a:bodyPr wrap="square" lIns="54864" tIns="36576" rIns="54864" bIns="36576" rtlCol="0" anchor="ctr">
            <a:spAutoFit/>
          </a:bodyPr>
          <a:lstStyle/>
          <a:p>
            <a:pPr algn="ctr"/>
            <a:r>
              <a:rPr lang="en-US" sz="1200"/>
              <a:t>Chunk 13</a:t>
            </a:r>
          </a:p>
        </p:txBody>
      </p:sp>
      <p:sp>
        <p:nvSpPr>
          <p:cNvPr id="75" name="Rectangle 74">
            <a:extLst>
              <a:ext uri="{FF2B5EF4-FFF2-40B4-BE49-F238E27FC236}">
                <a16:creationId xmlns:a16="http://schemas.microsoft.com/office/drawing/2014/main" id="{1E04502D-F348-E924-F62F-0C53B6E14C2F}"/>
              </a:ext>
            </a:extLst>
          </p:cNvPr>
          <p:cNvSpPr/>
          <p:nvPr/>
        </p:nvSpPr>
        <p:spPr>
          <a:xfrm>
            <a:off x="6205597" y="3653061"/>
            <a:ext cx="1862801" cy="258532"/>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wrap="square" lIns="54864" tIns="36576" rIns="54864" bIns="36576" rtlCol="0" anchor="ctr">
            <a:spAutoFit/>
          </a:bodyPr>
          <a:lstStyle/>
          <a:p>
            <a:pPr algn="ctr"/>
            <a:r>
              <a:rPr lang="en-US" sz="1200"/>
              <a:t>Chunk 20</a:t>
            </a:r>
          </a:p>
        </p:txBody>
      </p:sp>
      <p:sp>
        <p:nvSpPr>
          <p:cNvPr id="77" name="Rectangle 76">
            <a:extLst>
              <a:ext uri="{FF2B5EF4-FFF2-40B4-BE49-F238E27FC236}">
                <a16:creationId xmlns:a16="http://schemas.microsoft.com/office/drawing/2014/main" id="{AB9E1041-0D9A-76AA-BA06-4C68774FE52D}"/>
              </a:ext>
            </a:extLst>
          </p:cNvPr>
          <p:cNvSpPr/>
          <p:nvPr/>
        </p:nvSpPr>
        <p:spPr>
          <a:xfrm>
            <a:off x="6205597" y="4076924"/>
            <a:ext cx="1862801" cy="258532"/>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wrap="square" lIns="54864" tIns="36576" rIns="54864" bIns="36576" rtlCol="0" anchor="ctr">
            <a:spAutoFit/>
          </a:bodyPr>
          <a:lstStyle/>
          <a:p>
            <a:pPr algn="ctr"/>
            <a:r>
              <a:rPr lang="en-US" sz="1200"/>
              <a:t>Chunk 78</a:t>
            </a:r>
          </a:p>
        </p:txBody>
      </p:sp>
      <p:sp>
        <p:nvSpPr>
          <p:cNvPr id="78" name="Rectangle 77">
            <a:extLst>
              <a:ext uri="{FF2B5EF4-FFF2-40B4-BE49-F238E27FC236}">
                <a16:creationId xmlns:a16="http://schemas.microsoft.com/office/drawing/2014/main" id="{1E22E132-F0D1-16DD-1A0A-4DB359B97EE0}"/>
              </a:ext>
            </a:extLst>
          </p:cNvPr>
          <p:cNvSpPr/>
          <p:nvPr/>
        </p:nvSpPr>
        <p:spPr>
          <a:xfrm>
            <a:off x="6205597" y="4500787"/>
            <a:ext cx="1862801" cy="258532"/>
          </a:xfrm>
          <a:prstGeom prst="rect">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wrap="square" lIns="54864" tIns="36576" rIns="54864" bIns="36576" rtlCol="0" anchor="ctr">
            <a:noAutofit/>
          </a:bodyPr>
          <a:lstStyle/>
          <a:p>
            <a:pPr algn="ctr"/>
            <a:r>
              <a:rPr lang="en-US" sz="1200"/>
              <a:t>Chunk 85</a:t>
            </a:r>
          </a:p>
        </p:txBody>
      </p:sp>
      <p:sp>
        <p:nvSpPr>
          <p:cNvPr id="81" name="Rectangle 80">
            <a:extLst>
              <a:ext uri="{FF2B5EF4-FFF2-40B4-BE49-F238E27FC236}">
                <a16:creationId xmlns:a16="http://schemas.microsoft.com/office/drawing/2014/main" id="{6A1FD5FB-A857-F79C-5989-45C341E45EE2}"/>
              </a:ext>
            </a:extLst>
          </p:cNvPr>
          <p:cNvSpPr/>
          <p:nvPr/>
        </p:nvSpPr>
        <p:spPr>
          <a:xfrm>
            <a:off x="8419792" y="4076924"/>
            <a:ext cx="1648856" cy="258532"/>
          </a:xfrm>
          <a:prstGeom prst="rect">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wrap="square" lIns="54864" tIns="36576" rIns="54864" bIns="36576" rtlCol="0" anchor="ctr">
            <a:spAutoFit/>
          </a:bodyPr>
          <a:lstStyle/>
          <a:p>
            <a:pPr algn="ctr"/>
            <a:r>
              <a:rPr lang="en-US" sz="1200"/>
              <a:t>Chunk 5</a:t>
            </a:r>
          </a:p>
        </p:txBody>
      </p:sp>
      <p:sp>
        <p:nvSpPr>
          <p:cNvPr id="84" name="Rectangle 83">
            <a:extLst>
              <a:ext uri="{FF2B5EF4-FFF2-40B4-BE49-F238E27FC236}">
                <a16:creationId xmlns:a16="http://schemas.microsoft.com/office/drawing/2014/main" id="{DE6FC781-5612-9A9F-E162-9B8FA4C21869}"/>
              </a:ext>
            </a:extLst>
          </p:cNvPr>
          <p:cNvSpPr/>
          <p:nvPr/>
        </p:nvSpPr>
        <p:spPr>
          <a:xfrm>
            <a:off x="8419792" y="3653061"/>
            <a:ext cx="1648856" cy="258532"/>
          </a:xfrm>
          <a:prstGeom prst="rect">
            <a:avLst/>
          </a:prstGeom>
          <a:solidFill>
            <a:schemeClr val="bg2">
              <a:lumMod val="75000"/>
            </a:schemeClr>
          </a:solidFill>
          <a:ln>
            <a:noFill/>
          </a:ln>
        </p:spPr>
        <p:style>
          <a:lnRef idx="0">
            <a:scrgbClr r="0" g="0" b="0"/>
          </a:lnRef>
          <a:fillRef idx="0">
            <a:scrgbClr r="0" g="0" b="0"/>
          </a:fillRef>
          <a:effectRef idx="0">
            <a:scrgbClr r="0" g="0" b="0"/>
          </a:effectRef>
          <a:fontRef idx="minor">
            <a:schemeClr val="lt1"/>
          </a:fontRef>
        </p:style>
        <p:txBody>
          <a:bodyPr wrap="square" lIns="54864" tIns="36576" rIns="54864" bIns="36576" rtlCol="0" anchor="ctr">
            <a:spAutoFit/>
          </a:bodyPr>
          <a:lstStyle/>
          <a:p>
            <a:pPr algn="ctr"/>
            <a:r>
              <a:rPr lang="en-US" sz="1200"/>
              <a:t>Chunk 13</a:t>
            </a:r>
          </a:p>
        </p:txBody>
      </p:sp>
      <p:sp>
        <p:nvSpPr>
          <p:cNvPr id="85" name="Rectangle 84">
            <a:extLst>
              <a:ext uri="{FF2B5EF4-FFF2-40B4-BE49-F238E27FC236}">
                <a16:creationId xmlns:a16="http://schemas.microsoft.com/office/drawing/2014/main" id="{322AB08F-FB7E-8258-11B2-F58B5F6FD49D}"/>
              </a:ext>
            </a:extLst>
          </p:cNvPr>
          <p:cNvSpPr/>
          <p:nvPr/>
        </p:nvSpPr>
        <p:spPr>
          <a:xfrm>
            <a:off x="8419792" y="4500787"/>
            <a:ext cx="1648856" cy="258532"/>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wrap="square" lIns="54864" tIns="36576" rIns="54864" bIns="36576" rtlCol="0" anchor="ctr">
            <a:spAutoFit/>
          </a:bodyPr>
          <a:lstStyle/>
          <a:p>
            <a:pPr algn="ctr"/>
            <a:r>
              <a:rPr lang="en-US" sz="1200"/>
              <a:t>Chunk 20</a:t>
            </a:r>
          </a:p>
        </p:txBody>
      </p:sp>
      <p:sp>
        <p:nvSpPr>
          <p:cNvPr id="86" name="Rectangle 85">
            <a:extLst>
              <a:ext uri="{FF2B5EF4-FFF2-40B4-BE49-F238E27FC236}">
                <a16:creationId xmlns:a16="http://schemas.microsoft.com/office/drawing/2014/main" id="{87251202-3453-2A61-8AC6-08E70276202D}"/>
              </a:ext>
            </a:extLst>
          </p:cNvPr>
          <p:cNvSpPr/>
          <p:nvPr/>
        </p:nvSpPr>
        <p:spPr>
          <a:xfrm>
            <a:off x="8419792" y="2805335"/>
            <a:ext cx="1648856" cy="258532"/>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wrap="square" lIns="54864" tIns="36576" rIns="54864" bIns="36576" rtlCol="0" anchor="ctr">
            <a:spAutoFit/>
          </a:bodyPr>
          <a:lstStyle/>
          <a:p>
            <a:pPr algn="ctr"/>
            <a:r>
              <a:rPr lang="en-US" sz="1200"/>
              <a:t>Chunk 78</a:t>
            </a:r>
          </a:p>
        </p:txBody>
      </p:sp>
      <p:sp>
        <p:nvSpPr>
          <p:cNvPr id="87" name="Rectangle 86">
            <a:extLst>
              <a:ext uri="{FF2B5EF4-FFF2-40B4-BE49-F238E27FC236}">
                <a16:creationId xmlns:a16="http://schemas.microsoft.com/office/drawing/2014/main" id="{A93706AF-247F-37A0-4DB2-0F2756B31785}"/>
              </a:ext>
            </a:extLst>
          </p:cNvPr>
          <p:cNvSpPr/>
          <p:nvPr/>
        </p:nvSpPr>
        <p:spPr>
          <a:xfrm>
            <a:off x="8419792" y="3229198"/>
            <a:ext cx="1648856" cy="258532"/>
          </a:xfrm>
          <a:prstGeom prst="rect">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wrap="square" lIns="54864" tIns="36576" rIns="54864" bIns="36576" rtlCol="0" anchor="ctr">
            <a:noAutofit/>
          </a:bodyPr>
          <a:lstStyle/>
          <a:p>
            <a:pPr algn="ctr"/>
            <a:r>
              <a:rPr lang="en-US" sz="1200"/>
              <a:t>Chunk 85</a:t>
            </a:r>
          </a:p>
        </p:txBody>
      </p:sp>
      <p:sp>
        <p:nvSpPr>
          <p:cNvPr id="88" name="Oval 87">
            <a:extLst>
              <a:ext uri="{FF2B5EF4-FFF2-40B4-BE49-F238E27FC236}">
                <a16:creationId xmlns:a16="http://schemas.microsoft.com/office/drawing/2014/main" id="{24D5A2D1-1F8C-557F-B55D-9324B78B202B}"/>
              </a:ext>
            </a:extLst>
          </p:cNvPr>
          <p:cNvSpPr/>
          <p:nvPr/>
        </p:nvSpPr>
        <p:spPr>
          <a:xfrm>
            <a:off x="10648926" y="2549903"/>
            <a:ext cx="1065104" cy="1065104"/>
          </a:xfrm>
          <a:prstGeom prst="ellipse">
            <a:avLst/>
          </a:prstGeom>
          <a:solidFill>
            <a:schemeClr val="bg1"/>
          </a:solidFill>
          <a:ln>
            <a:noFill/>
          </a:ln>
          <a:effectLst>
            <a:outerShdw blurRad="63500" algn="ctr" rotWithShape="0">
              <a:prstClr val="black">
                <a:alpha val="25000"/>
              </a:prstClr>
            </a:outerShdw>
          </a:effectLst>
        </p:spPr>
        <p:style>
          <a:lnRef idx="0">
            <a:scrgbClr r="0" g="0" b="0"/>
          </a:lnRef>
          <a:fillRef idx="0">
            <a:scrgbClr r="0" g="0" b="0"/>
          </a:fillRef>
          <a:effectRef idx="0">
            <a:scrgbClr r="0" g="0" b="0"/>
          </a:effectRef>
          <a:fontRef idx="minor">
            <a:schemeClr val="lt1"/>
          </a:fontRef>
        </p:style>
        <p:txBody>
          <a:bodyPr rtlCol="0" anchor="ctr"/>
          <a:lstStyle/>
          <a:p>
            <a:pPr algn="ctr"/>
            <a:endParaRPr lang="en-IN"/>
          </a:p>
        </p:txBody>
      </p:sp>
      <p:sp>
        <p:nvSpPr>
          <p:cNvPr id="89" name="TextBox 88">
            <a:extLst>
              <a:ext uri="{FF2B5EF4-FFF2-40B4-BE49-F238E27FC236}">
                <a16:creationId xmlns:a16="http://schemas.microsoft.com/office/drawing/2014/main" id="{1865AC7C-DC9F-BBBA-BD13-2C5D28113447}"/>
              </a:ext>
            </a:extLst>
          </p:cNvPr>
          <p:cNvSpPr txBox="1"/>
          <p:nvPr/>
        </p:nvSpPr>
        <p:spPr>
          <a:xfrm>
            <a:off x="10521569" y="3246375"/>
            <a:ext cx="1319820" cy="242414"/>
          </a:xfrm>
          <a:prstGeom prst="roundRect">
            <a:avLst>
              <a:gd name="adj" fmla="val 50000"/>
            </a:avLst>
          </a:prstGeom>
          <a:solidFill>
            <a:schemeClr val="accent1"/>
          </a:solidFill>
        </p:spPr>
        <p:txBody>
          <a:bodyPr wrap="none" rtlCol="0" anchor="ctr">
            <a:noAutofit/>
          </a:bodyPr>
          <a:lstStyle>
            <a:defPPr>
              <a:defRPr lang="en-US"/>
            </a:defPPr>
            <a:lvl1pPr marL="3175" algn="ctr">
              <a:buClr>
                <a:srgbClr val="303030">
                  <a:lumMod val="50000"/>
                  <a:lumOff val="50000"/>
                </a:srgbClr>
              </a:buClr>
              <a:defRPr sz="1400" b="1">
                <a:solidFill>
                  <a:schemeClr val="bg1"/>
                </a:solidFill>
                <a:cs typeface="Tahoma" pitchFamily="34" charset="0"/>
              </a:defRPr>
            </a:lvl1pPr>
          </a:lstStyle>
          <a:p>
            <a:r>
              <a:rPr lang="en-US"/>
              <a:t>LLM Model</a:t>
            </a:r>
          </a:p>
        </p:txBody>
      </p:sp>
      <p:pic>
        <p:nvPicPr>
          <p:cNvPr id="90" name="Picture 89" descr="A black and white logo&#10;&#10;Description automatically generated">
            <a:extLst>
              <a:ext uri="{FF2B5EF4-FFF2-40B4-BE49-F238E27FC236}">
                <a16:creationId xmlns:a16="http://schemas.microsoft.com/office/drawing/2014/main" id="{2AF1E680-0439-3313-AA0B-BD5E23438B23}"/>
              </a:ext>
            </a:extLst>
          </p:cNvPr>
          <p:cNvPicPr>
            <a:picLocks noChangeAspect="1"/>
          </p:cNvPicPr>
          <p:nvPr/>
        </p:nvPicPr>
        <p:blipFill rotWithShape="1">
          <a:blip r:embed="rId7"/>
          <a:srcRect l="10362" t="9881" r="8693" b="4192"/>
          <a:stretch/>
        </p:blipFill>
        <p:spPr>
          <a:xfrm>
            <a:off x="10917160" y="2656359"/>
            <a:ext cx="538162" cy="554806"/>
          </a:xfrm>
          <a:prstGeom prst="rect">
            <a:avLst/>
          </a:prstGeom>
        </p:spPr>
      </p:pic>
      <p:sp>
        <p:nvSpPr>
          <p:cNvPr id="91" name="Rectangle: Rounded Corners 90">
            <a:extLst>
              <a:ext uri="{FF2B5EF4-FFF2-40B4-BE49-F238E27FC236}">
                <a16:creationId xmlns:a16="http://schemas.microsoft.com/office/drawing/2014/main" id="{5F492E29-41E1-C9BE-D9FE-975B8E8D2C79}"/>
              </a:ext>
            </a:extLst>
          </p:cNvPr>
          <p:cNvSpPr/>
          <p:nvPr/>
        </p:nvSpPr>
        <p:spPr>
          <a:xfrm>
            <a:off x="10648926" y="4130056"/>
            <a:ext cx="1065104" cy="731268"/>
          </a:xfrm>
          <a:prstGeom prst="roundRect">
            <a:avLst>
              <a:gd name="adj" fmla="val 10302"/>
            </a:avLst>
          </a:prstGeom>
          <a:solidFill>
            <a:schemeClr val="accent3"/>
          </a:solidFill>
          <a:ln>
            <a:noFill/>
          </a:ln>
          <a:effectLst>
            <a:outerShdw blurRad="63500" algn="ctr" rotWithShape="0">
              <a:prstClr val="black">
                <a:alpha val="25000"/>
              </a:prstClr>
            </a:outerShdw>
          </a:effectLst>
        </p:spPr>
        <p:style>
          <a:lnRef idx="0">
            <a:scrgbClr r="0" g="0" b="0"/>
          </a:lnRef>
          <a:fillRef idx="0">
            <a:scrgbClr r="0" g="0" b="0"/>
          </a:fillRef>
          <a:effectRef idx="0">
            <a:scrgbClr r="0" g="0" b="0"/>
          </a:effectRef>
          <a:fontRef idx="minor">
            <a:schemeClr val="lt1"/>
          </a:fontRef>
        </p:style>
        <p:txBody>
          <a:bodyPr wrap="none" rtlCol="0" anchor="ctr"/>
          <a:lstStyle/>
          <a:p>
            <a:pPr marL="3175" algn="ctr">
              <a:spcBef>
                <a:spcPts val="600"/>
              </a:spcBef>
              <a:spcAft>
                <a:spcPts val="600"/>
              </a:spcAft>
              <a:buClr>
                <a:srgbClr val="303030">
                  <a:lumMod val="50000"/>
                  <a:lumOff val="50000"/>
                </a:srgbClr>
              </a:buClr>
            </a:pPr>
            <a:r>
              <a:rPr lang="en-US" sz="1800" b="1">
                <a:solidFill>
                  <a:schemeClr val="bg1"/>
                </a:solidFill>
                <a:cs typeface="Tahoma" pitchFamily="34" charset="0"/>
              </a:rPr>
              <a:t>Final</a:t>
            </a:r>
            <a:br>
              <a:rPr lang="en-US" sz="1800" b="1">
                <a:solidFill>
                  <a:schemeClr val="bg1"/>
                </a:solidFill>
                <a:cs typeface="Tahoma" pitchFamily="34" charset="0"/>
              </a:rPr>
            </a:br>
            <a:r>
              <a:rPr lang="en-US" sz="1800" b="1">
                <a:solidFill>
                  <a:schemeClr val="bg1"/>
                </a:solidFill>
                <a:cs typeface="Tahoma" pitchFamily="34" charset="0"/>
              </a:rPr>
              <a:t>Response</a:t>
            </a:r>
          </a:p>
        </p:txBody>
      </p:sp>
      <p:grpSp>
        <p:nvGrpSpPr>
          <p:cNvPr id="92" name="Group 91">
            <a:extLst>
              <a:ext uri="{FF2B5EF4-FFF2-40B4-BE49-F238E27FC236}">
                <a16:creationId xmlns:a16="http://schemas.microsoft.com/office/drawing/2014/main" id="{91BD90C5-B07E-25D5-42F5-3F1AFD2ABFED}"/>
              </a:ext>
            </a:extLst>
          </p:cNvPr>
          <p:cNvGrpSpPr/>
          <p:nvPr/>
        </p:nvGrpSpPr>
        <p:grpSpPr>
          <a:xfrm>
            <a:off x="10287395" y="2952569"/>
            <a:ext cx="211932" cy="259772"/>
            <a:chOff x="3208415" y="3306184"/>
            <a:chExt cx="211932" cy="259772"/>
          </a:xfrm>
        </p:grpSpPr>
        <p:sp>
          <p:nvSpPr>
            <p:cNvPr id="93" name="Isosceles Triangle 92">
              <a:extLst>
                <a:ext uri="{FF2B5EF4-FFF2-40B4-BE49-F238E27FC236}">
                  <a16:creationId xmlns:a16="http://schemas.microsoft.com/office/drawing/2014/main" id="{39869EAE-01C2-8471-5839-E0FB5E071FE9}"/>
                </a:ext>
              </a:extLst>
            </p:cNvPr>
            <p:cNvSpPr/>
            <p:nvPr/>
          </p:nvSpPr>
          <p:spPr>
            <a:xfrm rot="5400000">
              <a:off x="3220549" y="3366158"/>
              <a:ext cx="259772" cy="139824"/>
            </a:xfrm>
            <a:prstGeom prst="triangle">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IN"/>
            </a:p>
          </p:txBody>
        </p:sp>
        <p:sp>
          <p:nvSpPr>
            <p:cNvPr id="94" name="Isosceles Triangle 93">
              <a:extLst>
                <a:ext uri="{FF2B5EF4-FFF2-40B4-BE49-F238E27FC236}">
                  <a16:creationId xmlns:a16="http://schemas.microsoft.com/office/drawing/2014/main" id="{9F96D202-FAD7-20E2-5A97-82ABEB66C1F5}"/>
                </a:ext>
              </a:extLst>
            </p:cNvPr>
            <p:cNvSpPr/>
            <p:nvPr/>
          </p:nvSpPr>
          <p:spPr>
            <a:xfrm rot="5400000">
              <a:off x="3148441" y="3366158"/>
              <a:ext cx="259772" cy="139824"/>
            </a:xfrm>
            <a:prstGeom prst="triangle">
              <a:avLst/>
            </a:prstGeom>
            <a:solidFill>
              <a:schemeClr val="accent1">
                <a:lumMod val="20000"/>
                <a:lumOff val="8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IN"/>
            </a:p>
          </p:txBody>
        </p:sp>
      </p:grpSp>
      <p:sp>
        <p:nvSpPr>
          <p:cNvPr id="95" name="Isosceles Triangle 94">
            <a:extLst>
              <a:ext uri="{FF2B5EF4-FFF2-40B4-BE49-F238E27FC236}">
                <a16:creationId xmlns:a16="http://schemas.microsoft.com/office/drawing/2014/main" id="{77322E23-9377-7B17-58B2-6E7D09FBA9E0}"/>
              </a:ext>
            </a:extLst>
          </p:cNvPr>
          <p:cNvSpPr/>
          <p:nvPr/>
        </p:nvSpPr>
        <p:spPr>
          <a:xfrm rot="10800000">
            <a:off x="11051592" y="3865366"/>
            <a:ext cx="259772" cy="139824"/>
          </a:xfrm>
          <a:prstGeom prst="triangle">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IN"/>
          </a:p>
        </p:txBody>
      </p:sp>
      <p:sp>
        <p:nvSpPr>
          <p:cNvPr id="96" name="Isosceles Triangle 95">
            <a:extLst>
              <a:ext uri="{FF2B5EF4-FFF2-40B4-BE49-F238E27FC236}">
                <a16:creationId xmlns:a16="http://schemas.microsoft.com/office/drawing/2014/main" id="{2C8803D5-FDE7-267F-1CD5-97738425872F}"/>
              </a:ext>
            </a:extLst>
          </p:cNvPr>
          <p:cNvSpPr/>
          <p:nvPr/>
        </p:nvSpPr>
        <p:spPr>
          <a:xfrm rot="10800000">
            <a:off x="11051592" y="3793258"/>
            <a:ext cx="259772" cy="139824"/>
          </a:xfrm>
          <a:prstGeom prst="triangle">
            <a:avLst/>
          </a:prstGeom>
          <a:solidFill>
            <a:schemeClr val="accent3">
              <a:lumMod val="20000"/>
              <a:lumOff val="8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IN"/>
          </a:p>
        </p:txBody>
      </p:sp>
      <p:sp>
        <p:nvSpPr>
          <p:cNvPr id="97" name="Left Bracket 96">
            <a:extLst>
              <a:ext uri="{FF2B5EF4-FFF2-40B4-BE49-F238E27FC236}">
                <a16:creationId xmlns:a16="http://schemas.microsoft.com/office/drawing/2014/main" id="{6A78C20E-0728-62BC-197C-0A575A48B814}"/>
              </a:ext>
            </a:extLst>
          </p:cNvPr>
          <p:cNvSpPr/>
          <p:nvPr/>
        </p:nvSpPr>
        <p:spPr>
          <a:xfrm>
            <a:off x="4475249" y="4994823"/>
            <a:ext cx="89496" cy="1648580"/>
          </a:xfrm>
          <a:prstGeom prst="leftBracket">
            <a:avLst>
              <a:gd name="adj" fmla="val 117379"/>
            </a:avLst>
          </a:prstGeom>
          <a:ln w="19050">
            <a:solidFill>
              <a:schemeClr val="accent3"/>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IN"/>
          </a:p>
        </p:txBody>
      </p:sp>
      <p:sp>
        <p:nvSpPr>
          <p:cNvPr id="98" name="Rectangle: Top Corners Rounded 97">
            <a:extLst>
              <a:ext uri="{FF2B5EF4-FFF2-40B4-BE49-F238E27FC236}">
                <a16:creationId xmlns:a16="http://schemas.microsoft.com/office/drawing/2014/main" id="{4B6BB3AC-3EC7-5C2B-46C1-96FF823F0AAE}"/>
              </a:ext>
            </a:extLst>
          </p:cNvPr>
          <p:cNvSpPr/>
          <p:nvPr/>
        </p:nvSpPr>
        <p:spPr>
          <a:xfrm rot="5400000">
            <a:off x="6878146" y="2693929"/>
            <a:ext cx="349760" cy="5155555"/>
          </a:xfrm>
          <a:prstGeom prst="round2SameRect">
            <a:avLst>
              <a:gd name="adj1" fmla="val 0"/>
              <a:gd name="adj2" fmla="val 0"/>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IN"/>
          </a:p>
        </p:txBody>
      </p:sp>
      <p:sp>
        <p:nvSpPr>
          <p:cNvPr id="99" name="TextBox 98">
            <a:extLst>
              <a:ext uri="{FF2B5EF4-FFF2-40B4-BE49-F238E27FC236}">
                <a16:creationId xmlns:a16="http://schemas.microsoft.com/office/drawing/2014/main" id="{1D6F012D-D410-46B6-B3EA-9DEDB1E250B2}"/>
              </a:ext>
            </a:extLst>
          </p:cNvPr>
          <p:cNvSpPr txBox="1"/>
          <p:nvPr/>
        </p:nvSpPr>
        <p:spPr>
          <a:xfrm>
            <a:off x="6287582" y="5169587"/>
            <a:ext cx="1182777" cy="276999"/>
          </a:xfrm>
          <a:prstGeom prst="rect">
            <a:avLst/>
          </a:prstGeom>
          <a:noFill/>
          <a:ln>
            <a:noFill/>
          </a:ln>
        </p:spPr>
        <p:txBody>
          <a:bodyPr wrap="square" lIns="0" tIns="0" rIns="0" bIns="0" rtlCol="0" anchor="ctr">
            <a:spAutoFit/>
          </a:bodyPr>
          <a:lstStyle/>
          <a:p>
            <a:pPr marL="3175" algn="ctr">
              <a:spcBef>
                <a:spcPts val="600"/>
              </a:spcBef>
              <a:spcAft>
                <a:spcPts val="600"/>
              </a:spcAft>
              <a:buClr>
                <a:srgbClr val="303030">
                  <a:lumMod val="50000"/>
                  <a:lumOff val="50000"/>
                </a:srgbClr>
              </a:buClr>
            </a:pPr>
            <a:r>
              <a:rPr lang="en-US" b="1">
                <a:solidFill>
                  <a:schemeClr val="bg1"/>
                </a:solidFill>
                <a:cs typeface="Tahoma" pitchFamily="34" charset="0"/>
              </a:rPr>
              <a:t>Solution</a:t>
            </a:r>
          </a:p>
        </p:txBody>
      </p:sp>
      <p:sp>
        <p:nvSpPr>
          <p:cNvPr id="100" name="TextBox 99">
            <a:extLst>
              <a:ext uri="{FF2B5EF4-FFF2-40B4-BE49-F238E27FC236}">
                <a16:creationId xmlns:a16="http://schemas.microsoft.com/office/drawing/2014/main" id="{DFF665FE-2DA7-A20F-3D9A-B7D07806AE4F}"/>
              </a:ext>
            </a:extLst>
          </p:cNvPr>
          <p:cNvSpPr txBox="1"/>
          <p:nvPr/>
        </p:nvSpPr>
        <p:spPr>
          <a:xfrm>
            <a:off x="4564745" y="5545176"/>
            <a:ext cx="4826000" cy="943848"/>
          </a:xfrm>
          <a:prstGeom prst="rect">
            <a:avLst/>
          </a:prstGeom>
          <a:noFill/>
        </p:spPr>
        <p:txBody>
          <a:bodyPr wrap="square" lIns="0" tIns="0" rIns="0" bIns="0" anchor="t">
            <a:spAutoFit/>
          </a:bodyPr>
          <a:lstStyle/>
          <a:p>
            <a:pPr marL="228600" indent="-225425">
              <a:spcBef>
                <a:spcPts val="400"/>
              </a:spcBef>
              <a:spcAft>
                <a:spcPts val="400"/>
              </a:spcAft>
              <a:buClr>
                <a:schemeClr val="bg2">
                  <a:lumMod val="50000"/>
                </a:schemeClr>
              </a:buClr>
              <a:buSzPct val="100000"/>
              <a:buFont typeface="Arial" panose="020B0604020202020204" pitchFamily="34" charset="0"/>
              <a:buChar char="•"/>
              <a:defRPr/>
            </a:pPr>
            <a:r>
              <a:rPr lang="en-US" sz="1600">
                <a:solidFill>
                  <a:srgbClr val="304659"/>
                </a:solidFill>
                <a:latin typeface="Calibri" panose="020F0502020204030204" pitchFamily="34" charset="0"/>
                <a:ea typeface="+mn-lt"/>
                <a:cs typeface="+mn-lt"/>
              </a:rPr>
              <a:t> Improve the semantic search technique</a:t>
            </a:r>
          </a:p>
          <a:p>
            <a:pPr marL="228600" indent="-225425">
              <a:spcBef>
                <a:spcPts val="400"/>
              </a:spcBef>
              <a:spcAft>
                <a:spcPts val="400"/>
              </a:spcAft>
              <a:buClr>
                <a:schemeClr val="bg2">
                  <a:lumMod val="50000"/>
                </a:schemeClr>
              </a:buClr>
              <a:buSzPct val="100000"/>
              <a:buFont typeface="Arial" panose="020B0604020202020204" pitchFamily="34" charset="0"/>
              <a:buChar char="•"/>
              <a:defRPr/>
            </a:pPr>
            <a:r>
              <a:rPr lang="en-US" sz="1600">
                <a:solidFill>
                  <a:srgbClr val="304659"/>
                </a:solidFill>
                <a:latin typeface="Calibri" panose="020F0502020204030204" pitchFamily="34" charset="0"/>
                <a:ea typeface="+mn-lt"/>
                <a:cs typeface="+mn-lt"/>
              </a:rPr>
              <a:t> Modifying the suitable similarity score threshold</a:t>
            </a:r>
            <a:endParaRPr lang="en-US" sz="1600">
              <a:solidFill>
                <a:srgbClr val="304659"/>
              </a:solidFill>
              <a:latin typeface="Calibri" panose="020F0502020204030204" pitchFamily="34" charset="0"/>
              <a:cs typeface="Calibri"/>
            </a:endParaRPr>
          </a:p>
          <a:p>
            <a:pPr marL="228600" indent="-225425">
              <a:spcBef>
                <a:spcPts val="400"/>
              </a:spcBef>
              <a:spcAft>
                <a:spcPts val="400"/>
              </a:spcAft>
              <a:buClr>
                <a:schemeClr val="bg2">
                  <a:lumMod val="50000"/>
                </a:schemeClr>
              </a:buClr>
              <a:buSzPct val="100000"/>
              <a:buFont typeface="Arial" panose="020B0604020202020204" pitchFamily="34" charset="0"/>
              <a:buChar char="•"/>
              <a:defRPr/>
            </a:pPr>
            <a:r>
              <a:rPr lang="en-US" sz="1600">
                <a:solidFill>
                  <a:srgbClr val="304659"/>
                </a:solidFill>
                <a:latin typeface="Calibri" panose="020F0502020204030204" pitchFamily="34" charset="0"/>
                <a:ea typeface="+mn-lt"/>
                <a:cs typeface="+mn-lt"/>
              </a:rPr>
              <a:t> Improve ranking technique</a:t>
            </a:r>
            <a:endParaRPr lang="en-US" sz="1600">
              <a:solidFill>
                <a:srgbClr val="304659"/>
              </a:solidFill>
              <a:latin typeface="Calibri" panose="020F0502020204030204" pitchFamily="34" charset="0"/>
            </a:endParaRPr>
          </a:p>
        </p:txBody>
      </p:sp>
      <p:sp>
        <p:nvSpPr>
          <p:cNvPr id="101" name="Oval 100">
            <a:extLst>
              <a:ext uri="{FF2B5EF4-FFF2-40B4-BE49-F238E27FC236}">
                <a16:creationId xmlns:a16="http://schemas.microsoft.com/office/drawing/2014/main" id="{2E0E7734-B01A-77E4-042D-547E7ACAA673}"/>
              </a:ext>
            </a:extLst>
          </p:cNvPr>
          <p:cNvSpPr/>
          <p:nvPr/>
        </p:nvSpPr>
        <p:spPr>
          <a:xfrm>
            <a:off x="8937882" y="4983936"/>
            <a:ext cx="590749" cy="553200"/>
          </a:xfrm>
          <a:prstGeom prst="ellipse">
            <a:avLst/>
          </a:prstGeom>
          <a:solidFill>
            <a:schemeClr val="bg1"/>
          </a:solidFill>
          <a:ln w="19050">
            <a:solidFill>
              <a:schemeClr val="accent3"/>
            </a:solid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pic>
        <p:nvPicPr>
          <p:cNvPr id="102" name="Graphic 101">
            <a:extLst>
              <a:ext uri="{FF2B5EF4-FFF2-40B4-BE49-F238E27FC236}">
                <a16:creationId xmlns:a16="http://schemas.microsoft.com/office/drawing/2014/main" id="{665C5EF5-EC3A-96E8-804B-C2467DF23363}"/>
              </a:ext>
            </a:extLst>
          </p:cNvPr>
          <p:cNvPicPr>
            <a:picLocks/>
          </p:cNvPicPr>
          <p:nvPr/>
        </p:nvPicPr>
        <p:blipFill>
          <a:blip r:embed="rId8">
            <a:extLst>
              <a:ext uri="{96DAC541-7B7A-43D3-8B79-37D633B846F1}">
                <asvg:svgBlip xmlns:asvg="http://schemas.microsoft.com/office/drawing/2016/SVG/main" r:embed="rId9"/>
              </a:ext>
            </a:extLst>
          </a:blip>
          <a:stretch>
            <a:fillRect/>
          </a:stretch>
        </p:blipFill>
        <p:spPr>
          <a:xfrm>
            <a:off x="9006612" y="5086835"/>
            <a:ext cx="454778" cy="425873"/>
          </a:xfrm>
          <a:prstGeom prst="rect">
            <a:avLst/>
          </a:prstGeom>
        </p:spPr>
      </p:pic>
      <p:sp>
        <p:nvSpPr>
          <p:cNvPr id="103" name="Left Bracket 102">
            <a:extLst>
              <a:ext uri="{FF2B5EF4-FFF2-40B4-BE49-F238E27FC236}">
                <a16:creationId xmlns:a16="http://schemas.microsoft.com/office/drawing/2014/main" id="{B3EFD171-7B95-887E-77CB-81C3711F7BF9}"/>
              </a:ext>
            </a:extLst>
          </p:cNvPr>
          <p:cNvSpPr/>
          <p:nvPr/>
        </p:nvSpPr>
        <p:spPr>
          <a:xfrm rot="10800000">
            <a:off x="9552613" y="5024365"/>
            <a:ext cx="89496" cy="1648578"/>
          </a:xfrm>
          <a:prstGeom prst="leftBracket">
            <a:avLst>
              <a:gd name="adj" fmla="val 117379"/>
            </a:avLst>
          </a:prstGeom>
          <a:ln w="19050">
            <a:solidFill>
              <a:schemeClr val="accent3"/>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IN"/>
          </a:p>
        </p:txBody>
      </p:sp>
    </p:spTree>
    <p:custDataLst>
      <p:custData r:id="rId1"/>
    </p:custDataLst>
    <p:extLst>
      <p:ext uri="{BB962C8B-B14F-4D97-AF65-F5344CB8AC3E}">
        <p14:creationId xmlns:p14="http://schemas.microsoft.com/office/powerpoint/2010/main" val="275724948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578C2C66-C0F5-EFEE-1F4A-C9C6247EABC9}"/>
              </a:ext>
            </a:extLst>
          </p:cNvPr>
          <p:cNvSpPr>
            <a:spLocks noGrp="1"/>
          </p:cNvSpPr>
          <p:nvPr>
            <p:ph type="body" sz="quarter" idx="10"/>
          </p:nvPr>
        </p:nvSpPr>
        <p:spPr>
          <a:xfrm>
            <a:off x="609600" y="1371600"/>
            <a:ext cx="10972800" cy="4401205"/>
          </a:xfrm>
        </p:spPr>
        <p:txBody>
          <a:bodyPr wrap="square">
            <a:spAutoFit/>
          </a:bodyPr>
          <a:lstStyle/>
          <a:p>
            <a:r>
              <a:rPr lang="en-US"/>
              <a:t>User Feedbacks</a:t>
            </a:r>
          </a:p>
          <a:p>
            <a:r>
              <a:rPr lang="en-US"/>
              <a:t>Resolved Issues with Latest Architecture</a:t>
            </a:r>
          </a:p>
          <a:p>
            <a:pPr lvl="1"/>
            <a:r>
              <a:rPr lang="en-US"/>
              <a:t>Issues with Examples</a:t>
            </a:r>
          </a:p>
          <a:p>
            <a:pPr lvl="1"/>
            <a:r>
              <a:rPr lang="en-US"/>
              <a:t>New architecture resolved the issue</a:t>
            </a:r>
          </a:p>
          <a:p>
            <a:pPr lvl="1"/>
            <a:r>
              <a:rPr lang="en-US"/>
              <a:t>Response Improvisation Instances	</a:t>
            </a:r>
          </a:p>
          <a:p>
            <a:r>
              <a:rPr lang="en-US"/>
              <a:t>Issues which need to be worked on </a:t>
            </a:r>
          </a:p>
          <a:p>
            <a:pPr lvl="1"/>
            <a:r>
              <a:rPr lang="en-US"/>
              <a:t>Issues with examples</a:t>
            </a:r>
          </a:p>
          <a:p>
            <a:pPr lvl="1"/>
            <a:r>
              <a:rPr lang="en-US"/>
              <a:t>Root Cause Analysis &amp; Solution</a:t>
            </a:r>
          </a:p>
          <a:p>
            <a:r>
              <a:rPr lang="en-US" b="1"/>
              <a:t>Need discussion with Medical Affairs Team on Feedbacks</a:t>
            </a:r>
          </a:p>
        </p:txBody>
      </p:sp>
      <p:sp>
        <p:nvSpPr>
          <p:cNvPr id="4" name="Title 3">
            <a:extLst>
              <a:ext uri="{FF2B5EF4-FFF2-40B4-BE49-F238E27FC236}">
                <a16:creationId xmlns:a16="http://schemas.microsoft.com/office/drawing/2014/main" id="{ED736DB7-2D74-6B6B-FF7E-6F53B395DA40}"/>
              </a:ext>
            </a:extLst>
          </p:cNvPr>
          <p:cNvSpPr>
            <a:spLocks noGrp="1"/>
          </p:cNvSpPr>
          <p:nvPr>
            <p:ph type="title"/>
          </p:nvPr>
        </p:nvSpPr>
        <p:spPr>
          <a:xfrm>
            <a:off x="609600" y="104415"/>
            <a:ext cx="10972800" cy="906738"/>
          </a:xfrm>
        </p:spPr>
        <p:txBody>
          <a:bodyPr/>
          <a:lstStyle/>
          <a:p>
            <a:r>
              <a:rPr lang="en-US"/>
              <a:t>Agenda</a:t>
            </a:r>
          </a:p>
        </p:txBody>
      </p:sp>
      <p:sp>
        <p:nvSpPr>
          <p:cNvPr id="7" name="Text Placeholder 6">
            <a:extLst>
              <a:ext uri="{FF2B5EF4-FFF2-40B4-BE49-F238E27FC236}">
                <a16:creationId xmlns:a16="http://schemas.microsoft.com/office/drawing/2014/main" id="{9C92888C-CE4D-DE6A-86AD-2AE0BD6D1F1D}"/>
              </a:ext>
            </a:extLst>
          </p:cNvPr>
          <p:cNvSpPr>
            <a:spLocks noGrp="1"/>
          </p:cNvSpPr>
          <p:nvPr>
            <p:ph type="body" sz="quarter" idx="12"/>
          </p:nvPr>
        </p:nvSpPr>
        <p:spPr>
          <a:xfrm rot="10800000">
            <a:off x="445008" y="5443621"/>
            <a:ext cx="329184" cy="329184"/>
          </a:xfrm>
        </p:spPr>
        <p:txBody>
          <a:bodyPr/>
          <a:lstStyle/>
          <a:p>
            <a:endParaRPr lang="en-IN"/>
          </a:p>
        </p:txBody>
      </p:sp>
    </p:spTree>
    <p:custDataLst>
      <p:custData r:id="rId1"/>
    </p:custDataLst>
    <p:extLst>
      <p:ext uri="{BB962C8B-B14F-4D97-AF65-F5344CB8AC3E}">
        <p14:creationId xmlns:p14="http://schemas.microsoft.com/office/powerpoint/2010/main" val="361403090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578C2C66-C0F5-EFEE-1F4A-C9C6247EABC9}"/>
              </a:ext>
            </a:extLst>
          </p:cNvPr>
          <p:cNvSpPr>
            <a:spLocks noGrp="1"/>
          </p:cNvSpPr>
          <p:nvPr>
            <p:ph type="body" sz="quarter" idx="10"/>
          </p:nvPr>
        </p:nvSpPr>
        <p:spPr>
          <a:xfrm>
            <a:off x="609600" y="1371600"/>
            <a:ext cx="10972800" cy="4401205"/>
          </a:xfrm>
        </p:spPr>
        <p:txBody>
          <a:bodyPr wrap="square">
            <a:spAutoFit/>
          </a:bodyPr>
          <a:lstStyle/>
          <a:p>
            <a:r>
              <a:rPr lang="en-US" b="1"/>
              <a:t>User Feedbacks</a:t>
            </a:r>
          </a:p>
          <a:p>
            <a:r>
              <a:rPr lang="en-US"/>
              <a:t>Resolved Issues with Latest Architecture</a:t>
            </a:r>
          </a:p>
          <a:p>
            <a:pPr lvl="1"/>
            <a:r>
              <a:rPr lang="en-US"/>
              <a:t>Issues with Examples</a:t>
            </a:r>
          </a:p>
          <a:p>
            <a:pPr lvl="1"/>
            <a:r>
              <a:rPr lang="en-US"/>
              <a:t>New architecture resolved the issue</a:t>
            </a:r>
          </a:p>
          <a:p>
            <a:pPr lvl="1"/>
            <a:r>
              <a:rPr lang="en-US"/>
              <a:t>Response Improvisation Instances	</a:t>
            </a:r>
          </a:p>
          <a:p>
            <a:r>
              <a:rPr lang="en-US"/>
              <a:t>Issues which need to worked On </a:t>
            </a:r>
          </a:p>
          <a:p>
            <a:pPr lvl="1"/>
            <a:r>
              <a:rPr lang="en-US"/>
              <a:t>Issues with examples</a:t>
            </a:r>
          </a:p>
          <a:p>
            <a:pPr lvl="1"/>
            <a:r>
              <a:rPr lang="en-US"/>
              <a:t>Root Cause Analysis &amp; Solution</a:t>
            </a:r>
          </a:p>
          <a:p>
            <a:r>
              <a:rPr lang="en-US"/>
              <a:t>Feedback - Need discussion with Medical Affairs Team</a:t>
            </a:r>
          </a:p>
        </p:txBody>
      </p:sp>
      <p:sp>
        <p:nvSpPr>
          <p:cNvPr id="4" name="Title 3">
            <a:extLst>
              <a:ext uri="{FF2B5EF4-FFF2-40B4-BE49-F238E27FC236}">
                <a16:creationId xmlns:a16="http://schemas.microsoft.com/office/drawing/2014/main" id="{ED736DB7-2D74-6B6B-FF7E-6F53B395DA40}"/>
              </a:ext>
            </a:extLst>
          </p:cNvPr>
          <p:cNvSpPr>
            <a:spLocks noGrp="1"/>
          </p:cNvSpPr>
          <p:nvPr>
            <p:ph type="title"/>
          </p:nvPr>
        </p:nvSpPr>
        <p:spPr>
          <a:xfrm>
            <a:off x="609600" y="104415"/>
            <a:ext cx="10972800" cy="906738"/>
          </a:xfrm>
        </p:spPr>
        <p:txBody>
          <a:bodyPr/>
          <a:lstStyle/>
          <a:p>
            <a:r>
              <a:rPr lang="en-US"/>
              <a:t>Agenda</a:t>
            </a:r>
          </a:p>
        </p:txBody>
      </p:sp>
      <p:sp>
        <p:nvSpPr>
          <p:cNvPr id="7" name="Text Placeholder 6">
            <a:extLst>
              <a:ext uri="{FF2B5EF4-FFF2-40B4-BE49-F238E27FC236}">
                <a16:creationId xmlns:a16="http://schemas.microsoft.com/office/drawing/2014/main" id="{9C92888C-CE4D-DE6A-86AD-2AE0BD6D1F1D}"/>
              </a:ext>
            </a:extLst>
          </p:cNvPr>
          <p:cNvSpPr>
            <a:spLocks noGrp="1"/>
          </p:cNvSpPr>
          <p:nvPr>
            <p:ph type="body" sz="quarter" idx="12"/>
          </p:nvPr>
        </p:nvSpPr>
        <p:spPr>
          <a:xfrm rot="10800000">
            <a:off x="483951" y="1437531"/>
            <a:ext cx="329184" cy="329184"/>
          </a:xfrm>
        </p:spPr>
        <p:txBody>
          <a:bodyPr/>
          <a:lstStyle/>
          <a:p>
            <a:endParaRPr lang="en-IN"/>
          </a:p>
        </p:txBody>
      </p:sp>
    </p:spTree>
    <p:custDataLst>
      <p:custData r:id="rId1"/>
    </p:custDataLst>
    <p:extLst>
      <p:ext uri="{BB962C8B-B14F-4D97-AF65-F5344CB8AC3E}">
        <p14:creationId xmlns:p14="http://schemas.microsoft.com/office/powerpoint/2010/main" val="116103142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213826C-8B83-A229-3461-601581E9102F}"/>
              </a:ext>
            </a:extLst>
          </p:cNvPr>
          <p:cNvSpPr>
            <a:spLocks noGrp="1"/>
          </p:cNvSpPr>
          <p:nvPr>
            <p:ph type="title"/>
          </p:nvPr>
        </p:nvSpPr>
        <p:spPr>
          <a:xfrm>
            <a:off x="609600" y="311785"/>
            <a:ext cx="10972800" cy="492443"/>
          </a:xfrm>
        </p:spPr>
        <p:txBody>
          <a:bodyPr wrap="square">
            <a:spAutoFit/>
          </a:bodyPr>
          <a:lstStyle/>
          <a:p>
            <a:r>
              <a:rPr lang="en-US"/>
              <a:t>Feedbacks from TEPEZZA BU</a:t>
            </a:r>
          </a:p>
        </p:txBody>
      </p:sp>
      <p:sp>
        <p:nvSpPr>
          <p:cNvPr id="11" name="Text Placeholder 2">
            <a:extLst>
              <a:ext uri="{FF2B5EF4-FFF2-40B4-BE49-F238E27FC236}">
                <a16:creationId xmlns:a16="http://schemas.microsoft.com/office/drawing/2014/main" id="{AEF6EAE3-7DD3-2A68-5524-7E4B648FCC11}"/>
              </a:ext>
            </a:extLst>
          </p:cNvPr>
          <p:cNvSpPr>
            <a:spLocks noGrp="1"/>
          </p:cNvSpPr>
          <p:nvPr>
            <p:ph type="body" sz="quarter" idx="14"/>
          </p:nvPr>
        </p:nvSpPr>
        <p:spPr>
          <a:xfrm>
            <a:off x="609600" y="6591771"/>
            <a:ext cx="10972800" cy="230832"/>
          </a:xfrm>
        </p:spPr>
        <p:txBody>
          <a:bodyPr wrap="square">
            <a:spAutoFit/>
          </a:bodyPr>
          <a:lstStyle/>
          <a:p>
            <a:r>
              <a:rPr lang="en-US"/>
              <a:t>Constructive feedbacks have been further categorized into three; Issues resolved with current architecture, Proposed solution for the Issues, and Need additional details from Med-Affairs Team</a:t>
            </a:r>
          </a:p>
        </p:txBody>
      </p:sp>
      <p:sp>
        <p:nvSpPr>
          <p:cNvPr id="53" name="Oval 52">
            <a:extLst>
              <a:ext uri="{FF2B5EF4-FFF2-40B4-BE49-F238E27FC236}">
                <a16:creationId xmlns:a16="http://schemas.microsoft.com/office/drawing/2014/main" id="{3CFF0C1B-9F2D-60E8-5689-9827C3F7F164}"/>
              </a:ext>
            </a:extLst>
          </p:cNvPr>
          <p:cNvSpPr/>
          <p:nvPr/>
        </p:nvSpPr>
        <p:spPr>
          <a:xfrm>
            <a:off x="11024711" y="213680"/>
            <a:ext cx="688658" cy="688654"/>
          </a:xfrm>
          <a:prstGeom prst="ellipse">
            <a:avLst/>
          </a:prstGeom>
          <a:solidFill>
            <a:schemeClr val="bg1"/>
          </a:solidFill>
          <a:ln w="38100">
            <a:solidFill>
              <a:schemeClr val="tx2">
                <a:lumMod val="25000"/>
                <a:lumOff val="75000"/>
                <a:alpha val="72000"/>
              </a:schemeClr>
            </a:solid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pic>
        <p:nvPicPr>
          <p:cNvPr id="54" name="Graphic 53">
            <a:extLst>
              <a:ext uri="{FF2B5EF4-FFF2-40B4-BE49-F238E27FC236}">
                <a16:creationId xmlns:a16="http://schemas.microsoft.com/office/drawing/2014/main" id="{CF5BE7FD-027B-BD12-09F0-24CE04503D6B}"/>
              </a:ext>
            </a:extLst>
          </p:cNvPr>
          <p:cNvPicPr>
            <a:picLocks/>
          </p:cNvPicPr>
          <p:nvPr/>
        </p:nvPicPr>
        <p:blipFill>
          <a:blip r:embed="rId3">
            <a:extLst>
              <a:ext uri="{96DAC541-7B7A-43D3-8B79-37D633B846F1}">
                <asvg:svgBlip xmlns:asvg="http://schemas.microsoft.com/office/drawing/2016/SVG/main" r:embed="rId4"/>
              </a:ext>
            </a:extLst>
          </a:blip>
          <a:stretch>
            <a:fillRect/>
          </a:stretch>
        </p:blipFill>
        <p:spPr>
          <a:xfrm>
            <a:off x="11089002" y="285115"/>
            <a:ext cx="545786" cy="545784"/>
          </a:xfrm>
          <a:prstGeom prst="rect">
            <a:avLst/>
          </a:prstGeom>
        </p:spPr>
      </p:pic>
      <p:sp>
        <p:nvSpPr>
          <p:cNvPr id="35" name="Rectangle: Rounded Corners 34">
            <a:extLst>
              <a:ext uri="{FF2B5EF4-FFF2-40B4-BE49-F238E27FC236}">
                <a16:creationId xmlns:a16="http://schemas.microsoft.com/office/drawing/2014/main" id="{D5ACF1F0-4B97-1B55-B4EF-5F8C297014AF}"/>
              </a:ext>
            </a:extLst>
          </p:cNvPr>
          <p:cNvSpPr/>
          <p:nvPr/>
        </p:nvSpPr>
        <p:spPr>
          <a:xfrm>
            <a:off x="525252" y="1134355"/>
            <a:ext cx="2121048" cy="5114925"/>
          </a:xfrm>
          <a:prstGeom prst="roundRect">
            <a:avLst>
              <a:gd name="adj" fmla="val 4732"/>
            </a:avLst>
          </a:prstGeom>
          <a:gradFill flip="none" rotWithShape="1">
            <a:gsLst>
              <a:gs pos="0">
                <a:srgbClr val="92D050"/>
              </a:gs>
              <a:gs pos="23000">
                <a:srgbClr val="82C836"/>
              </a:gs>
              <a:gs pos="69000">
                <a:srgbClr val="00B050"/>
              </a:gs>
              <a:gs pos="97000">
                <a:srgbClr val="00B050"/>
              </a:gs>
            </a:gsLst>
            <a:path path="circle">
              <a:fillToRect l="50000" t="50000" r="50000" b="50000"/>
            </a:path>
            <a:tileRect/>
          </a:gradFill>
          <a:ln>
            <a:noFill/>
          </a:ln>
        </p:spPr>
        <p:style>
          <a:lnRef idx="0">
            <a:scrgbClr r="0" g="0" b="0"/>
          </a:lnRef>
          <a:fillRef idx="0">
            <a:scrgbClr r="0" g="0" b="0"/>
          </a:fillRef>
          <a:effectRef idx="0">
            <a:scrgbClr r="0" g="0" b="0"/>
          </a:effectRef>
          <a:fontRef idx="minor">
            <a:schemeClr val="lt1"/>
          </a:fontRef>
        </p:style>
        <p:txBody>
          <a:bodyPr wrap="square" lIns="54864" tIns="36576" rIns="54864" bIns="36576" rtlCol="0" anchor="ctr">
            <a:noAutofit/>
          </a:bodyPr>
          <a:lstStyle/>
          <a:p>
            <a:pPr algn="ctr"/>
            <a:endParaRPr lang="en-IN" sz="1400" b="1">
              <a:solidFill>
                <a:schemeClr val="bg1"/>
              </a:solidFill>
              <a:latin typeface="Calibri" panose="020F0502020204030204"/>
            </a:endParaRPr>
          </a:p>
        </p:txBody>
      </p:sp>
      <p:sp>
        <p:nvSpPr>
          <p:cNvPr id="19" name="Rectangle: Rounded Corners 18">
            <a:extLst>
              <a:ext uri="{FF2B5EF4-FFF2-40B4-BE49-F238E27FC236}">
                <a16:creationId xmlns:a16="http://schemas.microsoft.com/office/drawing/2014/main" id="{46FDFFB9-612A-13F9-F6C8-25E28011C566}"/>
              </a:ext>
            </a:extLst>
          </p:cNvPr>
          <p:cNvSpPr/>
          <p:nvPr/>
        </p:nvSpPr>
        <p:spPr>
          <a:xfrm>
            <a:off x="525252" y="1096648"/>
            <a:ext cx="2121048" cy="5114925"/>
          </a:xfrm>
          <a:prstGeom prst="roundRect">
            <a:avLst>
              <a:gd name="adj" fmla="val 4732"/>
            </a:avLst>
          </a:prstGeom>
          <a:solidFill>
            <a:schemeClr val="bg1"/>
          </a:solidFill>
          <a:ln>
            <a:noFill/>
          </a:ln>
          <a:effectLst>
            <a:outerShdw blurRad="63500" algn="ctr" rotWithShape="0">
              <a:prstClr val="black">
                <a:alpha val="25000"/>
              </a:prstClr>
            </a:outerShdw>
          </a:effectLst>
        </p:spPr>
        <p:style>
          <a:lnRef idx="0">
            <a:scrgbClr r="0" g="0" b="0"/>
          </a:lnRef>
          <a:fillRef idx="0">
            <a:scrgbClr r="0" g="0" b="0"/>
          </a:fillRef>
          <a:effectRef idx="0">
            <a:scrgbClr r="0" g="0" b="0"/>
          </a:effectRef>
          <a:fontRef idx="minor">
            <a:schemeClr val="lt1"/>
          </a:fontRef>
        </p:style>
        <p:txBody>
          <a:bodyPr rtlCol="0" anchor="ctr"/>
          <a:lstStyle/>
          <a:p>
            <a:pPr algn="ctr"/>
            <a:endParaRPr lang="en-IN"/>
          </a:p>
        </p:txBody>
      </p:sp>
      <p:sp>
        <p:nvSpPr>
          <p:cNvPr id="10" name="Rectangle 9">
            <a:extLst>
              <a:ext uri="{FF2B5EF4-FFF2-40B4-BE49-F238E27FC236}">
                <a16:creationId xmlns:a16="http://schemas.microsoft.com/office/drawing/2014/main" id="{2652A6CB-32B7-9795-8C2A-FB115E098F1E}"/>
              </a:ext>
            </a:extLst>
          </p:cNvPr>
          <p:cNvSpPr/>
          <p:nvPr/>
        </p:nvSpPr>
        <p:spPr>
          <a:xfrm>
            <a:off x="525252" y="1250209"/>
            <a:ext cx="2121048" cy="289310"/>
          </a:xfrm>
          <a:prstGeom prst="rect">
            <a:avLst/>
          </a:prstGeom>
          <a:gradFill flip="none" rotWithShape="1">
            <a:gsLst>
              <a:gs pos="0">
                <a:srgbClr val="92D050"/>
              </a:gs>
              <a:gs pos="23000">
                <a:srgbClr val="82C836"/>
              </a:gs>
              <a:gs pos="69000">
                <a:srgbClr val="00B050"/>
              </a:gs>
              <a:gs pos="97000">
                <a:srgbClr val="00B050"/>
              </a:gs>
            </a:gsLst>
            <a:path path="circle">
              <a:fillToRect l="50000" t="50000" r="50000" b="50000"/>
            </a:path>
            <a:tileRect/>
          </a:gradFill>
          <a:ln>
            <a:noFill/>
          </a:ln>
        </p:spPr>
        <p:style>
          <a:lnRef idx="0">
            <a:scrgbClr r="0" g="0" b="0"/>
          </a:lnRef>
          <a:fillRef idx="0">
            <a:scrgbClr r="0" g="0" b="0"/>
          </a:fillRef>
          <a:effectRef idx="0">
            <a:scrgbClr r="0" g="0" b="0"/>
          </a:effectRef>
          <a:fontRef idx="minor">
            <a:schemeClr val="lt1"/>
          </a:fontRef>
        </p:style>
        <p:txBody>
          <a:bodyPr wrap="square" lIns="54864" tIns="36576" rIns="54864" bIns="36576" rtlCol="0" anchor="ctr">
            <a:noAutofit/>
          </a:bodyPr>
          <a:lstStyle/>
          <a:p>
            <a:pPr algn="ctr"/>
            <a:r>
              <a:rPr lang="en-US" sz="1400" b="1">
                <a:solidFill>
                  <a:schemeClr val="bg1"/>
                </a:solidFill>
                <a:latin typeface="Calibri" panose="020F0502020204030204"/>
              </a:rPr>
              <a:t>Positive</a:t>
            </a:r>
          </a:p>
        </p:txBody>
      </p:sp>
      <p:sp>
        <p:nvSpPr>
          <p:cNvPr id="25" name="Rectangle 24">
            <a:extLst>
              <a:ext uri="{FF2B5EF4-FFF2-40B4-BE49-F238E27FC236}">
                <a16:creationId xmlns:a16="http://schemas.microsoft.com/office/drawing/2014/main" id="{7EFA16F1-0675-84A4-5E4A-413B0136AECF}"/>
              </a:ext>
            </a:extLst>
          </p:cNvPr>
          <p:cNvSpPr/>
          <p:nvPr/>
        </p:nvSpPr>
        <p:spPr>
          <a:xfrm>
            <a:off x="525252" y="1610185"/>
            <a:ext cx="2121048" cy="2165637"/>
          </a:xfrm>
          <a:prstGeom prst="rect">
            <a:avLst/>
          </a:prstGeom>
          <a:solidFill>
            <a:srgbClr val="EEF8E4"/>
          </a:solidFill>
          <a:ln>
            <a:noFill/>
          </a:ln>
        </p:spPr>
        <p:style>
          <a:lnRef idx="0">
            <a:scrgbClr r="0" g="0" b="0"/>
          </a:lnRef>
          <a:fillRef idx="0">
            <a:scrgbClr r="0" g="0" b="0"/>
          </a:fillRef>
          <a:effectRef idx="0">
            <a:scrgbClr r="0" g="0" b="0"/>
          </a:effectRef>
          <a:fontRef idx="minor">
            <a:schemeClr val="lt1"/>
          </a:fontRef>
        </p:style>
        <p:txBody>
          <a:bodyPr lIns="90000" tIns="46800" rIns="90000" bIns="46800" rtlCol="0" anchor="ctr">
            <a:noAutofit/>
          </a:bodyPr>
          <a:lstStyle/>
          <a:p>
            <a:r>
              <a:rPr lang="en-US" sz="1100" dirty="0">
                <a:solidFill>
                  <a:schemeClr val="tx1"/>
                </a:solidFill>
                <a:ea typeface="+mn-lt"/>
                <a:cs typeface="+mn-lt"/>
              </a:rPr>
              <a:t>The study outcomes were provided before the study groups which was the </a:t>
            </a:r>
            <a:r>
              <a:rPr lang="en-US" sz="1100" b="1" dirty="0">
                <a:solidFill>
                  <a:schemeClr val="tx1"/>
                </a:solidFill>
                <a:ea typeface="+mn-lt"/>
                <a:cs typeface="+mn-lt"/>
              </a:rPr>
              <a:t>answer to the question being asked</a:t>
            </a:r>
            <a:r>
              <a:rPr lang="en-US" sz="1100" dirty="0">
                <a:solidFill>
                  <a:schemeClr val="tx1"/>
                </a:solidFill>
                <a:ea typeface="+mn-lt"/>
                <a:cs typeface="+mn-lt"/>
              </a:rPr>
              <a:t>.</a:t>
            </a:r>
          </a:p>
        </p:txBody>
      </p:sp>
      <p:sp>
        <p:nvSpPr>
          <p:cNvPr id="27" name="Rectangle 26">
            <a:extLst>
              <a:ext uri="{FF2B5EF4-FFF2-40B4-BE49-F238E27FC236}">
                <a16:creationId xmlns:a16="http://schemas.microsoft.com/office/drawing/2014/main" id="{CA8A861D-6198-1B4E-0997-6B832D371058}"/>
              </a:ext>
            </a:extLst>
          </p:cNvPr>
          <p:cNvSpPr/>
          <p:nvPr/>
        </p:nvSpPr>
        <p:spPr>
          <a:xfrm>
            <a:off x="525252" y="3871312"/>
            <a:ext cx="2121048" cy="2165637"/>
          </a:xfrm>
          <a:prstGeom prst="rect">
            <a:avLst/>
          </a:prstGeom>
          <a:solidFill>
            <a:srgbClr val="EEF8E4"/>
          </a:solidFill>
          <a:ln>
            <a:noFill/>
          </a:ln>
        </p:spPr>
        <p:style>
          <a:lnRef idx="0">
            <a:scrgbClr r="0" g="0" b="0"/>
          </a:lnRef>
          <a:fillRef idx="0">
            <a:scrgbClr r="0" g="0" b="0"/>
          </a:fillRef>
          <a:effectRef idx="0">
            <a:scrgbClr r="0" g="0" b="0"/>
          </a:effectRef>
          <a:fontRef idx="minor">
            <a:schemeClr val="lt1"/>
          </a:fontRef>
        </p:style>
        <p:txBody>
          <a:bodyPr lIns="90000" tIns="46800" rIns="90000" bIns="46800" rtlCol="0" anchor="ctr">
            <a:noAutofit/>
          </a:bodyPr>
          <a:lstStyle/>
          <a:p>
            <a:r>
              <a:rPr lang="en-US" sz="1100" b="1" dirty="0">
                <a:solidFill>
                  <a:schemeClr val="tx1"/>
                </a:solidFill>
                <a:ea typeface="+mn-lt"/>
                <a:cs typeface="+mn-lt"/>
              </a:rPr>
              <a:t>The references cited (other than the guidebook) are for the most part consistent with reference I cite for this topic</a:t>
            </a:r>
            <a:r>
              <a:rPr lang="en-US" sz="1100" dirty="0">
                <a:solidFill>
                  <a:schemeClr val="tx1"/>
                </a:solidFill>
                <a:ea typeface="+mn-lt"/>
                <a:cs typeface="+mn-lt"/>
              </a:rPr>
              <a:t>.    Wang Y, et al. </a:t>
            </a:r>
            <a:r>
              <a:rPr lang="en-US" sz="1100" dirty="0" err="1">
                <a:solidFill>
                  <a:schemeClr val="tx1"/>
                </a:solidFill>
                <a:ea typeface="+mn-lt"/>
                <a:cs typeface="+mn-lt"/>
              </a:rPr>
              <a:t>Ther</a:t>
            </a:r>
            <a:r>
              <a:rPr lang="en-US" sz="1100" dirty="0">
                <a:solidFill>
                  <a:schemeClr val="tx1"/>
                </a:solidFill>
                <a:ea typeface="+mn-lt"/>
                <a:cs typeface="+mn-lt"/>
              </a:rPr>
              <a:t> Clin Risk </a:t>
            </a:r>
            <a:r>
              <a:rPr lang="en-US" sz="1100" dirty="0" err="1">
                <a:solidFill>
                  <a:schemeClr val="tx1"/>
                </a:solidFill>
                <a:ea typeface="+mn-lt"/>
                <a:cs typeface="+mn-lt"/>
              </a:rPr>
              <a:t>Manag</a:t>
            </a:r>
            <a:r>
              <a:rPr lang="en-US" sz="1100" dirty="0">
                <a:solidFill>
                  <a:schemeClr val="tx1"/>
                </a:solidFill>
                <a:ea typeface="+mn-lt"/>
                <a:cs typeface="+mn-lt"/>
              </a:rPr>
              <a:t>. 2019;15:1305–1318 and maybe also the ATA/ETA consensus statement, EUGOGO Guideline are also a good resource for discussion on TED treatment modalities.</a:t>
            </a:r>
          </a:p>
        </p:txBody>
      </p:sp>
      <p:sp>
        <p:nvSpPr>
          <p:cNvPr id="38" name="Rectangle: Rounded Corners 37">
            <a:extLst>
              <a:ext uri="{FF2B5EF4-FFF2-40B4-BE49-F238E27FC236}">
                <a16:creationId xmlns:a16="http://schemas.microsoft.com/office/drawing/2014/main" id="{3430FBA6-39A2-A909-BA09-4507E702B866}"/>
              </a:ext>
            </a:extLst>
          </p:cNvPr>
          <p:cNvSpPr/>
          <p:nvPr/>
        </p:nvSpPr>
        <p:spPr>
          <a:xfrm>
            <a:off x="2743692" y="1134355"/>
            <a:ext cx="8923056" cy="5114925"/>
          </a:xfrm>
          <a:prstGeom prst="roundRect">
            <a:avLst>
              <a:gd name="adj" fmla="val 2145"/>
            </a:avLst>
          </a:prstGeom>
          <a:gradFill flip="none" rotWithShape="1">
            <a:gsLst>
              <a:gs pos="0">
                <a:srgbClr val="FF0000"/>
              </a:gs>
              <a:gs pos="23000">
                <a:srgbClr val="FF0000"/>
              </a:gs>
              <a:gs pos="69000">
                <a:srgbClr val="CC0000"/>
              </a:gs>
              <a:gs pos="97000">
                <a:srgbClr val="CC0000"/>
              </a:gs>
            </a:gsLst>
            <a:path path="circle">
              <a:fillToRect l="50000" t="50000" r="50000" b="50000"/>
            </a:path>
            <a:tileRect/>
          </a:gradFill>
          <a:ln>
            <a:noFill/>
          </a:ln>
        </p:spPr>
        <p:style>
          <a:lnRef idx="0">
            <a:scrgbClr r="0" g="0" b="0"/>
          </a:lnRef>
          <a:fillRef idx="0">
            <a:scrgbClr r="0" g="0" b="0"/>
          </a:fillRef>
          <a:effectRef idx="0">
            <a:scrgbClr r="0" g="0" b="0"/>
          </a:effectRef>
          <a:fontRef idx="minor">
            <a:schemeClr val="lt1"/>
          </a:fontRef>
        </p:style>
        <p:txBody>
          <a:bodyPr wrap="square" lIns="54864" tIns="36576" rIns="54864" bIns="36576" rtlCol="0" anchor="ctr">
            <a:noAutofit/>
          </a:bodyPr>
          <a:lstStyle/>
          <a:p>
            <a:pPr algn="ctr"/>
            <a:endParaRPr lang="en-IN" sz="1400" b="1">
              <a:solidFill>
                <a:schemeClr val="bg1"/>
              </a:solidFill>
              <a:latin typeface="Calibri" panose="020F0502020204030204"/>
            </a:endParaRPr>
          </a:p>
        </p:txBody>
      </p:sp>
      <p:sp>
        <p:nvSpPr>
          <p:cNvPr id="21" name="Rectangle: Rounded Corners 20">
            <a:extLst>
              <a:ext uri="{FF2B5EF4-FFF2-40B4-BE49-F238E27FC236}">
                <a16:creationId xmlns:a16="http://schemas.microsoft.com/office/drawing/2014/main" id="{022552F7-49D8-69BB-3201-829BABDD8C55}"/>
              </a:ext>
            </a:extLst>
          </p:cNvPr>
          <p:cNvSpPr/>
          <p:nvPr/>
        </p:nvSpPr>
        <p:spPr>
          <a:xfrm>
            <a:off x="2743692" y="1096648"/>
            <a:ext cx="8923056" cy="5114925"/>
          </a:xfrm>
          <a:prstGeom prst="roundRect">
            <a:avLst>
              <a:gd name="adj" fmla="val 1788"/>
            </a:avLst>
          </a:prstGeom>
          <a:solidFill>
            <a:schemeClr val="bg1"/>
          </a:solidFill>
          <a:ln>
            <a:noFill/>
          </a:ln>
          <a:effectLst>
            <a:outerShdw blurRad="63500" algn="ctr" rotWithShape="0">
              <a:prstClr val="black">
                <a:alpha val="25000"/>
              </a:prstClr>
            </a:outerShdw>
          </a:effectLst>
        </p:spPr>
        <p:style>
          <a:lnRef idx="0">
            <a:scrgbClr r="0" g="0" b="0"/>
          </a:lnRef>
          <a:fillRef idx="0">
            <a:scrgbClr r="0" g="0" b="0"/>
          </a:fillRef>
          <a:effectRef idx="0">
            <a:scrgbClr r="0" g="0" b="0"/>
          </a:effectRef>
          <a:fontRef idx="minor">
            <a:schemeClr val="lt1"/>
          </a:fontRef>
        </p:style>
        <p:txBody>
          <a:bodyPr rtlCol="0" anchor="ctr"/>
          <a:lstStyle/>
          <a:p>
            <a:pPr algn="ctr"/>
            <a:endParaRPr lang="en-IN"/>
          </a:p>
        </p:txBody>
      </p:sp>
      <p:sp>
        <p:nvSpPr>
          <p:cNvPr id="63" name="Rectangle 62">
            <a:extLst>
              <a:ext uri="{FF2B5EF4-FFF2-40B4-BE49-F238E27FC236}">
                <a16:creationId xmlns:a16="http://schemas.microsoft.com/office/drawing/2014/main" id="{C40CC5F8-DFF3-4AAA-F729-606AD8208FF8}"/>
              </a:ext>
            </a:extLst>
          </p:cNvPr>
          <p:cNvSpPr/>
          <p:nvPr/>
        </p:nvSpPr>
        <p:spPr>
          <a:xfrm>
            <a:off x="2743692" y="1250209"/>
            <a:ext cx="8923056" cy="289310"/>
          </a:xfrm>
          <a:prstGeom prst="rect">
            <a:avLst/>
          </a:prstGeom>
          <a:gradFill flip="none" rotWithShape="1">
            <a:gsLst>
              <a:gs pos="0">
                <a:srgbClr val="FF0000"/>
              </a:gs>
              <a:gs pos="23000">
                <a:srgbClr val="FF0000"/>
              </a:gs>
              <a:gs pos="69000">
                <a:srgbClr val="CC0000"/>
              </a:gs>
              <a:gs pos="97000">
                <a:srgbClr val="CC0000"/>
              </a:gs>
            </a:gsLst>
            <a:path path="circle">
              <a:fillToRect l="50000" t="50000" r="50000" b="50000"/>
            </a:path>
            <a:tileRect/>
          </a:gradFill>
          <a:ln>
            <a:noFill/>
          </a:ln>
        </p:spPr>
        <p:style>
          <a:lnRef idx="0">
            <a:scrgbClr r="0" g="0" b="0"/>
          </a:lnRef>
          <a:fillRef idx="0">
            <a:scrgbClr r="0" g="0" b="0"/>
          </a:fillRef>
          <a:effectRef idx="0">
            <a:scrgbClr r="0" g="0" b="0"/>
          </a:effectRef>
          <a:fontRef idx="minor">
            <a:schemeClr val="lt1"/>
          </a:fontRef>
        </p:style>
        <p:txBody>
          <a:bodyPr wrap="square" lIns="54864" tIns="36576" rIns="54864" bIns="36576" rtlCol="0" anchor="ctr">
            <a:noAutofit/>
          </a:bodyPr>
          <a:lstStyle/>
          <a:p>
            <a:pPr algn="ctr"/>
            <a:r>
              <a:rPr lang="en-US" sz="1400" b="1">
                <a:solidFill>
                  <a:schemeClr val="bg1"/>
                </a:solidFill>
                <a:latin typeface="Calibri" panose="020F0502020204030204"/>
              </a:rPr>
              <a:t>Constructive</a:t>
            </a:r>
          </a:p>
        </p:txBody>
      </p:sp>
      <p:sp>
        <p:nvSpPr>
          <p:cNvPr id="39" name="Rectangle 38">
            <a:extLst>
              <a:ext uri="{FF2B5EF4-FFF2-40B4-BE49-F238E27FC236}">
                <a16:creationId xmlns:a16="http://schemas.microsoft.com/office/drawing/2014/main" id="{7A900E7A-219F-9B14-F6B2-E070C50F6E59}"/>
              </a:ext>
            </a:extLst>
          </p:cNvPr>
          <p:cNvSpPr/>
          <p:nvPr/>
        </p:nvSpPr>
        <p:spPr>
          <a:xfrm>
            <a:off x="2743693" y="1648790"/>
            <a:ext cx="3029361" cy="443198"/>
          </a:xfrm>
          <a:prstGeom prst="rect">
            <a:avLst/>
          </a:prstGeom>
          <a:solidFill>
            <a:schemeClr val="accent4">
              <a:lumMod val="40000"/>
              <a:lumOff val="60000"/>
            </a:schemeClr>
          </a:solidFill>
          <a:ln>
            <a:noFill/>
          </a:ln>
        </p:spPr>
        <p:style>
          <a:lnRef idx="0">
            <a:scrgbClr r="0" g="0" b="0"/>
          </a:lnRef>
          <a:fillRef idx="0">
            <a:scrgbClr r="0" g="0" b="0"/>
          </a:fillRef>
          <a:effectRef idx="0">
            <a:scrgbClr r="0" g="0" b="0"/>
          </a:effectRef>
          <a:fontRef idx="minor">
            <a:schemeClr val="lt1"/>
          </a:fontRef>
        </p:style>
        <p:txBody>
          <a:bodyPr wrap="square" lIns="54864" tIns="36576" rIns="54864" bIns="36576" rtlCol="0" anchor="ctr">
            <a:noAutofit/>
          </a:bodyPr>
          <a:lstStyle/>
          <a:p>
            <a:r>
              <a:rPr lang="en-US" sz="1100" dirty="0">
                <a:solidFill>
                  <a:schemeClr val="tx1"/>
                </a:solidFill>
                <a:ea typeface="+mn-lt"/>
                <a:cs typeface="+mn-lt"/>
              </a:rPr>
              <a:t>Most of the answer describes </a:t>
            </a:r>
            <a:r>
              <a:rPr lang="en-US" sz="1100" b="1" dirty="0">
                <a:solidFill>
                  <a:schemeClr val="tx1"/>
                </a:solidFill>
                <a:ea typeface="+mn-lt"/>
                <a:cs typeface="+mn-lt"/>
              </a:rPr>
              <a:t>treatment rather than the description of the patient</a:t>
            </a:r>
            <a:endParaRPr lang="en-US" sz="1100" b="1" dirty="0">
              <a:solidFill>
                <a:schemeClr val="tx1"/>
              </a:solidFill>
            </a:endParaRPr>
          </a:p>
        </p:txBody>
      </p:sp>
      <p:sp>
        <p:nvSpPr>
          <p:cNvPr id="40" name="Rectangle 39">
            <a:extLst>
              <a:ext uri="{FF2B5EF4-FFF2-40B4-BE49-F238E27FC236}">
                <a16:creationId xmlns:a16="http://schemas.microsoft.com/office/drawing/2014/main" id="{88951714-F2C8-0D8C-36EE-3EC03677B514}"/>
              </a:ext>
            </a:extLst>
          </p:cNvPr>
          <p:cNvSpPr/>
          <p:nvPr/>
        </p:nvSpPr>
        <p:spPr>
          <a:xfrm>
            <a:off x="2743693" y="2158293"/>
            <a:ext cx="3029361" cy="648512"/>
          </a:xfrm>
          <a:prstGeom prst="rect">
            <a:avLst/>
          </a:prstGeom>
          <a:solidFill>
            <a:schemeClr val="accent4">
              <a:lumMod val="40000"/>
              <a:lumOff val="60000"/>
            </a:schemeClr>
          </a:solidFill>
          <a:ln>
            <a:noFill/>
          </a:ln>
        </p:spPr>
        <p:style>
          <a:lnRef idx="0">
            <a:scrgbClr r="0" g="0" b="0"/>
          </a:lnRef>
          <a:fillRef idx="0">
            <a:scrgbClr r="0" g="0" b="0"/>
          </a:fillRef>
          <a:effectRef idx="0">
            <a:scrgbClr r="0" g="0" b="0"/>
          </a:effectRef>
          <a:fontRef idx="minor">
            <a:schemeClr val="lt1"/>
          </a:fontRef>
        </p:style>
        <p:txBody>
          <a:bodyPr wrap="square" lIns="54864" tIns="36576" rIns="54864" bIns="36576" rtlCol="0" anchor="ctr">
            <a:noAutofit/>
          </a:bodyPr>
          <a:lstStyle/>
          <a:p>
            <a:r>
              <a:rPr lang="en-US" sz="1100" dirty="0">
                <a:solidFill>
                  <a:schemeClr val="tx1"/>
                </a:solidFill>
                <a:ea typeface="+mn-lt"/>
                <a:cs typeface="+mn-lt"/>
              </a:rPr>
              <a:t>The question asked about patients that did not complete the treatment </a:t>
            </a:r>
            <a:r>
              <a:rPr lang="en-US" sz="1100" b="1" dirty="0">
                <a:solidFill>
                  <a:schemeClr val="tx1"/>
                </a:solidFill>
                <a:ea typeface="+mn-lt"/>
                <a:cs typeface="+mn-lt"/>
              </a:rPr>
              <a:t>- the answer did not specify </a:t>
            </a:r>
            <a:endParaRPr lang="en-US" sz="1100" b="1" dirty="0"/>
          </a:p>
        </p:txBody>
      </p:sp>
      <p:sp>
        <p:nvSpPr>
          <p:cNvPr id="41" name="Rectangle 40">
            <a:extLst>
              <a:ext uri="{FF2B5EF4-FFF2-40B4-BE49-F238E27FC236}">
                <a16:creationId xmlns:a16="http://schemas.microsoft.com/office/drawing/2014/main" id="{B7F71C3C-0FDD-D413-9614-0F31EFD9F066}"/>
              </a:ext>
            </a:extLst>
          </p:cNvPr>
          <p:cNvSpPr/>
          <p:nvPr/>
        </p:nvSpPr>
        <p:spPr>
          <a:xfrm>
            <a:off x="2743693" y="2873110"/>
            <a:ext cx="3029361" cy="443198"/>
          </a:xfrm>
          <a:prstGeom prst="rect">
            <a:avLst/>
          </a:prstGeom>
          <a:solidFill>
            <a:schemeClr val="accent4">
              <a:lumMod val="40000"/>
              <a:lumOff val="60000"/>
            </a:schemeClr>
          </a:solidFill>
          <a:ln>
            <a:noFill/>
          </a:ln>
        </p:spPr>
        <p:style>
          <a:lnRef idx="0">
            <a:scrgbClr r="0" g="0" b="0"/>
          </a:lnRef>
          <a:fillRef idx="0">
            <a:scrgbClr r="0" g="0" b="0"/>
          </a:fillRef>
          <a:effectRef idx="0">
            <a:scrgbClr r="0" g="0" b="0"/>
          </a:effectRef>
          <a:fontRef idx="minor">
            <a:schemeClr val="lt1"/>
          </a:fontRef>
        </p:style>
        <p:txBody>
          <a:bodyPr wrap="square" lIns="54864" tIns="36576" rIns="54864" bIns="36576" rtlCol="0" anchor="ctr">
            <a:noAutofit/>
          </a:bodyPr>
          <a:lstStyle/>
          <a:p>
            <a:r>
              <a:rPr lang="en-US" sz="1100">
                <a:solidFill>
                  <a:schemeClr val="tx1"/>
                </a:solidFill>
                <a:ea typeface="+mn-lt"/>
                <a:cs typeface="+mn-lt"/>
              </a:rPr>
              <a:t>I would like to have seen a definition of regression and then the objective answer</a:t>
            </a:r>
          </a:p>
        </p:txBody>
      </p:sp>
      <p:sp>
        <p:nvSpPr>
          <p:cNvPr id="42" name="Rectangle 41">
            <a:extLst>
              <a:ext uri="{FF2B5EF4-FFF2-40B4-BE49-F238E27FC236}">
                <a16:creationId xmlns:a16="http://schemas.microsoft.com/office/drawing/2014/main" id="{2248FC4E-CA67-05E6-4676-2F5D2D712AFB}"/>
              </a:ext>
            </a:extLst>
          </p:cNvPr>
          <p:cNvSpPr/>
          <p:nvPr/>
        </p:nvSpPr>
        <p:spPr>
          <a:xfrm>
            <a:off x="2743693" y="3382613"/>
            <a:ext cx="3029361" cy="648512"/>
          </a:xfrm>
          <a:prstGeom prst="rect">
            <a:avLst/>
          </a:prstGeom>
          <a:solidFill>
            <a:schemeClr val="accent1">
              <a:lumMod val="20000"/>
              <a:lumOff val="80000"/>
            </a:schemeClr>
          </a:solidFill>
          <a:ln>
            <a:noFill/>
          </a:ln>
        </p:spPr>
        <p:style>
          <a:lnRef idx="0">
            <a:scrgbClr r="0" g="0" b="0"/>
          </a:lnRef>
          <a:fillRef idx="0">
            <a:scrgbClr r="0" g="0" b="0"/>
          </a:fillRef>
          <a:effectRef idx="0">
            <a:scrgbClr r="0" g="0" b="0"/>
          </a:effectRef>
          <a:fontRef idx="minor">
            <a:schemeClr val="lt1"/>
          </a:fontRef>
        </p:style>
        <p:txBody>
          <a:bodyPr wrap="square" lIns="54864" tIns="36576" rIns="54864" bIns="36576" rtlCol="0" anchor="ctr">
            <a:noAutofit/>
          </a:bodyPr>
          <a:lstStyle/>
          <a:p>
            <a:r>
              <a:rPr lang="en-US" sz="1100" b="1">
                <a:solidFill>
                  <a:schemeClr val="tx1"/>
                </a:solidFill>
                <a:ea typeface="+mn-lt"/>
                <a:cs typeface="+mn-lt"/>
              </a:rPr>
              <a:t>This is vague</a:t>
            </a:r>
            <a:r>
              <a:rPr lang="en-US" sz="1100">
                <a:solidFill>
                  <a:schemeClr val="tx1"/>
                </a:solidFill>
                <a:ea typeface="+mn-lt"/>
                <a:cs typeface="+mn-lt"/>
              </a:rPr>
              <a:t>. I think the person seeking information would still need to just go to the original reference to get any applicable detail.</a:t>
            </a:r>
            <a:endParaRPr lang="en-US" sz="1100">
              <a:solidFill>
                <a:schemeClr val="tx1"/>
              </a:solidFill>
            </a:endParaRPr>
          </a:p>
        </p:txBody>
      </p:sp>
      <p:sp>
        <p:nvSpPr>
          <p:cNvPr id="43" name="Rectangle 42">
            <a:extLst>
              <a:ext uri="{FF2B5EF4-FFF2-40B4-BE49-F238E27FC236}">
                <a16:creationId xmlns:a16="http://schemas.microsoft.com/office/drawing/2014/main" id="{B00A4E85-1C51-407C-4587-E253117B49F3}"/>
              </a:ext>
            </a:extLst>
          </p:cNvPr>
          <p:cNvSpPr/>
          <p:nvPr/>
        </p:nvSpPr>
        <p:spPr>
          <a:xfrm>
            <a:off x="2743693" y="4097430"/>
            <a:ext cx="3029361" cy="443198"/>
          </a:xfrm>
          <a:prstGeom prst="rect">
            <a:avLst/>
          </a:prstGeom>
          <a:solidFill>
            <a:schemeClr val="accent1">
              <a:lumMod val="20000"/>
              <a:lumOff val="80000"/>
            </a:schemeClr>
          </a:solidFill>
          <a:ln>
            <a:noFill/>
          </a:ln>
        </p:spPr>
        <p:style>
          <a:lnRef idx="0">
            <a:scrgbClr r="0" g="0" b="0"/>
          </a:lnRef>
          <a:fillRef idx="0">
            <a:scrgbClr r="0" g="0" b="0"/>
          </a:fillRef>
          <a:effectRef idx="0">
            <a:scrgbClr r="0" g="0" b="0"/>
          </a:effectRef>
          <a:fontRef idx="minor">
            <a:schemeClr val="lt1"/>
          </a:fontRef>
        </p:style>
        <p:txBody>
          <a:bodyPr wrap="square" lIns="54864" tIns="36576" rIns="54864" bIns="36576" rtlCol="0" anchor="ctr">
            <a:noAutofit/>
          </a:bodyPr>
          <a:lstStyle/>
          <a:p>
            <a:r>
              <a:rPr lang="en-US" sz="1100">
                <a:solidFill>
                  <a:schemeClr val="tx1"/>
                </a:solidFill>
                <a:ea typeface="+mn-lt"/>
                <a:cs typeface="+mn-lt"/>
              </a:rPr>
              <a:t>The reference 1 is for the Optic-x study. </a:t>
            </a:r>
            <a:r>
              <a:rPr lang="en-US" sz="1100" b="1">
                <a:solidFill>
                  <a:schemeClr val="tx1"/>
                </a:solidFill>
                <a:ea typeface="+mn-lt"/>
                <a:cs typeface="+mn-lt"/>
              </a:rPr>
              <a:t>Should use Douglas reference for the optic study</a:t>
            </a:r>
            <a:r>
              <a:rPr lang="en-US" sz="1100">
                <a:solidFill>
                  <a:schemeClr val="tx1"/>
                </a:solidFill>
                <a:ea typeface="+mn-lt"/>
                <a:cs typeface="+mn-lt"/>
              </a:rPr>
              <a:t>.</a:t>
            </a:r>
            <a:endParaRPr lang="en-US" sz="1100">
              <a:solidFill>
                <a:schemeClr val="tx1"/>
              </a:solidFill>
            </a:endParaRPr>
          </a:p>
        </p:txBody>
      </p:sp>
      <p:sp>
        <p:nvSpPr>
          <p:cNvPr id="44" name="Rectangle 43">
            <a:extLst>
              <a:ext uri="{FF2B5EF4-FFF2-40B4-BE49-F238E27FC236}">
                <a16:creationId xmlns:a16="http://schemas.microsoft.com/office/drawing/2014/main" id="{2ED4F8F1-A63C-29E7-0DD1-8485E06472F5}"/>
              </a:ext>
            </a:extLst>
          </p:cNvPr>
          <p:cNvSpPr/>
          <p:nvPr/>
        </p:nvSpPr>
        <p:spPr>
          <a:xfrm>
            <a:off x="2743693" y="4617257"/>
            <a:ext cx="3029361" cy="443198"/>
          </a:xfrm>
          <a:prstGeom prst="rect">
            <a:avLst/>
          </a:prstGeom>
          <a:solidFill>
            <a:schemeClr val="accent1">
              <a:lumMod val="20000"/>
              <a:lumOff val="80000"/>
            </a:schemeClr>
          </a:solidFill>
          <a:ln>
            <a:noFill/>
          </a:ln>
        </p:spPr>
        <p:style>
          <a:lnRef idx="0">
            <a:scrgbClr r="0" g="0" b="0"/>
          </a:lnRef>
          <a:fillRef idx="0">
            <a:scrgbClr r="0" g="0" b="0"/>
          </a:fillRef>
          <a:effectRef idx="0">
            <a:scrgbClr r="0" g="0" b="0"/>
          </a:effectRef>
          <a:fontRef idx="minor">
            <a:schemeClr val="lt1"/>
          </a:fontRef>
        </p:style>
        <p:txBody>
          <a:bodyPr wrap="square" lIns="54864" tIns="36576" rIns="54864" bIns="36576" rtlCol="0" anchor="ctr">
            <a:noAutofit/>
          </a:bodyPr>
          <a:lstStyle/>
          <a:p>
            <a:r>
              <a:rPr lang="en-US" sz="1100">
                <a:solidFill>
                  <a:schemeClr val="tx1"/>
                </a:solidFill>
                <a:ea typeface="+mn-lt"/>
                <a:cs typeface="+mn-lt"/>
              </a:rPr>
              <a:t>I asked about the use of Tepezza in patients with liver failure- </a:t>
            </a:r>
            <a:r>
              <a:rPr lang="en-US" sz="1100" b="1">
                <a:solidFill>
                  <a:schemeClr val="tx1"/>
                </a:solidFill>
                <a:ea typeface="+mn-lt"/>
                <a:cs typeface="+mn-lt"/>
              </a:rPr>
              <a:t>it did not answer my question </a:t>
            </a:r>
            <a:endParaRPr lang="en-US" sz="1100" b="1"/>
          </a:p>
        </p:txBody>
      </p:sp>
      <p:sp>
        <p:nvSpPr>
          <p:cNvPr id="45" name="Rectangle 44">
            <a:extLst>
              <a:ext uri="{FF2B5EF4-FFF2-40B4-BE49-F238E27FC236}">
                <a16:creationId xmlns:a16="http://schemas.microsoft.com/office/drawing/2014/main" id="{B07CCB23-F591-1C2B-6C5D-60EC64A09C27}"/>
              </a:ext>
            </a:extLst>
          </p:cNvPr>
          <p:cNvSpPr/>
          <p:nvPr/>
        </p:nvSpPr>
        <p:spPr>
          <a:xfrm>
            <a:off x="2743693" y="5137084"/>
            <a:ext cx="3029361" cy="258532"/>
          </a:xfrm>
          <a:prstGeom prst="rect">
            <a:avLst/>
          </a:prstGeom>
          <a:solidFill>
            <a:schemeClr val="accent1">
              <a:lumMod val="20000"/>
              <a:lumOff val="80000"/>
            </a:schemeClr>
          </a:solidFill>
          <a:ln>
            <a:noFill/>
          </a:ln>
        </p:spPr>
        <p:style>
          <a:lnRef idx="0">
            <a:scrgbClr r="0" g="0" b="0"/>
          </a:lnRef>
          <a:fillRef idx="0">
            <a:scrgbClr r="0" g="0" b="0"/>
          </a:fillRef>
          <a:effectRef idx="0">
            <a:scrgbClr r="0" g="0" b="0"/>
          </a:effectRef>
          <a:fontRef idx="minor">
            <a:schemeClr val="lt1"/>
          </a:fontRef>
        </p:style>
        <p:txBody>
          <a:bodyPr wrap="square" lIns="54864" tIns="36576" rIns="54864" bIns="36576" rtlCol="0" anchor="ctr">
            <a:noAutofit/>
          </a:bodyPr>
          <a:lstStyle/>
          <a:p>
            <a:r>
              <a:rPr lang="en-US" sz="1100">
                <a:solidFill>
                  <a:schemeClr val="tx1"/>
                </a:solidFill>
                <a:ea typeface="+mn-lt"/>
                <a:cs typeface="+mn-lt"/>
              </a:rPr>
              <a:t>Drew from </a:t>
            </a:r>
            <a:r>
              <a:rPr lang="en-US" sz="1100" b="1">
                <a:solidFill>
                  <a:schemeClr val="tx1"/>
                </a:solidFill>
                <a:ea typeface="+mn-lt"/>
                <a:cs typeface="+mn-lt"/>
              </a:rPr>
              <a:t>OPTIC rather than OPTIC-X</a:t>
            </a:r>
            <a:endParaRPr lang="en-US" sz="1100" b="1"/>
          </a:p>
        </p:txBody>
      </p:sp>
      <p:sp>
        <p:nvSpPr>
          <p:cNvPr id="47" name="Rectangle 46">
            <a:extLst>
              <a:ext uri="{FF2B5EF4-FFF2-40B4-BE49-F238E27FC236}">
                <a16:creationId xmlns:a16="http://schemas.microsoft.com/office/drawing/2014/main" id="{4D5CCCE8-4B8F-ECA3-08FA-6F417CC20126}"/>
              </a:ext>
            </a:extLst>
          </p:cNvPr>
          <p:cNvSpPr/>
          <p:nvPr/>
        </p:nvSpPr>
        <p:spPr>
          <a:xfrm>
            <a:off x="2743693" y="5448070"/>
            <a:ext cx="3029361" cy="627864"/>
          </a:xfrm>
          <a:prstGeom prst="rect">
            <a:avLst/>
          </a:prstGeom>
          <a:solidFill>
            <a:schemeClr val="accent5">
              <a:lumMod val="40000"/>
              <a:lumOff val="60000"/>
            </a:schemeClr>
          </a:solidFill>
          <a:ln>
            <a:noFill/>
          </a:ln>
        </p:spPr>
        <p:style>
          <a:lnRef idx="0">
            <a:scrgbClr r="0" g="0" b="0"/>
          </a:lnRef>
          <a:fillRef idx="0">
            <a:scrgbClr r="0" g="0" b="0"/>
          </a:fillRef>
          <a:effectRef idx="0">
            <a:scrgbClr r="0" g="0" b="0"/>
          </a:effectRef>
          <a:fontRef idx="minor">
            <a:schemeClr val="lt1"/>
          </a:fontRef>
        </p:style>
        <p:txBody>
          <a:bodyPr wrap="square" lIns="54864" tIns="36576" rIns="54864" bIns="36576" rtlCol="0" anchor="ctr">
            <a:noAutofit/>
          </a:bodyPr>
          <a:lstStyle/>
          <a:p>
            <a:r>
              <a:rPr lang="en-US" sz="1100">
                <a:solidFill>
                  <a:schemeClr val="tx1"/>
                </a:solidFill>
                <a:ea typeface="+mn-lt"/>
                <a:cs typeface="+mn-lt"/>
              </a:rPr>
              <a:t>The answer provides some relevancy. </a:t>
            </a:r>
            <a:r>
              <a:rPr lang="en-US" sz="1100" b="1">
                <a:solidFill>
                  <a:schemeClr val="tx1"/>
                </a:solidFill>
                <a:ea typeface="+mn-lt"/>
                <a:cs typeface="+mn-lt"/>
              </a:rPr>
              <a:t>Needs more information </a:t>
            </a:r>
            <a:r>
              <a:rPr lang="en-US" sz="1100">
                <a:solidFill>
                  <a:schemeClr val="tx1"/>
                </a:solidFill>
                <a:ea typeface="+mn-lt"/>
                <a:cs typeface="+mn-lt"/>
              </a:rPr>
              <a:t>about Recurrence of TED. Should be using reference on 'Recurrent Thyroid Eye Disease'.</a:t>
            </a:r>
            <a:endParaRPr lang="en-US" sz="1100"/>
          </a:p>
        </p:txBody>
      </p:sp>
      <p:sp>
        <p:nvSpPr>
          <p:cNvPr id="50" name="Rectangle 49">
            <a:extLst>
              <a:ext uri="{FF2B5EF4-FFF2-40B4-BE49-F238E27FC236}">
                <a16:creationId xmlns:a16="http://schemas.microsoft.com/office/drawing/2014/main" id="{981127EA-8DA4-EEC7-AFE7-6EAC93467125}"/>
              </a:ext>
            </a:extLst>
          </p:cNvPr>
          <p:cNvSpPr/>
          <p:nvPr/>
        </p:nvSpPr>
        <p:spPr>
          <a:xfrm>
            <a:off x="5826333" y="1648790"/>
            <a:ext cx="2583970" cy="1667518"/>
          </a:xfrm>
          <a:prstGeom prst="rect">
            <a:avLst/>
          </a:prstGeom>
          <a:solidFill>
            <a:schemeClr val="accent4">
              <a:lumMod val="40000"/>
              <a:lumOff val="60000"/>
            </a:schemeClr>
          </a:solidFill>
          <a:ln>
            <a:noFill/>
          </a:ln>
        </p:spPr>
        <p:style>
          <a:lnRef idx="0">
            <a:scrgbClr r="0" g="0" b="0"/>
          </a:lnRef>
          <a:fillRef idx="0">
            <a:scrgbClr r="0" g="0" b="0"/>
          </a:fillRef>
          <a:effectRef idx="0">
            <a:scrgbClr r="0" g="0" b="0"/>
          </a:effectRef>
          <a:fontRef idx="minor">
            <a:schemeClr val="lt1"/>
          </a:fontRef>
        </p:style>
        <p:txBody>
          <a:bodyPr wrap="square" lIns="54864" tIns="36576" rIns="54864" bIns="36576" rtlCol="0" anchor="ctr">
            <a:noAutofit/>
          </a:bodyPr>
          <a:lstStyle/>
          <a:p>
            <a:r>
              <a:rPr lang="en-US" sz="1100">
                <a:solidFill>
                  <a:schemeClr val="tx1"/>
                </a:solidFill>
                <a:ea typeface="+mn-lt"/>
                <a:cs typeface="+mn-lt"/>
              </a:rPr>
              <a:t>The information mentioned TAO. and we address it as TED- </a:t>
            </a:r>
            <a:r>
              <a:rPr lang="en-US" sz="1100" b="1">
                <a:solidFill>
                  <a:schemeClr val="tx1"/>
                </a:solidFill>
                <a:ea typeface="+mn-lt"/>
                <a:cs typeface="+mn-lt"/>
              </a:rPr>
              <a:t>this may lead to confusion- </a:t>
            </a:r>
            <a:endParaRPr lang="en-US" sz="1100" b="1"/>
          </a:p>
          <a:p>
            <a:r>
              <a:rPr lang="en-US" sz="1100">
                <a:solidFill>
                  <a:schemeClr val="tx1"/>
                </a:solidFill>
                <a:ea typeface="+mn-lt"/>
                <a:cs typeface="+mn-lt"/>
              </a:rPr>
              <a:t>Is there a way to harmonize the lexicon and have it explain that thyroid eye disease has many other ways in which it is named / referenced ( TED, TAO, GO) </a:t>
            </a:r>
            <a:endParaRPr lang="en-US" sz="1100"/>
          </a:p>
        </p:txBody>
      </p:sp>
      <p:sp>
        <p:nvSpPr>
          <p:cNvPr id="51" name="Rectangle 50">
            <a:extLst>
              <a:ext uri="{FF2B5EF4-FFF2-40B4-BE49-F238E27FC236}">
                <a16:creationId xmlns:a16="http://schemas.microsoft.com/office/drawing/2014/main" id="{D607B4B9-DC86-239C-7EE9-28972EE0E043}"/>
              </a:ext>
            </a:extLst>
          </p:cNvPr>
          <p:cNvSpPr/>
          <p:nvPr/>
        </p:nvSpPr>
        <p:spPr>
          <a:xfrm>
            <a:off x="5826332" y="3382613"/>
            <a:ext cx="2583970" cy="997196"/>
          </a:xfrm>
          <a:prstGeom prst="rect">
            <a:avLst/>
          </a:prstGeom>
          <a:solidFill>
            <a:schemeClr val="accent1">
              <a:lumMod val="20000"/>
              <a:lumOff val="80000"/>
            </a:schemeClr>
          </a:solidFill>
          <a:ln>
            <a:noFill/>
          </a:ln>
        </p:spPr>
        <p:style>
          <a:lnRef idx="0">
            <a:scrgbClr r="0" g="0" b="0"/>
          </a:lnRef>
          <a:fillRef idx="0">
            <a:scrgbClr r="0" g="0" b="0"/>
          </a:fillRef>
          <a:effectRef idx="0">
            <a:scrgbClr r="0" g="0" b="0"/>
          </a:effectRef>
          <a:fontRef idx="minor">
            <a:schemeClr val="lt1"/>
          </a:fontRef>
        </p:style>
        <p:txBody>
          <a:bodyPr wrap="square" lIns="54864" tIns="36576" rIns="54864" bIns="36576" rtlCol="0" anchor="ctr">
            <a:noAutofit/>
          </a:bodyPr>
          <a:lstStyle/>
          <a:p>
            <a:r>
              <a:rPr lang="en-US" sz="1100">
                <a:solidFill>
                  <a:schemeClr val="tx1"/>
                </a:solidFill>
                <a:ea typeface="+mn-lt"/>
                <a:cs typeface="+mn-lt"/>
              </a:rPr>
              <a:t>EUGOGO is a good source for this response and should be included. Also the last response Preferred Therapeutic Option for Moderate-to-Severe TED is not relevant to this question. </a:t>
            </a:r>
            <a:endParaRPr lang="en-US" sz="1100"/>
          </a:p>
        </p:txBody>
      </p:sp>
      <p:sp>
        <p:nvSpPr>
          <p:cNvPr id="52" name="Rectangle 51">
            <a:extLst>
              <a:ext uri="{FF2B5EF4-FFF2-40B4-BE49-F238E27FC236}">
                <a16:creationId xmlns:a16="http://schemas.microsoft.com/office/drawing/2014/main" id="{76CB7F1B-D605-FAF8-8AB6-6842A4B4697D}"/>
              </a:ext>
            </a:extLst>
          </p:cNvPr>
          <p:cNvSpPr/>
          <p:nvPr/>
        </p:nvSpPr>
        <p:spPr>
          <a:xfrm>
            <a:off x="5826332" y="4444514"/>
            <a:ext cx="2583970" cy="627864"/>
          </a:xfrm>
          <a:prstGeom prst="rect">
            <a:avLst/>
          </a:prstGeom>
          <a:solidFill>
            <a:schemeClr val="accent1">
              <a:lumMod val="20000"/>
              <a:lumOff val="80000"/>
            </a:schemeClr>
          </a:solidFill>
          <a:ln>
            <a:noFill/>
          </a:ln>
        </p:spPr>
        <p:style>
          <a:lnRef idx="0">
            <a:scrgbClr r="0" g="0" b="0"/>
          </a:lnRef>
          <a:fillRef idx="0">
            <a:scrgbClr r="0" g="0" b="0"/>
          </a:fillRef>
          <a:effectRef idx="0">
            <a:scrgbClr r="0" g="0" b="0"/>
          </a:effectRef>
          <a:fontRef idx="minor">
            <a:schemeClr val="lt1"/>
          </a:fontRef>
        </p:style>
        <p:txBody>
          <a:bodyPr wrap="square" lIns="54864" tIns="36576" rIns="54864" bIns="36576" rtlCol="0" anchor="ctr">
            <a:noAutofit/>
          </a:bodyPr>
          <a:lstStyle/>
          <a:p>
            <a:r>
              <a:rPr lang="en-US" sz="1100">
                <a:solidFill>
                  <a:schemeClr val="tx1"/>
                </a:solidFill>
                <a:ea typeface="+mn-lt"/>
                <a:cs typeface="+mn-lt"/>
              </a:rPr>
              <a:t>This time it seemed to pick information from OPTIC-X (the phase 3 extension) instead of OPTIC which is the phase 3 study</a:t>
            </a:r>
            <a:endParaRPr lang="en-US" sz="1100">
              <a:solidFill>
                <a:schemeClr val="tx1"/>
              </a:solidFill>
            </a:endParaRPr>
          </a:p>
        </p:txBody>
      </p:sp>
      <p:sp>
        <p:nvSpPr>
          <p:cNvPr id="56" name="Rectangle 55">
            <a:extLst>
              <a:ext uri="{FF2B5EF4-FFF2-40B4-BE49-F238E27FC236}">
                <a16:creationId xmlns:a16="http://schemas.microsoft.com/office/drawing/2014/main" id="{B07DD75D-077E-48DC-1E0A-0F291FACB830}"/>
              </a:ext>
            </a:extLst>
          </p:cNvPr>
          <p:cNvSpPr/>
          <p:nvPr/>
        </p:nvSpPr>
        <p:spPr>
          <a:xfrm>
            <a:off x="5826332" y="5137084"/>
            <a:ext cx="2583970" cy="258532"/>
          </a:xfrm>
          <a:prstGeom prst="rect">
            <a:avLst/>
          </a:prstGeom>
          <a:solidFill>
            <a:schemeClr val="accent1">
              <a:lumMod val="20000"/>
              <a:lumOff val="80000"/>
            </a:schemeClr>
          </a:solidFill>
          <a:ln>
            <a:noFill/>
          </a:ln>
        </p:spPr>
        <p:style>
          <a:lnRef idx="0">
            <a:scrgbClr r="0" g="0" b="0"/>
          </a:lnRef>
          <a:fillRef idx="0">
            <a:scrgbClr r="0" g="0" b="0"/>
          </a:fillRef>
          <a:effectRef idx="0">
            <a:scrgbClr r="0" g="0" b="0"/>
          </a:effectRef>
          <a:fontRef idx="minor">
            <a:schemeClr val="lt1"/>
          </a:fontRef>
        </p:style>
        <p:txBody>
          <a:bodyPr wrap="square" lIns="54864" tIns="36576" rIns="54864" bIns="36576" rtlCol="0" anchor="ctr">
            <a:noAutofit/>
          </a:bodyPr>
          <a:lstStyle/>
          <a:p>
            <a:r>
              <a:rPr lang="en-US" sz="1100">
                <a:solidFill>
                  <a:schemeClr val="tx1"/>
                </a:solidFill>
                <a:ea typeface="+mn-lt"/>
                <a:cs typeface="+mn-lt"/>
              </a:rPr>
              <a:t>this </a:t>
            </a:r>
            <a:r>
              <a:rPr lang="en-US" sz="1100" b="1">
                <a:solidFill>
                  <a:schemeClr val="tx1"/>
                </a:solidFill>
                <a:ea typeface="+mn-lt"/>
                <a:cs typeface="+mn-lt"/>
              </a:rPr>
              <a:t>answer is wrong</a:t>
            </a:r>
            <a:endParaRPr lang="en-US" sz="1100" b="1">
              <a:solidFill>
                <a:schemeClr val="tx1"/>
              </a:solidFill>
            </a:endParaRPr>
          </a:p>
        </p:txBody>
      </p:sp>
      <p:sp>
        <p:nvSpPr>
          <p:cNvPr id="57" name="Rectangle 56">
            <a:extLst>
              <a:ext uri="{FF2B5EF4-FFF2-40B4-BE49-F238E27FC236}">
                <a16:creationId xmlns:a16="http://schemas.microsoft.com/office/drawing/2014/main" id="{C6BD3511-55EE-FB56-33E6-509A7DC9DC2B}"/>
              </a:ext>
            </a:extLst>
          </p:cNvPr>
          <p:cNvSpPr/>
          <p:nvPr/>
        </p:nvSpPr>
        <p:spPr>
          <a:xfrm>
            <a:off x="5826332" y="5461920"/>
            <a:ext cx="2583970" cy="627864"/>
          </a:xfrm>
          <a:prstGeom prst="rect">
            <a:avLst/>
          </a:prstGeom>
          <a:solidFill>
            <a:schemeClr val="accent5">
              <a:lumMod val="40000"/>
              <a:lumOff val="60000"/>
            </a:schemeClr>
          </a:solidFill>
          <a:ln>
            <a:noFill/>
          </a:ln>
        </p:spPr>
        <p:style>
          <a:lnRef idx="0">
            <a:scrgbClr r="0" g="0" b="0"/>
          </a:lnRef>
          <a:fillRef idx="0">
            <a:scrgbClr r="0" g="0" b="0"/>
          </a:fillRef>
          <a:effectRef idx="0">
            <a:scrgbClr r="0" g="0" b="0"/>
          </a:effectRef>
          <a:fontRef idx="minor">
            <a:schemeClr val="lt1"/>
          </a:fontRef>
        </p:style>
        <p:txBody>
          <a:bodyPr wrap="square" lIns="54864" tIns="36576" rIns="54864" bIns="36576" rtlCol="0" anchor="ctr">
            <a:noAutofit/>
          </a:bodyPr>
          <a:lstStyle/>
          <a:p>
            <a:r>
              <a:rPr lang="en-US" sz="1100">
                <a:solidFill>
                  <a:schemeClr val="tx1"/>
                </a:solidFill>
                <a:ea typeface="+mn-lt"/>
                <a:cs typeface="+mn-lt"/>
              </a:rPr>
              <a:t>References should include phase3/4 publications to elaborate on the AE's from both acute and chronic studies.</a:t>
            </a:r>
            <a:endParaRPr lang="en-US" sz="1100"/>
          </a:p>
        </p:txBody>
      </p:sp>
      <p:sp>
        <p:nvSpPr>
          <p:cNvPr id="65" name="Rectangle 64">
            <a:extLst>
              <a:ext uri="{FF2B5EF4-FFF2-40B4-BE49-F238E27FC236}">
                <a16:creationId xmlns:a16="http://schemas.microsoft.com/office/drawing/2014/main" id="{A2DFB32A-A43C-12F4-B1AA-7B83E9EF36C5}"/>
              </a:ext>
            </a:extLst>
          </p:cNvPr>
          <p:cNvSpPr/>
          <p:nvPr/>
        </p:nvSpPr>
        <p:spPr>
          <a:xfrm>
            <a:off x="8464238" y="1648790"/>
            <a:ext cx="3202511" cy="1667518"/>
          </a:xfrm>
          <a:prstGeom prst="rect">
            <a:avLst/>
          </a:prstGeom>
          <a:solidFill>
            <a:schemeClr val="accent4">
              <a:lumMod val="40000"/>
              <a:lumOff val="60000"/>
            </a:schemeClr>
          </a:solidFill>
          <a:ln>
            <a:noFill/>
          </a:ln>
        </p:spPr>
        <p:style>
          <a:lnRef idx="0">
            <a:scrgbClr r="0" g="0" b="0"/>
          </a:lnRef>
          <a:fillRef idx="0">
            <a:scrgbClr r="0" g="0" b="0"/>
          </a:fillRef>
          <a:effectRef idx="0">
            <a:scrgbClr r="0" g="0" b="0"/>
          </a:effectRef>
          <a:fontRef idx="minor">
            <a:schemeClr val="lt1"/>
          </a:fontRef>
        </p:style>
        <p:txBody>
          <a:bodyPr wrap="square" lIns="54864" tIns="36576" rIns="54864" bIns="36576" rtlCol="0" anchor="ctr">
            <a:spAutoFit/>
          </a:bodyPr>
          <a:lstStyle/>
          <a:p>
            <a:r>
              <a:rPr lang="en-US" sz="1100">
                <a:solidFill>
                  <a:schemeClr val="tx1"/>
                </a:solidFill>
                <a:ea typeface="+mn-lt"/>
                <a:cs typeface="+mn-lt"/>
              </a:rPr>
              <a:t>The question was asking for the number of patients that were included in the OPTIC trial. The answer I was expecting was 51 (i.e. 37 OPTIC placebo patients who received their first course of TEPEZZA were included/enrolled in OPTIC-X and 14 second course OPTIC teprotumumab group were included/enrolled in the OPTIC-X). Companion's response was the number of patients that completed the study</a:t>
            </a:r>
            <a:endParaRPr lang="en-US" sz="1100">
              <a:solidFill>
                <a:schemeClr val="tx1"/>
              </a:solidFill>
            </a:endParaRPr>
          </a:p>
        </p:txBody>
      </p:sp>
      <p:sp>
        <p:nvSpPr>
          <p:cNvPr id="67" name="Rectangle 66">
            <a:extLst>
              <a:ext uri="{FF2B5EF4-FFF2-40B4-BE49-F238E27FC236}">
                <a16:creationId xmlns:a16="http://schemas.microsoft.com/office/drawing/2014/main" id="{FBC864AA-B8E1-31FC-3C7D-AED1AE16F44D}"/>
              </a:ext>
            </a:extLst>
          </p:cNvPr>
          <p:cNvSpPr/>
          <p:nvPr/>
        </p:nvSpPr>
        <p:spPr>
          <a:xfrm>
            <a:off x="8464238" y="5461920"/>
            <a:ext cx="3202511" cy="627864"/>
          </a:xfrm>
          <a:prstGeom prst="rect">
            <a:avLst/>
          </a:prstGeom>
          <a:solidFill>
            <a:schemeClr val="accent5">
              <a:lumMod val="40000"/>
              <a:lumOff val="60000"/>
            </a:schemeClr>
          </a:solidFill>
          <a:ln>
            <a:noFill/>
          </a:ln>
        </p:spPr>
        <p:style>
          <a:lnRef idx="0">
            <a:scrgbClr r="0" g="0" b="0"/>
          </a:lnRef>
          <a:fillRef idx="0">
            <a:scrgbClr r="0" g="0" b="0"/>
          </a:fillRef>
          <a:effectRef idx="0">
            <a:scrgbClr r="0" g="0" b="0"/>
          </a:effectRef>
          <a:fontRef idx="minor">
            <a:schemeClr val="lt1"/>
          </a:fontRef>
        </p:style>
        <p:txBody>
          <a:bodyPr wrap="square" lIns="54864" tIns="36576" rIns="54864" bIns="36576" rtlCol="0" anchor="ctr">
            <a:noAutofit/>
          </a:bodyPr>
          <a:lstStyle/>
          <a:p>
            <a:r>
              <a:rPr lang="en-US" sz="1100">
                <a:solidFill>
                  <a:schemeClr val="tx1"/>
                </a:solidFill>
                <a:ea typeface="+mn-lt"/>
                <a:cs typeface="+mn-lt"/>
              </a:rPr>
              <a:t>The</a:t>
            </a:r>
            <a:r>
              <a:rPr lang="en-US" sz="1100" b="1">
                <a:solidFill>
                  <a:schemeClr val="tx1"/>
                </a:solidFill>
                <a:ea typeface="+mn-lt"/>
                <a:cs typeface="+mn-lt"/>
              </a:rPr>
              <a:t> response does not provide details </a:t>
            </a:r>
            <a:r>
              <a:rPr lang="en-US" sz="1100">
                <a:solidFill>
                  <a:schemeClr val="tx1"/>
                </a:solidFill>
                <a:ea typeface="+mn-lt"/>
                <a:cs typeface="+mn-lt"/>
              </a:rPr>
              <a:t>of the complications caused by steroid use in TED. </a:t>
            </a:r>
            <a:endParaRPr lang="en-US" sz="1100"/>
          </a:p>
        </p:txBody>
      </p:sp>
      <p:sp>
        <p:nvSpPr>
          <p:cNvPr id="64" name="Rectangle 63">
            <a:extLst>
              <a:ext uri="{FF2B5EF4-FFF2-40B4-BE49-F238E27FC236}">
                <a16:creationId xmlns:a16="http://schemas.microsoft.com/office/drawing/2014/main" id="{25C01B9C-49D1-54EE-99CA-618236B10018}"/>
              </a:ext>
            </a:extLst>
          </p:cNvPr>
          <p:cNvSpPr/>
          <p:nvPr/>
        </p:nvSpPr>
        <p:spPr>
          <a:xfrm>
            <a:off x="8464238" y="3382613"/>
            <a:ext cx="3202511" cy="1089529"/>
          </a:xfrm>
          <a:prstGeom prst="rect">
            <a:avLst/>
          </a:prstGeom>
          <a:solidFill>
            <a:schemeClr val="accent1">
              <a:lumMod val="20000"/>
              <a:lumOff val="80000"/>
            </a:schemeClr>
          </a:solidFill>
          <a:ln>
            <a:noFill/>
          </a:ln>
        </p:spPr>
        <p:style>
          <a:lnRef idx="0">
            <a:scrgbClr r="0" g="0" b="0"/>
          </a:lnRef>
          <a:fillRef idx="0">
            <a:scrgbClr r="0" g="0" b="0"/>
          </a:fillRef>
          <a:effectRef idx="0">
            <a:scrgbClr r="0" g="0" b="0"/>
          </a:effectRef>
          <a:fontRef idx="minor">
            <a:schemeClr val="lt1"/>
          </a:fontRef>
        </p:style>
        <p:txBody>
          <a:bodyPr wrap="square" lIns="54864" tIns="36576" rIns="54864" bIns="36576" rtlCol="0" anchor="ctr">
            <a:spAutoFit/>
          </a:bodyPr>
          <a:lstStyle/>
          <a:p>
            <a:r>
              <a:rPr lang="en-US" sz="1100">
                <a:solidFill>
                  <a:schemeClr val="tx1"/>
                </a:solidFill>
                <a:ea typeface="+mn-lt"/>
                <a:cs typeface="+mn-lt"/>
              </a:rPr>
              <a:t>Companion provided primary and secondary from the OPTIC-X trial. It also cited the OPTIC-X trial, where as the question requested for the primary and secondary endpoints of the OPTIC trial. Not sure if it picked up OPTIC from the previous question about OPTIC-X and </a:t>
            </a:r>
            <a:r>
              <a:rPr lang="en-US" sz="1100" b="1">
                <a:solidFill>
                  <a:schemeClr val="tx1"/>
                </a:solidFill>
                <a:ea typeface="+mn-lt"/>
                <a:cs typeface="+mn-lt"/>
              </a:rPr>
              <a:t>so it was searching the OPTIC-X article for answers</a:t>
            </a:r>
            <a:endParaRPr lang="en-US" sz="1100" b="1">
              <a:solidFill>
                <a:schemeClr val="tx1"/>
              </a:solidFill>
            </a:endParaRPr>
          </a:p>
        </p:txBody>
      </p:sp>
      <p:sp>
        <p:nvSpPr>
          <p:cNvPr id="66" name="Rectangle 65">
            <a:extLst>
              <a:ext uri="{FF2B5EF4-FFF2-40B4-BE49-F238E27FC236}">
                <a16:creationId xmlns:a16="http://schemas.microsoft.com/office/drawing/2014/main" id="{58FEFE87-F22E-67EF-A457-6EA576244F2A}"/>
              </a:ext>
            </a:extLst>
          </p:cNvPr>
          <p:cNvSpPr/>
          <p:nvPr/>
        </p:nvSpPr>
        <p:spPr>
          <a:xfrm>
            <a:off x="8464238" y="4983195"/>
            <a:ext cx="3202511" cy="412421"/>
          </a:xfrm>
          <a:prstGeom prst="rect">
            <a:avLst/>
          </a:prstGeom>
          <a:solidFill>
            <a:schemeClr val="accent1">
              <a:lumMod val="20000"/>
              <a:lumOff val="80000"/>
            </a:schemeClr>
          </a:solidFill>
          <a:ln>
            <a:noFill/>
          </a:ln>
        </p:spPr>
        <p:style>
          <a:lnRef idx="0">
            <a:scrgbClr r="0" g="0" b="0"/>
          </a:lnRef>
          <a:fillRef idx="0">
            <a:scrgbClr r="0" g="0" b="0"/>
          </a:fillRef>
          <a:effectRef idx="0">
            <a:scrgbClr r="0" g="0" b="0"/>
          </a:effectRef>
          <a:fontRef idx="minor">
            <a:schemeClr val="lt1"/>
          </a:fontRef>
        </p:style>
        <p:txBody>
          <a:bodyPr wrap="square" lIns="54864" tIns="36576" rIns="54864" bIns="36576" rtlCol="0" anchor="ctr">
            <a:spAutoFit/>
          </a:bodyPr>
          <a:lstStyle/>
          <a:p>
            <a:r>
              <a:rPr lang="en-US" sz="1100">
                <a:solidFill>
                  <a:schemeClr val="tx1"/>
                </a:solidFill>
                <a:ea typeface="+mn-lt"/>
                <a:cs typeface="+mn-lt"/>
              </a:rPr>
              <a:t>The first part of this </a:t>
            </a:r>
            <a:r>
              <a:rPr lang="en-US" sz="1100" b="1">
                <a:solidFill>
                  <a:schemeClr val="tx1"/>
                </a:solidFill>
                <a:ea typeface="+mn-lt"/>
                <a:cs typeface="+mn-lt"/>
              </a:rPr>
              <a:t>answer is not for OPTIC-X</a:t>
            </a:r>
            <a:r>
              <a:rPr lang="en-US" sz="1100">
                <a:solidFill>
                  <a:schemeClr val="tx1"/>
                </a:solidFill>
                <a:ea typeface="+mn-lt"/>
                <a:cs typeface="+mn-lt"/>
              </a:rPr>
              <a:t>. It looks like it was for OPTIC. </a:t>
            </a:r>
            <a:endParaRPr lang="en-US" sz="1100"/>
          </a:p>
        </p:txBody>
      </p:sp>
      <p:sp>
        <p:nvSpPr>
          <p:cNvPr id="68" name="Rectangle 67">
            <a:extLst>
              <a:ext uri="{FF2B5EF4-FFF2-40B4-BE49-F238E27FC236}">
                <a16:creationId xmlns:a16="http://schemas.microsoft.com/office/drawing/2014/main" id="{8B3ED60A-7245-6715-5ECB-81228DD0C841}"/>
              </a:ext>
            </a:extLst>
          </p:cNvPr>
          <p:cNvSpPr/>
          <p:nvPr/>
        </p:nvSpPr>
        <p:spPr>
          <a:xfrm>
            <a:off x="8464238" y="4521458"/>
            <a:ext cx="3202511" cy="412421"/>
          </a:xfrm>
          <a:prstGeom prst="rect">
            <a:avLst/>
          </a:prstGeom>
          <a:solidFill>
            <a:schemeClr val="accent1">
              <a:lumMod val="20000"/>
              <a:lumOff val="80000"/>
            </a:schemeClr>
          </a:solidFill>
          <a:ln>
            <a:noFill/>
          </a:ln>
        </p:spPr>
        <p:style>
          <a:lnRef idx="0">
            <a:scrgbClr r="0" g="0" b="0"/>
          </a:lnRef>
          <a:fillRef idx="0">
            <a:scrgbClr r="0" g="0" b="0"/>
          </a:fillRef>
          <a:effectRef idx="0">
            <a:scrgbClr r="0" g="0" b="0"/>
          </a:effectRef>
          <a:fontRef idx="minor">
            <a:schemeClr val="lt1"/>
          </a:fontRef>
        </p:style>
        <p:txBody>
          <a:bodyPr wrap="square" lIns="54864" tIns="36576" rIns="54864" bIns="36576" rtlCol="0" anchor="ctr">
            <a:spAutoFit/>
          </a:bodyPr>
          <a:lstStyle/>
          <a:p>
            <a:r>
              <a:rPr lang="en-US" sz="1100">
                <a:solidFill>
                  <a:schemeClr val="tx1"/>
                </a:solidFill>
                <a:ea typeface="+mn-lt"/>
                <a:cs typeface="+mn-lt"/>
              </a:rPr>
              <a:t>The purpose of treating TED is not to achieve </a:t>
            </a:r>
            <a:r>
              <a:rPr lang="en-US" sz="1100" err="1">
                <a:solidFill>
                  <a:schemeClr val="tx1"/>
                </a:solidFill>
                <a:ea typeface="+mn-lt"/>
                <a:cs typeface="+mn-lt"/>
              </a:rPr>
              <a:t>euthyroidism</a:t>
            </a:r>
            <a:r>
              <a:rPr lang="en-US" sz="1100">
                <a:solidFill>
                  <a:schemeClr val="tx1"/>
                </a:solidFill>
                <a:ea typeface="+mn-lt"/>
                <a:cs typeface="+mn-lt"/>
              </a:rPr>
              <a:t> - it is to treat Thyroid Eye disease </a:t>
            </a:r>
            <a:endParaRPr lang="en-US" sz="1100"/>
          </a:p>
        </p:txBody>
      </p:sp>
      <p:grpSp>
        <p:nvGrpSpPr>
          <p:cNvPr id="106" name="Group 105">
            <a:extLst>
              <a:ext uri="{FF2B5EF4-FFF2-40B4-BE49-F238E27FC236}">
                <a16:creationId xmlns:a16="http://schemas.microsoft.com/office/drawing/2014/main" id="{6C42A1EE-5771-432C-A06B-C541EE519E00}"/>
              </a:ext>
            </a:extLst>
          </p:cNvPr>
          <p:cNvGrpSpPr/>
          <p:nvPr/>
        </p:nvGrpSpPr>
        <p:grpSpPr>
          <a:xfrm>
            <a:off x="2512801" y="6365491"/>
            <a:ext cx="2099721" cy="138499"/>
            <a:chOff x="2633026" y="6365491"/>
            <a:chExt cx="2099721" cy="138499"/>
          </a:xfrm>
        </p:grpSpPr>
        <p:sp>
          <p:nvSpPr>
            <p:cNvPr id="91" name="Rectangle 90">
              <a:extLst>
                <a:ext uri="{FF2B5EF4-FFF2-40B4-BE49-F238E27FC236}">
                  <a16:creationId xmlns:a16="http://schemas.microsoft.com/office/drawing/2014/main" id="{F19F45BD-EAD1-7F6E-5A26-F3AB04406B00}"/>
                </a:ext>
              </a:extLst>
            </p:cNvPr>
            <p:cNvSpPr/>
            <p:nvPr/>
          </p:nvSpPr>
          <p:spPr>
            <a:xfrm>
              <a:off x="2818762" y="6365491"/>
              <a:ext cx="1913985" cy="138499"/>
            </a:xfrm>
            <a:prstGeom prst="rect">
              <a:avLst/>
            </a:prstGeom>
            <a:noFill/>
            <a:ln>
              <a:noFill/>
            </a:ln>
          </p:spPr>
          <p:style>
            <a:lnRef idx="0">
              <a:scrgbClr r="0" g="0" b="0"/>
            </a:lnRef>
            <a:fillRef idx="0">
              <a:scrgbClr r="0" g="0" b="0"/>
            </a:fillRef>
            <a:effectRef idx="0">
              <a:scrgbClr r="0" g="0" b="0"/>
            </a:effectRef>
            <a:fontRef idx="minor">
              <a:schemeClr val="lt1"/>
            </a:fontRef>
          </p:style>
          <p:txBody>
            <a:bodyPr wrap="none" lIns="0" tIns="0" rIns="0" bIns="0" rtlCol="0" anchor="ctr">
              <a:spAutoFit/>
            </a:bodyPr>
            <a:lstStyle/>
            <a:p>
              <a:r>
                <a:rPr lang="en-US" sz="900">
                  <a:solidFill>
                    <a:schemeClr val="tx1"/>
                  </a:solidFill>
                </a:rPr>
                <a:t>Issues resolved with current architecture</a:t>
              </a:r>
            </a:p>
          </p:txBody>
        </p:sp>
        <p:sp>
          <p:nvSpPr>
            <p:cNvPr id="92" name="Rectangle 91">
              <a:extLst>
                <a:ext uri="{FF2B5EF4-FFF2-40B4-BE49-F238E27FC236}">
                  <a16:creationId xmlns:a16="http://schemas.microsoft.com/office/drawing/2014/main" id="{39E952B8-0911-93EF-4E8A-9E0C14F4715C}"/>
                </a:ext>
              </a:extLst>
            </p:cNvPr>
            <p:cNvSpPr/>
            <p:nvPr/>
          </p:nvSpPr>
          <p:spPr>
            <a:xfrm>
              <a:off x="2633026" y="6370732"/>
              <a:ext cx="128016" cy="128016"/>
            </a:xfrm>
            <a:prstGeom prst="rect">
              <a:avLst/>
            </a:prstGeom>
            <a:solidFill>
              <a:srgbClr val="DAEABF"/>
            </a:solidFill>
            <a:ln>
              <a:noFill/>
            </a:ln>
          </p:spPr>
          <p:style>
            <a:lnRef idx="0">
              <a:scrgbClr r="0" g="0" b="0"/>
            </a:lnRef>
            <a:fillRef idx="0">
              <a:scrgbClr r="0" g="0" b="0"/>
            </a:fillRef>
            <a:effectRef idx="0">
              <a:scrgbClr r="0" g="0" b="0"/>
            </a:effectRef>
            <a:fontRef idx="minor">
              <a:schemeClr val="lt1"/>
            </a:fontRef>
          </p:style>
          <p:txBody>
            <a:bodyPr wrap="square" lIns="54864" tIns="36576" rIns="54864" bIns="36576" rtlCol="0" anchor="ctr">
              <a:noAutofit/>
            </a:bodyPr>
            <a:lstStyle/>
            <a:p>
              <a:endParaRPr lang="en-US" sz="1100"/>
            </a:p>
          </p:txBody>
        </p:sp>
      </p:grpSp>
      <p:grpSp>
        <p:nvGrpSpPr>
          <p:cNvPr id="105" name="Group 104">
            <a:extLst>
              <a:ext uri="{FF2B5EF4-FFF2-40B4-BE49-F238E27FC236}">
                <a16:creationId xmlns:a16="http://schemas.microsoft.com/office/drawing/2014/main" id="{DE649A34-76CE-E700-7E0D-E98677DE8D62}"/>
              </a:ext>
            </a:extLst>
          </p:cNvPr>
          <p:cNvGrpSpPr/>
          <p:nvPr/>
        </p:nvGrpSpPr>
        <p:grpSpPr>
          <a:xfrm>
            <a:off x="5102244" y="6365491"/>
            <a:ext cx="1690956" cy="138499"/>
            <a:chOff x="5199225" y="6365491"/>
            <a:chExt cx="1690956" cy="138499"/>
          </a:xfrm>
        </p:grpSpPr>
        <p:sp>
          <p:nvSpPr>
            <p:cNvPr id="95" name="Rectangle 94">
              <a:extLst>
                <a:ext uri="{FF2B5EF4-FFF2-40B4-BE49-F238E27FC236}">
                  <a16:creationId xmlns:a16="http://schemas.microsoft.com/office/drawing/2014/main" id="{E901CD4E-4D6A-CDC7-B5F1-63C243AC1E4C}"/>
                </a:ext>
              </a:extLst>
            </p:cNvPr>
            <p:cNvSpPr/>
            <p:nvPr/>
          </p:nvSpPr>
          <p:spPr>
            <a:xfrm>
              <a:off x="5384961" y="6365491"/>
              <a:ext cx="1505220" cy="138499"/>
            </a:xfrm>
            <a:prstGeom prst="rect">
              <a:avLst/>
            </a:prstGeom>
            <a:noFill/>
            <a:ln>
              <a:noFill/>
            </a:ln>
          </p:spPr>
          <p:style>
            <a:lnRef idx="0">
              <a:scrgbClr r="0" g="0" b="0"/>
            </a:lnRef>
            <a:fillRef idx="0">
              <a:scrgbClr r="0" g="0" b="0"/>
            </a:fillRef>
            <a:effectRef idx="0">
              <a:scrgbClr r="0" g="0" b="0"/>
            </a:effectRef>
            <a:fontRef idx="minor">
              <a:schemeClr val="lt1"/>
            </a:fontRef>
          </p:style>
          <p:txBody>
            <a:bodyPr wrap="none" lIns="0" tIns="0" rIns="0" bIns="0" rtlCol="0" anchor="ctr">
              <a:spAutoFit/>
            </a:bodyPr>
            <a:lstStyle/>
            <a:p>
              <a:r>
                <a:rPr lang="en-US" sz="900">
                  <a:solidFill>
                    <a:schemeClr val="tx1"/>
                  </a:solidFill>
                </a:rPr>
                <a:t>Proposed solution for the Issues</a:t>
              </a:r>
            </a:p>
          </p:txBody>
        </p:sp>
        <p:sp>
          <p:nvSpPr>
            <p:cNvPr id="96" name="Rectangle 95">
              <a:extLst>
                <a:ext uri="{FF2B5EF4-FFF2-40B4-BE49-F238E27FC236}">
                  <a16:creationId xmlns:a16="http://schemas.microsoft.com/office/drawing/2014/main" id="{5AE24881-26D3-35D6-A272-F28CB6583CB2}"/>
                </a:ext>
              </a:extLst>
            </p:cNvPr>
            <p:cNvSpPr/>
            <p:nvPr/>
          </p:nvSpPr>
          <p:spPr>
            <a:xfrm>
              <a:off x="5199225" y="6370732"/>
              <a:ext cx="128016" cy="128016"/>
            </a:xfrm>
            <a:prstGeom prst="rect">
              <a:avLst/>
            </a:prstGeom>
            <a:solidFill>
              <a:srgbClr val="D1E0EF"/>
            </a:solidFill>
            <a:ln>
              <a:noFill/>
            </a:ln>
          </p:spPr>
          <p:style>
            <a:lnRef idx="0">
              <a:scrgbClr r="0" g="0" b="0"/>
            </a:lnRef>
            <a:fillRef idx="0">
              <a:scrgbClr r="0" g="0" b="0"/>
            </a:fillRef>
            <a:effectRef idx="0">
              <a:scrgbClr r="0" g="0" b="0"/>
            </a:effectRef>
            <a:fontRef idx="minor">
              <a:schemeClr val="lt1"/>
            </a:fontRef>
          </p:style>
          <p:txBody>
            <a:bodyPr wrap="square" lIns="54864" tIns="36576" rIns="54864" bIns="36576" rtlCol="0" anchor="ctr">
              <a:noAutofit/>
            </a:bodyPr>
            <a:lstStyle/>
            <a:p>
              <a:endParaRPr lang="en-US" sz="1100"/>
            </a:p>
          </p:txBody>
        </p:sp>
      </p:grpSp>
      <p:grpSp>
        <p:nvGrpSpPr>
          <p:cNvPr id="104" name="Group 103">
            <a:extLst>
              <a:ext uri="{FF2B5EF4-FFF2-40B4-BE49-F238E27FC236}">
                <a16:creationId xmlns:a16="http://schemas.microsoft.com/office/drawing/2014/main" id="{9E5A6581-41CD-E6EA-0B06-3CE48F59176F}"/>
              </a:ext>
            </a:extLst>
          </p:cNvPr>
          <p:cNvGrpSpPr/>
          <p:nvPr/>
        </p:nvGrpSpPr>
        <p:grpSpPr>
          <a:xfrm>
            <a:off x="7282921" y="6365491"/>
            <a:ext cx="2396278" cy="138499"/>
            <a:chOff x="7403146" y="6365491"/>
            <a:chExt cx="2396278" cy="138499"/>
          </a:xfrm>
        </p:grpSpPr>
        <p:sp>
          <p:nvSpPr>
            <p:cNvPr id="98" name="Rectangle 97">
              <a:extLst>
                <a:ext uri="{FF2B5EF4-FFF2-40B4-BE49-F238E27FC236}">
                  <a16:creationId xmlns:a16="http://schemas.microsoft.com/office/drawing/2014/main" id="{B9ACD629-02EA-1C09-C9DC-369D5AA82B32}"/>
                </a:ext>
              </a:extLst>
            </p:cNvPr>
            <p:cNvSpPr/>
            <p:nvPr/>
          </p:nvSpPr>
          <p:spPr>
            <a:xfrm>
              <a:off x="7588882" y="6365491"/>
              <a:ext cx="2210542" cy="138499"/>
            </a:xfrm>
            <a:prstGeom prst="rect">
              <a:avLst/>
            </a:prstGeom>
            <a:noFill/>
            <a:ln>
              <a:noFill/>
            </a:ln>
          </p:spPr>
          <p:style>
            <a:lnRef idx="0">
              <a:scrgbClr r="0" g="0" b="0"/>
            </a:lnRef>
            <a:fillRef idx="0">
              <a:scrgbClr r="0" g="0" b="0"/>
            </a:fillRef>
            <a:effectRef idx="0">
              <a:scrgbClr r="0" g="0" b="0"/>
            </a:effectRef>
            <a:fontRef idx="minor">
              <a:schemeClr val="lt1"/>
            </a:fontRef>
          </p:style>
          <p:txBody>
            <a:bodyPr wrap="none" lIns="0" tIns="0" rIns="0" bIns="0" rtlCol="0" anchor="ctr">
              <a:spAutoFit/>
            </a:bodyPr>
            <a:lstStyle/>
            <a:p>
              <a:r>
                <a:rPr lang="en-US" sz="900">
                  <a:solidFill>
                    <a:schemeClr val="tx1"/>
                  </a:solidFill>
                </a:rPr>
                <a:t>Need additional details from Med-Affairs Team</a:t>
              </a:r>
            </a:p>
          </p:txBody>
        </p:sp>
        <p:sp>
          <p:nvSpPr>
            <p:cNvPr id="99" name="Rectangle 98">
              <a:extLst>
                <a:ext uri="{FF2B5EF4-FFF2-40B4-BE49-F238E27FC236}">
                  <a16:creationId xmlns:a16="http://schemas.microsoft.com/office/drawing/2014/main" id="{C1C07DC3-5724-5596-D88D-A626347D1B8B}"/>
                </a:ext>
              </a:extLst>
            </p:cNvPr>
            <p:cNvSpPr/>
            <p:nvPr/>
          </p:nvSpPr>
          <p:spPr>
            <a:xfrm>
              <a:off x="7403146" y="6370732"/>
              <a:ext cx="128016" cy="128016"/>
            </a:xfrm>
            <a:prstGeom prst="rect">
              <a:avLst/>
            </a:prstGeom>
            <a:solidFill>
              <a:schemeClr val="accent5">
                <a:lumMod val="40000"/>
                <a:lumOff val="60000"/>
              </a:schemeClr>
            </a:solidFill>
            <a:ln>
              <a:noFill/>
            </a:ln>
          </p:spPr>
          <p:style>
            <a:lnRef idx="0">
              <a:scrgbClr r="0" g="0" b="0"/>
            </a:lnRef>
            <a:fillRef idx="0">
              <a:scrgbClr r="0" g="0" b="0"/>
            </a:fillRef>
            <a:effectRef idx="0">
              <a:scrgbClr r="0" g="0" b="0"/>
            </a:effectRef>
            <a:fontRef idx="minor">
              <a:schemeClr val="lt1"/>
            </a:fontRef>
          </p:style>
          <p:txBody>
            <a:bodyPr wrap="square" lIns="54864" tIns="36576" rIns="54864" bIns="36576" rtlCol="0" anchor="ctr">
              <a:noAutofit/>
            </a:bodyPr>
            <a:lstStyle/>
            <a:p>
              <a:endParaRPr lang="en-US" sz="1100"/>
            </a:p>
          </p:txBody>
        </p:sp>
      </p:grpSp>
    </p:spTree>
    <p:custDataLst>
      <p:custData r:id="rId1"/>
    </p:custDataLst>
    <p:extLst>
      <p:ext uri="{BB962C8B-B14F-4D97-AF65-F5344CB8AC3E}">
        <p14:creationId xmlns:p14="http://schemas.microsoft.com/office/powerpoint/2010/main" val="231949449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F39935-05AF-A634-27A8-499EB349F9AF}"/>
              </a:ext>
            </a:extLst>
          </p:cNvPr>
          <p:cNvSpPr>
            <a:spLocks noGrp="1"/>
          </p:cNvSpPr>
          <p:nvPr>
            <p:ph type="title"/>
          </p:nvPr>
        </p:nvSpPr>
        <p:spPr>
          <a:xfrm>
            <a:off x="609600" y="311785"/>
            <a:ext cx="10972800" cy="492443"/>
          </a:xfrm>
        </p:spPr>
        <p:txBody>
          <a:bodyPr wrap="square">
            <a:spAutoFit/>
          </a:bodyPr>
          <a:lstStyle/>
          <a:p>
            <a:r>
              <a:rPr lang="en-US"/>
              <a:t>Resolved Issues with Latest Architecture – Example 1</a:t>
            </a:r>
          </a:p>
        </p:txBody>
      </p:sp>
      <p:sp>
        <p:nvSpPr>
          <p:cNvPr id="4" name="Text Placeholder 3">
            <a:extLst>
              <a:ext uri="{FF2B5EF4-FFF2-40B4-BE49-F238E27FC236}">
                <a16:creationId xmlns:a16="http://schemas.microsoft.com/office/drawing/2014/main" id="{6BE7FC9A-3392-1344-BD93-493BB49841AF}"/>
              </a:ext>
            </a:extLst>
          </p:cNvPr>
          <p:cNvSpPr>
            <a:spLocks noGrp="1"/>
          </p:cNvSpPr>
          <p:nvPr>
            <p:ph type="body" sz="quarter" idx="14"/>
          </p:nvPr>
        </p:nvSpPr>
        <p:spPr>
          <a:xfrm>
            <a:off x="609600" y="6556376"/>
            <a:ext cx="10972800" cy="301625"/>
          </a:xfrm>
        </p:spPr>
        <p:txBody>
          <a:bodyPr vert="horz" lIns="91440" tIns="45720" rIns="91440" bIns="45720" rtlCol="0" anchor="t">
            <a:noAutofit/>
          </a:bodyPr>
          <a:lstStyle/>
          <a:p>
            <a:endParaRPr lang="en-US"/>
          </a:p>
          <a:p>
            <a:endParaRPr lang="en-US"/>
          </a:p>
        </p:txBody>
      </p:sp>
      <p:pic>
        <p:nvPicPr>
          <p:cNvPr id="5" name="Picture 4" descr="A screenshot of a computer&#10;&#10;Description automatically generated">
            <a:extLst>
              <a:ext uri="{FF2B5EF4-FFF2-40B4-BE49-F238E27FC236}">
                <a16:creationId xmlns:a16="http://schemas.microsoft.com/office/drawing/2014/main" id="{A9656D44-9747-1DD1-2787-0D5295B45033}"/>
              </a:ext>
            </a:extLst>
          </p:cNvPr>
          <p:cNvPicPr>
            <a:picLocks noChangeAspect="1"/>
          </p:cNvPicPr>
          <p:nvPr/>
        </p:nvPicPr>
        <p:blipFill rotWithShape="1">
          <a:blip r:embed="rId4"/>
          <a:srcRect l="1291" r="650"/>
          <a:stretch/>
        </p:blipFill>
        <p:spPr>
          <a:xfrm>
            <a:off x="609599" y="3592963"/>
            <a:ext cx="10972799" cy="2588345"/>
          </a:xfrm>
          <a:prstGeom prst="roundRect">
            <a:avLst>
              <a:gd name="adj" fmla="val 3533"/>
            </a:avLst>
          </a:prstGeom>
          <a:solidFill>
            <a:schemeClr val="bg1"/>
          </a:solidFill>
          <a:ln>
            <a:noFill/>
          </a:ln>
          <a:effectLst>
            <a:outerShdw blurRad="63500" algn="ctr" rotWithShape="0">
              <a:prstClr val="black">
                <a:alpha val="40000"/>
              </a:prstClr>
            </a:outerShdw>
          </a:effectLst>
        </p:spPr>
      </p:pic>
      <p:sp>
        <p:nvSpPr>
          <p:cNvPr id="7" name="Rectangle: Rounded Corners 6">
            <a:extLst>
              <a:ext uri="{FF2B5EF4-FFF2-40B4-BE49-F238E27FC236}">
                <a16:creationId xmlns:a16="http://schemas.microsoft.com/office/drawing/2014/main" id="{429E00B2-6509-F153-2B58-C3CBE507FC86}"/>
              </a:ext>
            </a:extLst>
          </p:cNvPr>
          <p:cNvSpPr/>
          <p:nvPr/>
        </p:nvSpPr>
        <p:spPr>
          <a:xfrm>
            <a:off x="609600" y="1333501"/>
            <a:ext cx="6172200" cy="1914524"/>
          </a:xfrm>
          <a:prstGeom prst="roundRect">
            <a:avLst>
              <a:gd name="adj" fmla="val 4776"/>
            </a:avLst>
          </a:prstGeom>
          <a:solidFill>
            <a:schemeClr val="bg1"/>
          </a:solidFill>
          <a:ln>
            <a:noFill/>
          </a:ln>
          <a:effectLst>
            <a:outerShdw blurRad="63500" algn="ctr" rotWithShape="0">
              <a:prstClr val="black">
                <a:alpha val="25000"/>
              </a:prstClr>
            </a:outerShdw>
          </a:effectLst>
        </p:spPr>
        <p:style>
          <a:lnRef idx="0">
            <a:scrgbClr r="0" g="0" b="0"/>
          </a:lnRef>
          <a:fillRef idx="0">
            <a:scrgbClr r="0" g="0" b="0"/>
          </a:fillRef>
          <a:effectRef idx="0">
            <a:scrgbClr r="0" g="0" b="0"/>
          </a:effectRef>
          <a:fontRef idx="minor">
            <a:schemeClr val="lt1"/>
          </a:fontRef>
        </p:style>
        <p:txBody>
          <a:bodyPr rtlCol="0" anchor="ctr"/>
          <a:lstStyle/>
          <a:p>
            <a:pPr algn="ctr"/>
            <a:endParaRPr lang="en-IN"/>
          </a:p>
        </p:txBody>
      </p:sp>
      <p:sp>
        <p:nvSpPr>
          <p:cNvPr id="8" name="Rectangle: Rounded Corners 7">
            <a:extLst>
              <a:ext uri="{FF2B5EF4-FFF2-40B4-BE49-F238E27FC236}">
                <a16:creationId xmlns:a16="http://schemas.microsoft.com/office/drawing/2014/main" id="{C837A399-AA7A-1604-B4D2-B8AC84437CC4}"/>
              </a:ext>
            </a:extLst>
          </p:cNvPr>
          <p:cNvSpPr/>
          <p:nvPr/>
        </p:nvSpPr>
        <p:spPr>
          <a:xfrm>
            <a:off x="7153274" y="1333501"/>
            <a:ext cx="4429125" cy="1914524"/>
          </a:xfrm>
          <a:prstGeom prst="roundRect">
            <a:avLst>
              <a:gd name="adj" fmla="val 4585"/>
            </a:avLst>
          </a:prstGeom>
          <a:solidFill>
            <a:schemeClr val="bg1"/>
          </a:solidFill>
          <a:ln>
            <a:noFill/>
          </a:ln>
          <a:effectLst>
            <a:outerShdw blurRad="63500" algn="ctr" rotWithShape="0">
              <a:prstClr val="black">
                <a:alpha val="25000"/>
              </a:prstClr>
            </a:outerShdw>
          </a:effectLst>
        </p:spPr>
        <p:style>
          <a:lnRef idx="0">
            <a:scrgbClr r="0" g="0" b="0"/>
          </a:lnRef>
          <a:fillRef idx="0">
            <a:scrgbClr r="0" g="0" b="0"/>
          </a:fillRef>
          <a:effectRef idx="0">
            <a:scrgbClr r="0" g="0" b="0"/>
          </a:effectRef>
          <a:fontRef idx="minor">
            <a:schemeClr val="lt1"/>
          </a:fontRef>
        </p:style>
        <p:txBody>
          <a:bodyPr rtlCol="0" anchor="ctr"/>
          <a:lstStyle/>
          <a:p>
            <a:pPr algn="ctr"/>
            <a:endParaRPr lang="en-IN"/>
          </a:p>
        </p:txBody>
      </p:sp>
      <p:sp>
        <p:nvSpPr>
          <p:cNvPr id="12" name="Rectangle: Rounded Corners 11">
            <a:extLst>
              <a:ext uri="{FF2B5EF4-FFF2-40B4-BE49-F238E27FC236}">
                <a16:creationId xmlns:a16="http://schemas.microsoft.com/office/drawing/2014/main" id="{820FB596-9F04-9E74-27C3-0F234421BFAB}"/>
              </a:ext>
            </a:extLst>
          </p:cNvPr>
          <p:cNvSpPr/>
          <p:nvPr/>
        </p:nvSpPr>
        <p:spPr>
          <a:xfrm>
            <a:off x="726110" y="1207723"/>
            <a:ext cx="1145552" cy="2166079"/>
          </a:xfrm>
          <a:prstGeom prst="roundRect">
            <a:avLst>
              <a:gd name="adj" fmla="val 5012"/>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en-US" sz="1600" b="1"/>
              <a:t>User Comment</a:t>
            </a:r>
          </a:p>
          <a:p>
            <a:pPr algn="ctr"/>
            <a:endParaRPr lang="en-US" sz="1600" b="1"/>
          </a:p>
          <a:p>
            <a:pPr algn="ctr"/>
            <a:endParaRPr lang="en-US" sz="1600" b="1"/>
          </a:p>
          <a:p>
            <a:pPr algn="ctr"/>
            <a:endParaRPr lang="en-US" sz="1600" b="1"/>
          </a:p>
        </p:txBody>
      </p:sp>
      <p:sp>
        <p:nvSpPr>
          <p:cNvPr id="13" name="Rectangle: Rounded Corners 12">
            <a:extLst>
              <a:ext uri="{FF2B5EF4-FFF2-40B4-BE49-F238E27FC236}">
                <a16:creationId xmlns:a16="http://schemas.microsoft.com/office/drawing/2014/main" id="{3227C3C3-1C94-48FA-EE16-2DA5AEF843B2}"/>
              </a:ext>
            </a:extLst>
          </p:cNvPr>
          <p:cNvSpPr/>
          <p:nvPr/>
        </p:nvSpPr>
        <p:spPr>
          <a:xfrm>
            <a:off x="7286930" y="1207723"/>
            <a:ext cx="1145552" cy="2166079"/>
          </a:xfrm>
          <a:prstGeom prst="roundRect">
            <a:avLst>
              <a:gd name="adj" fmla="val 5012"/>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en-US" sz="1600" b="1"/>
              <a:t>Problem Identified</a:t>
            </a:r>
          </a:p>
          <a:p>
            <a:pPr algn="ctr"/>
            <a:endParaRPr lang="en-US" sz="1600" b="1"/>
          </a:p>
          <a:p>
            <a:pPr algn="ctr"/>
            <a:endParaRPr lang="en-US" sz="1600" b="1"/>
          </a:p>
          <a:p>
            <a:pPr algn="ctr"/>
            <a:endParaRPr lang="en-US" sz="1600" b="1"/>
          </a:p>
        </p:txBody>
      </p:sp>
      <p:sp>
        <p:nvSpPr>
          <p:cNvPr id="10" name="TextBox 9">
            <a:extLst>
              <a:ext uri="{FF2B5EF4-FFF2-40B4-BE49-F238E27FC236}">
                <a16:creationId xmlns:a16="http://schemas.microsoft.com/office/drawing/2014/main" id="{21F4F1D9-4FA1-BD69-D258-0AE30C4B8C96}"/>
              </a:ext>
            </a:extLst>
          </p:cNvPr>
          <p:cNvSpPr txBox="1"/>
          <p:nvPr/>
        </p:nvSpPr>
        <p:spPr>
          <a:xfrm>
            <a:off x="8511540" y="1954774"/>
            <a:ext cx="2979420" cy="671979"/>
          </a:xfrm>
          <a:prstGeom prst="rect">
            <a:avLst/>
          </a:prstGeom>
          <a:noFill/>
          <a:ln w="12700">
            <a:noFill/>
          </a:ln>
        </p:spPr>
        <p:txBody>
          <a:bodyPr wrap="square" lIns="0" tIns="0" rIns="0" bIns="0" rtlCol="0" anchor="ctr">
            <a:spAutoFit/>
          </a:bodyPr>
          <a:lstStyle/>
          <a:p>
            <a:pPr marL="3175">
              <a:spcBef>
                <a:spcPts val="100"/>
              </a:spcBef>
              <a:spcAft>
                <a:spcPts val="100"/>
              </a:spcAft>
              <a:buClr>
                <a:srgbClr val="303030">
                  <a:lumMod val="50000"/>
                  <a:lumOff val="50000"/>
                </a:srgbClr>
              </a:buClr>
            </a:pPr>
            <a:r>
              <a:rPr lang="en-US" sz="1400" dirty="0">
                <a:cs typeface="Calibri"/>
              </a:rPr>
              <a:t>Numerical answers are incorrect</a:t>
            </a:r>
          </a:p>
          <a:p>
            <a:pPr marL="3175">
              <a:spcBef>
                <a:spcPts val="100"/>
              </a:spcBef>
              <a:spcAft>
                <a:spcPts val="100"/>
              </a:spcAft>
              <a:buClr>
                <a:srgbClr val="303030">
                  <a:lumMod val="50000"/>
                  <a:lumOff val="50000"/>
                </a:srgbClr>
              </a:buClr>
            </a:pPr>
            <a:r>
              <a:rPr lang="en-US" sz="1400" dirty="0">
                <a:cs typeface="Calibri"/>
              </a:rPr>
              <a:t>Prompt engineering for numerical answers need to be enhanced</a:t>
            </a:r>
            <a:endParaRPr lang="en-US" sz="1400" dirty="0">
              <a:cs typeface="Tahoma" pitchFamily="34" charset="0"/>
            </a:endParaRPr>
          </a:p>
        </p:txBody>
      </p:sp>
      <p:sp>
        <p:nvSpPr>
          <p:cNvPr id="16" name="TextBox 15">
            <a:extLst>
              <a:ext uri="{FF2B5EF4-FFF2-40B4-BE49-F238E27FC236}">
                <a16:creationId xmlns:a16="http://schemas.microsoft.com/office/drawing/2014/main" id="{486D42F5-D0C2-F935-47D5-DFEC4DBBFC96}"/>
              </a:ext>
            </a:extLst>
          </p:cNvPr>
          <p:cNvSpPr txBox="1"/>
          <p:nvPr/>
        </p:nvSpPr>
        <p:spPr>
          <a:xfrm>
            <a:off x="1932242" y="1536710"/>
            <a:ext cx="4758817" cy="1508105"/>
          </a:xfrm>
          <a:prstGeom prst="rect">
            <a:avLst/>
          </a:prstGeom>
          <a:noFill/>
          <a:ln w="12700">
            <a:noFill/>
          </a:ln>
        </p:spPr>
        <p:txBody>
          <a:bodyPr wrap="square" lIns="0" tIns="0" rIns="0" bIns="0" anchor="ctr">
            <a:spAutoFit/>
          </a:bodyPr>
          <a:lstStyle/>
          <a:p>
            <a:r>
              <a:rPr lang="en-US" sz="1400" b="0" i="0" u="none" strike="noStrike" dirty="0">
                <a:effectLst/>
              </a:rPr>
              <a:t>The question was asking for the number of patients that were included in the OPTIC trial. The answer I was </a:t>
            </a:r>
            <a:r>
              <a:rPr lang="en-US" sz="1400" b="0" i="0" u="none" strike="noStrike" dirty="0">
                <a:effectLst/>
                <a:highlight>
                  <a:srgbClr val="FFFF00"/>
                </a:highlight>
              </a:rPr>
              <a:t>expecting was </a:t>
            </a:r>
            <a:r>
              <a:rPr lang="en-US" sz="1400" b="1" i="0" u="none" strike="noStrike" dirty="0">
                <a:effectLst/>
                <a:highlight>
                  <a:srgbClr val="FFFF00"/>
                </a:highlight>
              </a:rPr>
              <a:t>51</a:t>
            </a:r>
            <a:r>
              <a:rPr lang="en-US" sz="1400" b="0" i="0" u="none" strike="noStrike" dirty="0">
                <a:effectLst/>
                <a:highlight>
                  <a:srgbClr val="FFFF00"/>
                </a:highlight>
              </a:rPr>
              <a:t> </a:t>
            </a:r>
            <a:r>
              <a:rPr lang="en-US" sz="1400" b="0" i="0" u="none" strike="noStrike" dirty="0">
                <a:effectLst/>
              </a:rPr>
              <a:t>(i.e. 37 OPTIC placebo patients who received their first course of TEPEZZA were included/enrolled in OPTIC-X and 14 second course OPTIC teprotumumab group were included/enrolled in the OPTIC-X). Companion's response was the number of patients that completed the study</a:t>
            </a:r>
            <a:r>
              <a:rPr lang="en-US" sz="1400" dirty="0"/>
              <a:t> </a:t>
            </a:r>
          </a:p>
        </p:txBody>
      </p:sp>
      <p:pic>
        <p:nvPicPr>
          <p:cNvPr id="14" name="Graphic 13">
            <a:extLst>
              <a:ext uri="{FF2B5EF4-FFF2-40B4-BE49-F238E27FC236}">
                <a16:creationId xmlns:a16="http://schemas.microsoft.com/office/drawing/2014/main" id="{F2AC6DCD-2F59-BC26-72FB-45D331F1AB6F}"/>
              </a:ext>
            </a:extLst>
          </p:cNvPr>
          <p:cNvPicPr>
            <a:picLocks/>
          </p:cNvPicPr>
          <p:nvPr/>
        </p:nvPicPr>
        <p:blipFill>
          <a:blip r:embed="rId5">
            <a:extLst>
              <a:ext uri="{96DAC541-7B7A-43D3-8B79-37D633B846F1}">
                <asvg:svgBlip xmlns:asvg="http://schemas.microsoft.com/office/drawing/2016/SVG/main" r:embed="rId6"/>
              </a:ext>
            </a:extLst>
          </a:blip>
          <a:stretch>
            <a:fillRect/>
          </a:stretch>
        </p:blipFill>
        <p:spPr>
          <a:xfrm>
            <a:off x="885597" y="2230627"/>
            <a:ext cx="826579" cy="826579"/>
          </a:xfrm>
          <a:prstGeom prst="rect">
            <a:avLst/>
          </a:prstGeom>
        </p:spPr>
      </p:pic>
      <p:pic>
        <p:nvPicPr>
          <p:cNvPr id="3" name="Graphic 2">
            <a:extLst>
              <a:ext uri="{FF2B5EF4-FFF2-40B4-BE49-F238E27FC236}">
                <a16:creationId xmlns:a16="http://schemas.microsoft.com/office/drawing/2014/main" id="{B655F9BB-6E5F-7755-C465-874A2F7B6D7E}"/>
              </a:ext>
            </a:extLst>
          </p:cNvPr>
          <p:cNvPicPr>
            <a:picLocks/>
          </p:cNvPicPr>
          <p:nvPr/>
        </p:nvPicPr>
        <p:blipFill>
          <a:blip r:embed="rId7">
            <a:extLst>
              <a:ext uri="{96DAC541-7B7A-43D3-8B79-37D633B846F1}">
                <asvg:svgBlip xmlns:asvg="http://schemas.microsoft.com/office/drawing/2016/SVG/main" r:embed="rId8"/>
              </a:ext>
            </a:extLst>
          </a:blip>
          <a:stretch>
            <a:fillRect/>
          </a:stretch>
        </p:blipFill>
        <p:spPr>
          <a:xfrm>
            <a:off x="7401706" y="2169804"/>
            <a:ext cx="916000" cy="915998"/>
          </a:xfrm>
          <a:prstGeom prst="rect">
            <a:avLst/>
          </a:prstGeom>
        </p:spPr>
      </p:pic>
      <p:sp>
        <p:nvSpPr>
          <p:cNvPr id="6" name="Rectangle: Rounded Corners 5">
            <a:extLst>
              <a:ext uri="{FF2B5EF4-FFF2-40B4-BE49-F238E27FC236}">
                <a16:creationId xmlns:a16="http://schemas.microsoft.com/office/drawing/2014/main" id="{A5C6C70C-930F-D93B-A376-7383C89E81E5}"/>
              </a:ext>
            </a:extLst>
          </p:cNvPr>
          <p:cNvSpPr/>
          <p:nvPr/>
        </p:nvSpPr>
        <p:spPr>
          <a:xfrm>
            <a:off x="5891581" y="1781990"/>
            <a:ext cx="606176" cy="177345"/>
          </a:xfrm>
          <a:prstGeom prst="roundRect">
            <a:avLst/>
          </a:prstGeom>
          <a:noFill/>
          <a:ln>
            <a:solidFill>
              <a:schemeClr val="tx1"/>
            </a:solid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a:p>
        </p:txBody>
      </p:sp>
      <p:sp>
        <p:nvSpPr>
          <p:cNvPr id="9" name="Rectangle: Rounded Corners 8">
            <a:extLst>
              <a:ext uri="{FF2B5EF4-FFF2-40B4-BE49-F238E27FC236}">
                <a16:creationId xmlns:a16="http://schemas.microsoft.com/office/drawing/2014/main" id="{B7C55140-1FBF-0299-776F-0EDFBFC83806}"/>
              </a:ext>
            </a:extLst>
          </p:cNvPr>
          <p:cNvSpPr/>
          <p:nvPr/>
        </p:nvSpPr>
        <p:spPr>
          <a:xfrm>
            <a:off x="2948683" y="5085708"/>
            <a:ext cx="585627" cy="225308"/>
          </a:xfrm>
          <a:prstGeom prst="roundRect">
            <a:avLst/>
          </a:prstGeom>
          <a:noFill/>
          <a:ln w="38100">
            <a:solidFill>
              <a:schemeClr val="accent5"/>
            </a:solid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dirty="0"/>
          </a:p>
        </p:txBody>
      </p:sp>
    </p:spTree>
    <p:custDataLst>
      <p:custData r:id="rId1"/>
    </p:custDataLst>
    <p:extLst>
      <p:ext uri="{BB962C8B-B14F-4D97-AF65-F5344CB8AC3E}">
        <p14:creationId xmlns:p14="http://schemas.microsoft.com/office/powerpoint/2010/main" val="81284887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431463F-C086-F12C-8AB8-B9330F57F3FD}"/>
              </a:ext>
            </a:extLst>
          </p:cNvPr>
          <p:cNvSpPr>
            <a:spLocks noGrp="1"/>
          </p:cNvSpPr>
          <p:nvPr>
            <p:ph type="title"/>
          </p:nvPr>
        </p:nvSpPr>
        <p:spPr>
          <a:xfrm>
            <a:off x="609600" y="311785"/>
            <a:ext cx="10972800" cy="492443"/>
          </a:xfrm>
        </p:spPr>
        <p:txBody>
          <a:bodyPr wrap="square">
            <a:spAutoFit/>
          </a:bodyPr>
          <a:lstStyle/>
          <a:p>
            <a:r>
              <a:rPr lang="en-US"/>
              <a:t>Response Improvisation Instances (1/4)</a:t>
            </a:r>
          </a:p>
        </p:txBody>
      </p:sp>
      <p:sp>
        <p:nvSpPr>
          <p:cNvPr id="5" name="TextBox 4">
            <a:extLst>
              <a:ext uri="{FF2B5EF4-FFF2-40B4-BE49-F238E27FC236}">
                <a16:creationId xmlns:a16="http://schemas.microsoft.com/office/drawing/2014/main" id="{EC6916B1-51EB-974F-94E8-FEAEF2BF0C25}"/>
              </a:ext>
            </a:extLst>
          </p:cNvPr>
          <p:cNvSpPr txBox="1"/>
          <p:nvPr/>
        </p:nvSpPr>
        <p:spPr>
          <a:xfrm>
            <a:off x="5638800" y="2988128"/>
            <a:ext cx="914400" cy="914400"/>
          </a:xfrm>
          <a:prstGeom prst="rect">
            <a:avLst/>
          </a:prstGeom>
          <a:noFill/>
        </p:spPr>
        <p:txBody>
          <a:bodyPr wrap="square" rtlCol="0">
            <a:noAutofit/>
          </a:bodyPr>
          <a:lstStyle/>
          <a:p>
            <a:pPr marL="233363" indent="-230188">
              <a:spcBef>
                <a:spcPts val="600"/>
              </a:spcBef>
              <a:spcAft>
                <a:spcPts val="600"/>
              </a:spcAft>
              <a:buClr>
                <a:srgbClr val="303030">
                  <a:lumMod val="50000"/>
                  <a:lumOff val="50000"/>
                </a:srgbClr>
              </a:buClr>
              <a:buFont typeface="Arial" panose="020B0604020202020204" pitchFamily="34" charset="0"/>
              <a:buChar char="•"/>
            </a:pPr>
            <a:endParaRPr lang="en-US" sz="2000">
              <a:solidFill>
                <a:srgbClr val="002240"/>
              </a:solidFill>
              <a:cs typeface="Tahoma" pitchFamily="34" charset="0"/>
            </a:endParaRPr>
          </a:p>
        </p:txBody>
      </p:sp>
      <p:pic>
        <p:nvPicPr>
          <p:cNvPr id="7" name="Picture 6">
            <a:extLst>
              <a:ext uri="{FF2B5EF4-FFF2-40B4-BE49-F238E27FC236}">
                <a16:creationId xmlns:a16="http://schemas.microsoft.com/office/drawing/2014/main" id="{1A0D9463-C2A2-4242-83ED-31C736129C1E}"/>
              </a:ext>
            </a:extLst>
          </p:cNvPr>
          <p:cNvPicPr>
            <a:picLocks noChangeAspect="1"/>
          </p:cNvPicPr>
          <p:nvPr/>
        </p:nvPicPr>
        <p:blipFill rotWithShape="1">
          <a:blip r:embed="rId3"/>
          <a:srcRect l="488" t="-199" r="765" b="457"/>
          <a:stretch/>
        </p:blipFill>
        <p:spPr>
          <a:xfrm>
            <a:off x="1951346" y="1319752"/>
            <a:ext cx="9631052" cy="2243146"/>
          </a:xfrm>
          <a:prstGeom prst="roundRect">
            <a:avLst>
              <a:gd name="adj" fmla="val 3533"/>
            </a:avLst>
          </a:prstGeom>
          <a:solidFill>
            <a:schemeClr val="bg1"/>
          </a:solidFill>
          <a:ln>
            <a:noFill/>
          </a:ln>
          <a:effectLst>
            <a:outerShdw blurRad="63500" algn="ctr" rotWithShape="0">
              <a:prstClr val="black">
                <a:alpha val="40000"/>
              </a:prstClr>
            </a:outerShdw>
          </a:effectLst>
        </p:spPr>
      </p:pic>
      <p:pic>
        <p:nvPicPr>
          <p:cNvPr id="8" name="Picture 7">
            <a:extLst>
              <a:ext uri="{FF2B5EF4-FFF2-40B4-BE49-F238E27FC236}">
                <a16:creationId xmlns:a16="http://schemas.microsoft.com/office/drawing/2014/main" id="{1FEE3175-8F96-1D55-0238-2A0F3E9A41F1}"/>
              </a:ext>
            </a:extLst>
          </p:cNvPr>
          <p:cNvPicPr>
            <a:picLocks noChangeAspect="1"/>
          </p:cNvPicPr>
          <p:nvPr/>
        </p:nvPicPr>
        <p:blipFill rotWithShape="1">
          <a:blip r:embed="rId4"/>
          <a:srcRect l="778" t="-455" r="289" b="-340"/>
          <a:stretch/>
        </p:blipFill>
        <p:spPr>
          <a:xfrm>
            <a:off x="1951346" y="4128466"/>
            <a:ext cx="9631052" cy="1465569"/>
          </a:xfrm>
          <a:prstGeom prst="roundRect">
            <a:avLst>
              <a:gd name="adj" fmla="val 3533"/>
            </a:avLst>
          </a:prstGeom>
          <a:solidFill>
            <a:schemeClr val="bg1"/>
          </a:solidFill>
          <a:ln>
            <a:noFill/>
          </a:ln>
          <a:effectLst>
            <a:outerShdw blurRad="63500" algn="ctr" rotWithShape="0">
              <a:prstClr val="black">
                <a:alpha val="40000"/>
              </a:prstClr>
            </a:outerShdw>
          </a:effectLst>
        </p:spPr>
      </p:pic>
      <p:sp>
        <p:nvSpPr>
          <p:cNvPr id="4" name="Arrow: Pentagon 3">
            <a:extLst>
              <a:ext uri="{FF2B5EF4-FFF2-40B4-BE49-F238E27FC236}">
                <a16:creationId xmlns:a16="http://schemas.microsoft.com/office/drawing/2014/main" id="{F99BE823-5276-E3B4-2732-CD84ED151865}"/>
              </a:ext>
            </a:extLst>
          </p:cNvPr>
          <p:cNvSpPr/>
          <p:nvPr/>
        </p:nvSpPr>
        <p:spPr>
          <a:xfrm rot="5400000">
            <a:off x="-28030" y="1919675"/>
            <a:ext cx="2494462" cy="1219201"/>
          </a:xfrm>
          <a:prstGeom prst="homePlate">
            <a:avLst>
              <a:gd name="adj" fmla="val 11250"/>
            </a:avLst>
          </a:prstGeom>
          <a:solidFill>
            <a:schemeClr val="accent6"/>
          </a:solidFill>
          <a:ln>
            <a:noFill/>
          </a:ln>
        </p:spPr>
        <p:style>
          <a:lnRef idx="0">
            <a:scrgbClr r="0" g="0" b="0"/>
          </a:lnRef>
          <a:fillRef idx="0">
            <a:scrgbClr r="0" g="0" b="0"/>
          </a:fillRef>
          <a:effectRef idx="0">
            <a:scrgbClr r="0" g="0" b="0"/>
          </a:effectRef>
          <a:fontRef idx="minor">
            <a:schemeClr val="lt1"/>
          </a:fontRef>
        </p:style>
        <p:txBody>
          <a:bodyPr vert="vert270" rtlCol="0" anchor="ctr"/>
          <a:lstStyle/>
          <a:p>
            <a:pPr marL="3175" algn="ctr">
              <a:spcBef>
                <a:spcPts val="600"/>
              </a:spcBef>
              <a:spcAft>
                <a:spcPts val="600"/>
              </a:spcAft>
              <a:buClr>
                <a:srgbClr val="303030">
                  <a:lumMod val="50000"/>
                  <a:lumOff val="50000"/>
                </a:srgbClr>
              </a:buClr>
            </a:pPr>
            <a:r>
              <a:rPr lang="en-US" sz="1400" b="1">
                <a:solidFill>
                  <a:schemeClr val="bg1"/>
                </a:solidFill>
                <a:cs typeface="Tahoma" pitchFamily="34" charset="0"/>
              </a:rPr>
              <a:t>Old Architecture</a:t>
            </a:r>
          </a:p>
        </p:txBody>
      </p:sp>
      <p:sp>
        <p:nvSpPr>
          <p:cNvPr id="9" name="Arrow: Chevron 8">
            <a:extLst>
              <a:ext uri="{FF2B5EF4-FFF2-40B4-BE49-F238E27FC236}">
                <a16:creationId xmlns:a16="http://schemas.microsoft.com/office/drawing/2014/main" id="{F5C8F8D3-9745-0AB5-2C12-6E3E06B0F68E}"/>
              </a:ext>
            </a:extLst>
          </p:cNvPr>
          <p:cNvSpPr/>
          <p:nvPr/>
        </p:nvSpPr>
        <p:spPr>
          <a:xfrm rot="5400000">
            <a:off x="-28030" y="4421423"/>
            <a:ext cx="2494462" cy="1219201"/>
          </a:xfrm>
          <a:prstGeom prst="chevron">
            <a:avLst>
              <a:gd name="adj" fmla="val 11250"/>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vert="vert270" rtlCol="0" anchor="ctr"/>
          <a:lstStyle/>
          <a:p>
            <a:pPr marL="3175" algn="ctr">
              <a:spcBef>
                <a:spcPts val="600"/>
              </a:spcBef>
              <a:spcAft>
                <a:spcPts val="600"/>
              </a:spcAft>
              <a:buClr>
                <a:srgbClr val="303030">
                  <a:lumMod val="50000"/>
                  <a:lumOff val="50000"/>
                </a:srgbClr>
              </a:buClr>
            </a:pPr>
            <a:r>
              <a:rPr lang="en-US" sz="1400" b="1">
                <a:solidFill>
                  <a:schemeClr val="bg1"/>
                </a:solidFill>
                <a:cs typeface="Tahoma" pitchFamily="34" charset="0"/>
              </a:rPr>
              <a:t>New Architecture</a:t>
            </a:r>
          </a:p>
        </p:txBody>
      </p:sp>
      <p:cxnSp>
        <p:nvCxnSpPr>
          <p:cNvPr id="17" name="Straight Connector 16">
            <a:extLst>
              <a:ext uri="{FF2B5EF4-FFF2-40B4-BE49-F238E27FC236}">
                <a16:creationId xmlns:a16="http://schemas.microsoft.com/office/drawing/2014/main" id="{A4D9B955-ACBB-BB52-C025-5C348AC366E8}"/>
              </a:ext>
            </a:extLst>
          </p:cNvPr>
          <p:cNvCxnSpPr>
            <a:cxnSpLocks/>
          </p:cNvCxnSpPr>
          <p:nvPr/>
        </p:nvCxnSpPr>
        <p:spPr>
          <a:xfrm>
            <a:off x="1873250" y="3707025"/>
            <a:ext cx="9709150"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3" name="Rectangle: Rounded Corners 2">
            <a:extLst>
              <a:ext uri="{FF2B5EF4-FFF2-40B4-BE49-F238E27FC236}">
                <a16:creationId xmlns:a16="http://schemas.microsoft.com/office/drawing/2014/main" id="{E474E1A6-1301-19DD-B8A5-03159CADADC9}"/>
              </a:ext>
            </a:extLst>
          </p:cNvPr>
          <p:cNvSpPr/>
          <p:nvPr/>
        </p:nvSpPr>
        <p:spPr>
          <a:xfrm>
            <a:off x="4068566" y="2578814"/>
            <a:ext cx="554805" cy="215757"/>
          </a:xfrm>
          <a:prstGeom prst="roundRect">
            <a:avLst/>
          </a:prstGeom>
          <a:noFill/>
          <a:ln w="38100">
            <a:solidFill>
              <a:schemeClr val="accent5"/>
            </a:solid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dirty="0"/>
          </a:p>
        </p:txBody>
      </p:sp>
      <p:sp>
        <p:nvSpPr>
          <p:cNvPr id="6" name="Rectangle: Rounded Corners 5">
            <a:extLst>
              <a:ext uri="{FF2B5EF4-FFF2-40B4-BE49-F238E27FC236}">
                <a16:creationId xmlns:a16="http://schemas.microsoft.com/office/drawing/2014/main" id="{32C4C76D-F8AC-B12A-BC05-8D323DFAAF29}"/>
              </a:ext>
            </a:extLst>
          </p:cNvPr>
          <p:cNvSpPr/>
          <p:nvPr/>
        </p:nvSpPr>
        <p:spPr>
          <a:xfrm>
            <a:off x="4099389" y="4842508"/>
            <a:ext cx="770562" cy="243200"/>
          </a:xfrm>
          <a:prstGeom prst="roundRect">
            <a:avLst/>
          </a:prstGeom>
          <a:noFill/>
          <a:ln w="28575">
            <a:solidFill>
              <a:schemeClr val="accent4"/>
            </a:solid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dirty="0">
              <a:solidFill>
                <a:schemeClr val="accent4"/>
              </a:solidFill>
            </a:endParaRPr>
          </a:p>
        </p:txBody>
      </p:sp>
    </p:spTree>
    <p:custDataLst>
      <p:custData r:id="rId1"/>
    </p:custDataLst>
    <p:extLst>
      <p:ext uri="{BB962C8B-B14F-4D97-AF65-F5344CB8AC3E}">
        <p14:creationId xmlns:p14="http://schemas.microsoft.com/office/powerpoint/2010/main" val="332882558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Box 9">
            <a:extLst>
              <a:ext uri="{FF2B5EF4-FFF2-40B4-BE49-F238E27FC236}">
                <a16:creationId xmlns:a16="http://schemas.microsoft.com/office/drawing/2014/main" id="{83C3EBBC-6661-20D0-736B-440D49CEACE4}"/>
              </a:ext>
            </a:extLst>
          </p:cNvPr>
          <p:cNvSpPr txBox="1"/>
          <p:nvPr/>
        </p:nvSpPr>
        <p:spPr>
          <a:xfrm>
            <a:off x="609600" y="6085434"/>
            <a:ext cx="10972800" cy="169277"/>
          </a:xfrm>
          <a:prstGeom prst="rect">
            <a:avLst/>
          </a:prstGeom>
          <a:noFill/>
        </p:spPr>
        <p:txBody>
          <a:bodyPr wrap="square" lIns="0" tIns="0" rIns="0" bIns="0" rtlCol="0" anchor="ctr">
            <a:spAutoFit/>
          </a:bodyPr>
          <a:lstStyle/>
          <a:p>
            <a:pPr marL="3175">
              <a:spcBef>
                <a:spcPts val="600"/>
              </a:spcBef>
              <a:spcAft>
                <a:spcPts val="600"/>
              </a:spcAft>
              <a:buClr>
                <a:srgbClr val="303030">
                  <a:lumMod val="50000"/>
                  <a:lumOff val="50000"/>
                </a:srgbClr>
              </a:buClr>
            </a:pPr>
            <a:r>
              <a:rPr lang="en-US" sz="1100">
                <a:cs typeface="Tahoma"/>
              </a:rPr>
              <a:t>Link:</a:t>
            </a:r>
          </a:p>
        </p:txBody>
      </p:sp>
      <p:sp>
        <p:nvSpPr>
          <p:cNvPr id="8" name="TextBox 7">
            <a:extLst>
              <a:ext uri="{FF2B5EF4-FFF2-40B4-BE49-F238E27FC236}">
                <a16:creationId xmlns:a16="http://schemas.microsoft.com/office/drawing/2014/main" id="{5F776C73-D6DF-74F9-2BCC-0AAD9E7C05CC}"/>
              </a:ext>
            </a:extLst>
          </p:cNvPr>
          <p:cNvSpPr txBox="1"/>
          <p:nvPr/>
        </p:nvSpPr>
        <p:spPr>
          <a:xfrm>
            <a:off x="609600" y="1280374"/>
            <a:ext cx="10972800" cy="4486476"/>
          </a:xfrm>
          <a:prstGeom prst="roundRect">
            <a:avLst>
              <a:gd name="adj" fmla="val 2446"/>
            </a:avLst>
          </a:prstGeom>
          <a:solidFill>
            <a:schemeClr val="accent1"/>
          </a:solidFill>
          <a:ln>
            <a:noFill/>
          </a:ln>
        </p:spPr>
        <p:txBody>
          <a:bodyPr wrap="square" lIns="54864" tIns="36576" rIns="54864" bIns="36576" rtlCol="0" anchor="t">
            <a:noAutofit/>
          </a:bodyPr>
          <a:lstStyle/>
          <a:p>
            <a:pPr marL="3175" algn="ctr">
              <a:spcBef>
                <a:spcPts val="600"/>
              </a:spcBef>
              <a:spcAft>
                <a:spcPts val="600"/>
              </a:spcAft>
              <a:buClr>
                <a:srgbClr val="303030">
                  <a:lumMod val="50000"/>
                  <a:lumOff val="50000"/>
                </a:srgbClr>
              </a:buClr>
            </a:pPr>
            <a:endParaRPr lang="en-US" sz="2000" b="1">
              <a:solidFill>
                <a:schemeClr val="bg1"/>
              </a:solidFill>
              <a:cs typeface="Tahoma" pitchFamily="34" charset="0"/>
            </a:endParaRPr>
          </a:p>
        </p:txBody>
      </p:sp>
      <p:sp>
        <p:nvSpPr>
          <p:cNvPr id="2" name="Title 1">
            <a:extLst>
              <a:ext uri="{FF2B5EF4-FFF2-40B4-BE49-F238E27FC236}">
                <a16:creationId xmlns:a16="http://schemas.microsoft.com/office/drawing/2014/main" id="{47E9AD21-BC5A-8F1F-7724-4A751D5F480D}"/>
              </a:ext>
            </a:extLst>
          </p:cNvPr>
          <p:cNvSpPr>
            <a:spLocks noGrp="1"/>
          </p:cNvSpPr>
          <p:nvPr>
            <p:ph type="title"/>
          </p:nvPr>
        </p:nvSpPr>
        <p:spPr>
          <a:xfrm>
            <a:off x="609600" y="311785"/>
            <a:ext cx="10972800" cy="492443"/>
          </a:xfrm>
        </p:spPr>
        <p:txBody>
          <a:bodyPr wrap="square">
            <a:spAutoFit/>
          </a:bodyPr>
          <a:lstStyle/>
          <a:p>
            <a:r>
              <a:rPr lang="en-US"/>
              <a:t>Need discussion with Medial affairs for more clarity on Feedbacks</a:t>
            </a:r>
          </a:p>
        </p:txBody>
      </p:sp>
      <p:sp>
        <p:nvSpPr>
          <p:cNvPr id="9" name="TextBox 8">
            <a:extLst>
              <a:ext uri="{FF2B5EF4-FFF2-40B4-BE49-F238E27FC236}">
                <a16:creationId xmlns:a16="http://schemas.microsoft.com/office/drawing/2014/main" id="{0C442F2A-C34A-FCD8-A1AB-993A213E44BA}"/>
              </a:ext>
            </a:extLst>
          </p:cNvPr>
          <p:cNvSpPr txBox="1"/>
          <p:nvPr/>
        </p:nvSpPr>
        <p:spPr>
          <a:xfrm>
            <a:off x="609600" y="1595439"/>
            <a:ext cx="10972800" cy="4171412"/>
          </a:xfrm>
          <a:prstGeom prst="roundRect">
            <a:avLst>
              <a:gd name="adj" fmla="val 2446"/>
            </a:avLst>
          </a:prstGeom>
          <a:solidFill>
            <a:schemeClr val="bg1"/>
          </a:solidFill>
          <a:ln>
            <a:noFill/>
          </a:ln>
          <a:effectLst>
            <a:outerShdw blurRad="63500" algn="ctr" rotWithShape="0">
              <a:prstClr val="black">
                <a:alpha val="25000"/>
              </a:prstClr>
            </a:outerShdw>
          </a:effectLst>
        </p:spPr>
        <p:style>
          <a:lnRef idx="0">
            <a:scrgbClr r="0" g="0" b="0"/>
          </a:lnRef>
          <a:fillRef idx="0">
            <a:scrgbClr r="0" g="0" b="0"/>
          </a:fillRef>
          <a:effectRef idx="0">
            <a:scrgbClr r="0" g="0" b="0"/>
          </a:effectRef>
          <a:fontRef idx="minor">
            <a:schemeClr val="lt1"/>
          </a:fontRef>
        </p:style>
        <p:txBody>
          <a:bodyPr rtlCol="0" anchor="ctr"/>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endParaRPr lang="en-US"/>
          </a:p>
        </p:txBody>
      </p:sp>
      <p:graphicFrame>
        <p:nvGraphicFramePr>
          <p:cNvPr id="6" name="Table 5">
            <a:extLst>
              <a:ext uri="{FF2B5EF4-FFF2-40B4-BE49-F238E27FC236}">
                <a16:creationId xmlns:a16="http://schemas.microsoft.com/office/drawing/2014/main" id="{048177B2-DFFD-E7B2-5589-78EFCFC1397F}"/>
              </a:ext>
            </a:extLst>
          </p:cNvPr>
          <p:cNvGraphicFramePr>
            <a:graphicFrameLocks noGrp="1"/>
          </p:cNvGraphicFramePr>
          <p:nvPr>
            <p:extLst>
              <p:ext uri="{D42A27DB-BD31-4B8C-83A1-F6EECF244321}">
                <p14:modId xmlns:p14="http://schemas.microsoft.com/office/powerpoint/2010/main" val="2100361886"/>
              </p:ext>
            </p:extLst>
          </p:nvPr>
        </p:nvGraphicFramePr>
        <p:xfrm>
          <a:off x="609600" y="1280374"/>
          <a:ext cx="10972800" cy="4413324"/>
        </p:xfrm>
        <a:graphic>
          <a:graphicData uri="http://schemas.openxmlformats.org/drawingml/2006/table">
            <a:tbl>
              <a:tblPr firstRow="1" bandRow="1">
                <a:tableStyleId>{5C22544A-7EE6-4342-B048-85BDC9FD1C3A}</a:tableStyleId>
              </a:tblPr>
              <a:tblGrid>
                <a:gridCol w="5481138">
                  <a:extLst>
                    <a:ext uri="{9D8B030D-6E8A-4147-A177-3AD203B41FA5}">
                      <a16:colId xmlns:a16="http://schemas.microsoft.com/office/drawing/2014/main" val="1143620951"/>
                    </a:ext>
                  </a:extLst>
                </a:gridCol>
                <a:gridCol w="5491662">
                  <a:extLst>
                    <a:ext uri="{9D8B030D-6E8A-4147-A177-3AD203B41FA5}">
                      <a16:colId xmlns:a16="http://schemas.microsoft.com/office/drawing/2014/main" val="1703304262"/>
                    </a:ext>
                  </a:extLst>
                </a:gridCol>
              </a:tblGrid>
              <a:tr h="311344">
                <a:tc>
                  <a:txBody>
                    <a:bodyPr/>
                    <a:lstStyle/>
                    <a:p>
                      <a:pPr algn="ctr"/>
                      <a:r>
                        <a:rPr lang="en-US" sz="1400">
                          <a:latin typeface="+mn-lt"/>
                        </a:rPr>
                        <a:t>User Comments</a:t>
                      </a:r>
                    </a:p>
                  </a:txBody>
                  <a:tcPr marL="54864" marR="54864" marT="36576" marB="36576" anchor="ctr">
                    <a:lnL w="12700" cmpd="sng">
                      <a:noFill/>
                    </a:lnL>
                    <a:lnR w="1270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noFill/>
                  </a:tcPr>
                </a:tc>
                <a:tc>
                  <a:txBody>
                    <a:bodyPr/>
                    <a:lstStyle/>
                    <a:p>
                      <a:pPr algn="ctr"/>
                      <a:r>
                        <a:rPr lang="en-US" sz="1400">
                          <a:latin typeface="+mn-lt"/>
                        </a:rPr>
                        <a:t>Details Required</a:t>
                      </a:r>
                    </a:p>
                  </a:txBody>
                  <a:tcPr marL="54864" marR="54864" marT="36576" marB="36576" anchor="ctr">
                    <a:lnL w="12700" cap="flat" cmpd="sng" algn="ctr">
                      <a:solidFill>
                        <a:schemeClr val="bg1"/>
                      </a:solidFill>
                      <a:prstDash val="solid"/>
                      <a:round/>
                      <a:headEnd type="none" w="med" len="med"/>
                      <a:tailEnd type="none" w="med" len="med"/>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233961892"/>
                  </a:ext>
                </a:extLst>
              </a:tr>
              <a:tr h="777240">
                <a:tc>
                  <a:txBody>
                    <a:bodyPr/>
                    <a:lstStyle/>
                    <a:p>
                      <a:pPr lvl="0">
                        <a:buNone/>
                      </a:pPr>
                      <a:r>
                        <a:rPr lang="en-US" sz="1200" b="0" i="1" u="none" strike="noStrike" noProof="0">
                          <a:solidFill>
                            <a:schemeClr val="tx1"/>
                          </a:solidFill>
                          <a:latin typeface="+mn-lt"/>
                        </a:rPr>
                        <a:t>The answer provides some relevancy. Needs more information about Recurrence of TED. Should be using reference on 'Recurrent Thyroid Eye Disease'.</a:t>
                      </a:r>
                      <a:endParaRPr lang="en-US" sz="1200" i="1">
                        <a:solidFill>
                          <a:schemeClr val="tx1"/>
                        </a:solidFill>
                        <a:latin typeface="+mn-lt"/>
                      </a:endParaRPr>
                    </a:p>
                  </a:txBody>
                  <a:tcPr marL="54864" marR="54864" marT="36576" marB="36576">
                    <a:lnL w="12700" cmpd="sng">
                      <a:noFill/>
                    </a:lnL>
                    <a:lnR w="9525" cap="flat" cmpd="sng" algn="ctr">
                      <a:solidFill>
                        <a:schemeClr val="bg1">
                          <a:lumMod val="85000"/>
                        </a:schemeClr>
                      </a:solidFill>
                      <a:prstDash val="solid"/>
                      <a:round/>
                      <a:headEnd type="none" w="med" len="med"/>
                      <a:tailEnd type="none" w="med" len="med"/>
                    </a:lnR>
                    <a:lnT w="38100" cmpd="sng">
                      <a:noFill/>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lvl="0">
                        <a:buNone/>
                      </a:pPr>
                      <a:r>
                        <a:rPr lang="en-US" sz="1200" b="0" i="0" u="none" strike="noStrike" noProof="0">
                          <a:solidFill>
                            <a:schemeClr val="tx1"/>
                          </a:solidFill>
                          <a:latin typeface="+mn-lt"/>
                        </a:rPr>
                        <a:t>Need specific document and the content being referred here for Recurrent Thyroid Eye Disease</a:t>
                      </a:r>
                      <a:endParaRPr lang="en-US" sz="1200">
                        <a:solidFill>
                          <a:schemeClr val="tx1"/>
                        </a:solidFill>
                        <a:latin typeface="+mn-lt"/>
                      </a:endParaRPr>
                    </a:p>
                  </a:txBody>
                  <a:tcPr marL="54864" marR="54864" marT="36576" marB="36576">
                    <a:lnL w="9525" cap="flat" cmpd="sng" algn="ctr">
                      <a:solidFill>
                        <a:schemeClr val="bg1">
                          <a:lumMod val="85000"/>
                        </a:schemeClr>
                      </a:solidFill>
                      <a:prstDash val="solid"/>
                      <a:round/>
                      <a:headEnd type="none" w="med" len="med"/>
                      <a:tailEnd type="none" w="med" len="med"/>
                    </a:lnL>
                    <a:lnR w="12700" cmpd="sng">
                      <a:noFill/>
                    </a:lnR>
                    <a:lnT w="38100" cmpd="sng">
                      <a:noFill/>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30130830"/>
                  </a:ext>
                </a:extLst>
              </a:tr>
              <a:tr h="541468">
                <a:tc>
                  <a:txBody>
                    <a:bodyPr/>
                    <a:lstStyle/>
                    <a:p>
                      <a:pPr lvl="0">
                        <a:buNone/>
                      </a:pPr>
                      <a:r>
                        <a:rPr lang="en-US" sz="1200" b="0" i="1" u="none" strike="noStrike" noProof="0">
                          <a:solidFill>
                            <a:schemeClr val="tx1"/>
                          </a:solidFill>
                          <a:latin typeface="+mn-lt"/>
                        </a:rPr>
                        <a:t>The response does not provide details of the complications caused by steroid use in TED. </a:t>
                      </a:r>
                      <a:endParaRPr lang="en-US" sz="1200" i="1">
                        <a:solidFill>
                          <a:schemeClr val="tx1"/>
                        </a:solidFill>
                        <a:latin typeface="+mn-lt"/>
                      </a:endParaRPr>
                    </a:p>
                  </a:txBody>
                  <a:tcPr marL="54864" marR="54864" marT="36576" marB="36576">
                    <a:lnL w="12700" cmpd="sng">
                      <a:noFill/>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lvl="0">
                        <a:buNone/>
                      </a:pPr>
                      <a:r>
                        <a:rPr lang="en-US" sz="1200" b="0" i="0" u="none" strike="noStrike" noProof="0">
                          <a:solidFill>
                            <a:schemeClr val="tx1"/>
                          </a:solidFill>
                          <a:latin typeface="+mn-lt"/>
                        </a:rPr>
                        <a:t>Reference needed about the effects of steroid on TED</a:t>
                      </a:r>
                      <a:endParaRPr lang="en-US" sz="1200">
                        <a:solidFill>
                          <a:schemeClr val="tx1"/>
                        </a:solidFill>
                        <a:latin typeface="+mn-lt"/>
                      </a:endParaRPr>
                    </a:p>
                  </a:txBody>
                  <a:tcPr marL="54864" marR="54864" marT="36576" marB="36576">
                    <a:lnL w="9525" cap="flat" cmpd="sng" algn="ctr">
                      <a:solidFill>
                        <a:schemeClr val="bg1">
                          <a:lumMod val="85000"/>
                        </a:schemeClr>
                      </a:solidFill>
                      <a:prstDash val="solid"/>
                      <a:round/>
                      <a:headEnd type="none" w="med" len="med"/>
                      <a:tailEnd type="none" w="med" len="med"/>
                    </a:lnL>
                    <a:lnR w="12700" cmpd="sng">
                      <a:noFill/>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3485017"/>
                  </a:ext>
                </a:extLst>
              </a:tr>
              <a:tr h="771592">
                <a:tc>
                  <a:txBody>
                    <a:bodyPr/>
                    <a:lstStyle/>
                    <a:p>
                      <a:pPr lvl="0">
                        <a:buNone/>
                      </a:pPr>
                      <a:r>
                        <a:rPr lang="en-US" sz="1200" b="0" i="1" u="none" strike="noStrike" noProof="0">
                          <a:solidFill>
                            <a:schemeClr val="tx1"/>
                          </a:solidFill>
                          <a:latin typeface="+mn-lt"/>
                        </a:rPr>
                        <a:t>References should include phase3/4 publications to elaborate on the AE's from both acute and chronic studies.</a:t>
                      </a:r>
                      <a:endParaRPr lang="en-US" sz="1200" i="1">
                        <a:solidFill>
                          <a:schemeClr val="tx1"/>
                        </a:solidFill>
                        <a:latin typeface="+mn-lt"/>
                      </a:endParaRPr>
                    </a:p>
                  </a:txBody>
                  <a:tcPr marL="54864" marR="54864" marT="36576" marB="36576">
                    <a:lnL w="12700" cmpd="sng">
                      <a:noFill/>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lvl="0" indent="-171450">
                        <a:buFont typeface="Arial" panose="020B0604020202020204" pitchFamily="34" charset="0"/>
                        <a:buChar char="•"/>
                      </a:pPr>
                      <a:r>
                        <a:rPr lang="en-US" sz="1200" b="0" i="0" u="none" strike="noStrike" noProof="0">
                          <a:solidFill>
                            <a:schemeClr val="tx1"/>
                          </a:solidFill>
                          <a:latin typeface="+mn-lt"/>
                        </a:rPr>
                        <a:t>The response appears to be decent technically</a:t>
                      </a:r>
                    </a:p>
                    <a:p>
                      <a:pPr marL="171450" lvl="0" indent="-171450">
                        <a:buFont typeface="Arial" panose="020B0604020202020204" pitchFamily="34" charset="0"/>
                        <a:buChar char="•"/>
                      </a:pPr>
                      <a:r>
                        <a:rPr lang="en-US" sz="1200" b="0" i="0" u="none" strike="noStrike" noProof="0">
                          <a:solidFill>
                            <a:schemeClr val="tx1"/>
                          </a:solidFill>
                          <a:latin typeface="+mn-lt"/>
                        </a:rPr>
                        <a:t>Reference of additional info required to be displayed</a:t>
                      </a:r>
                      <a:endParaRPr lang="en-US" sz="1200">
                        <a:solidFill>
                          <a:schemeClr val="tx1"/>
                        </a:solidFill>
                        <a:latin typeface="+mn-lt"/>
                      </a:endParaRPr>
                    </a:p>
                  </a:txBody>
                  <a:tcPr marL="54864" marR="54864" marT="36576" marB="36576">
                    <a:lnL w="9525" cap="flat" cmpd="sng" algn="ctr">
                      <a:solidFill>
                        <a:schemeClr val="bg1">
                          <a:lumMod val="85000"/>
                        </a:schemeClr>
                      </a:solidFill>
                      <a:prstDash val="solid"/>
                      <a:round/>
                      <a:headEnd type="none" w="med" len="med"/>
                      <a:tailEnd type="none" w="med" len="med"/>
                    </a:lnL>
                    <a:lnR w="12700" cmpd="sng">
                      <a:noFill/>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43853423"/>
                  </a:ext>
                </a:extLst>
              </a:tr>
              <a:tr h="914400">
                <a:tc>
                  <a:txBody>
                    <a:bodyPr/>
                    <a:lstStyle/>
                    <a:p>
                      <a:pPr lvl="0">
                        <a:buNone/>
                      </a:pPr>
                      <a:r>
                        <a:rPr lang="en-US" sz="1200" b="0" i="1" u="none" strike="noStrike" noProof="0">
                          <a:solidFill>
                            <a:schemeClr val="tx1"/>
                          </a:solidFill>
                          <a:latin typeface="+mn-lt"/>
                        </a:rPr>
                        <a:t>Noticed it mentioned Minnesota- I understand why it was mentioned, but it can be distracting- what about patient outside Minnesota? - Also not comprehensive in its description </a:t>
                      </a:r>
                      <a:endParaRPr lang="en-US" sz="1200" i="1">
                        <a:solidFill>
                          <a:schemeClr val="tx1"/>
                        </a:solidFill>
                        <a:latin typeface="+mn-lt"/>
                      </a:endParaRPr>
                    </a:p>
                  </a:txBody>
                  <a:tcPr marL="54864" marR="54864" marT="36576" marB="36576">
                    <a:lnL w="12700" cmpd="sng">
                      <a:noFill/>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lvl="0" indent="-171450" algn="l">
                        <a:lnSpc>
                          <a:spcPct val="100000"/>
                        </a:lnSpc>
                        <a:spcBef>
                          <a:spcPts val="0"/>
                        </a:spcBef>
                        <a:spcAft>
                          <a:spcPts val="0"/>
                        </a:spcAft>
                        <a:buFont typeface="Arial" panose="020B0604020202020204" pitchFamily="34" charset="0"/>
                        <a:buChar char="•"/>
                      </a:pPr>
                      <a:r>
                        <a:rPr lang="en-US" sz="1200" b="0" i="0" u="none" strike="noStrike" noProof="0">
                          <a:solidFill>
                            <a:schemeClr val="tx1"/>
                          </a:solidFill>
                          <a:latin typeface="+mn-lt"/>
                        </a:rPr>
                        <a:t>Response seems good</a:t>
                      </a:r>
                      <a:endParaRPr lang="en-US" sz="1200">
                        <a:solidFill>
                          <a:schemeClr val="tx1"/>
                        </a:solidFill>
                        <a:latin typeface="+mn-lt"/>
                      </a:endParaRPr>
                    </a:p>
                    <a:p>
                      <a:pPr marL="171450" lvl="0" indent="-171450" algn="l">
                        <a:lnSpc>
                          <a:spcPct val="100000"/>
                        </a:lnSpc>
                        <a:spcBef>
                          <a:spcPts val="0"/>
                        </a:spcBef>
                        <a:spcAft>
                          <a:spcPts val="0"/>
                        </a:spcAft>
                        <a:buFont typeface="Arial" panose="020B0604020202020204" pitchFamily="34" charset="0"/>
                        <a:buChar char="•"/>
                      </a:pPr>
                      <a:r>
                        <a:rPr lang="en-US" sz="1200" b="0" i="0" u="none" strike="noStrike" noProof="0">
                          <a:solidFill>
                            <a:schemeClr val="tx1"/>
                          </a:solidFill>
                          <a:latin typeface="+mn-lt"/>
                        </a:rPr>
                        <a:t>"Minnesota" seems to appear, probably due to the research outcomes conducted in the place? </a:t>
                      </a:r>
                    </a:p>
                    <a:p>
                      <a:pPr marL="171450" lvl="0" indent="-171450" algn="l">
                        <a:lnSpc>
                          <a:spcPct val="100000"/>
                        </a:lnSpc>
                        <a:spcBef>
                          <a:spcPts val="0"/>
                        </a:spcBef>
                        <a:spcAft>
                          <a:spcPts val="0"/>
                        </a:spcAft>
                        <a:buFont typeface="Arial" panose="020B0604020202020204" pitchFamily="34" charset="0"/>
                        <a:buChar char="•"/>
                      </a:pPr>
                      <a:r>
                        <a:rPr lang="en-US" sz="1200" b="0" i="0" u="none" strike="noStrike" noProof="0">
                          <a:solidFill>
                            <a:schemeClr val="tx1"/>
                          </a:solidFill>
                          <a:latin typeface="+mn-lt"/>
                        </a:rPr>
                        <a:t>Specific Reference of the document could help us understand better</a:t>
                      </a:r>
                      <a:endParaRPr lang="en-US" sz="1200">
                        <a:solidFill>
                          <a:schemeClr val="tx1"/>
                        </a:solidFill>
                        <a:latin typeface="+mn-lt"/>
                      </a:endParaRPr>
                    </a:p>
                  </a:txBody>
                  <a:tcPr marL="54864" marR="54864" marT="36576" marB="36576">
                    <a:lnL w="9525" cap="flat" cmpd="sng" algn="ctr">
                      <a:solidFill>
                        <a:schemeClr val="bg1">
                          <a:lumMod val="85000"/>
                        </a:schemeClr>
                      </a:solidFill>
                      <a:prstDash val="solid"/>
                      <a:round/>
                      <a:headEnd type="none" w="med" len="med"/>
                      <a:tailEnd type="none" w="med" len="med"/>
                    </a:lnL>
                    <a:lnR w="12700" cmpd="sng">
                      <a:noFill/>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16242689"/>
                  </a:ext>
                </a:extLst>
              </a:tr>
              <a:tr h="1097280">
                <a:tc>
                  <a:txBody>
                    <a:bodyPr/>
                    <a:lstStyle/>
                    <a:p>
                      <a:pPr lvl="0">
                        <a:buNone/>
                      </a:pPr>
                      <a:r>
                        <a:rPr lang="en-US" sz="1200" b="0" i="1" u="none" strike="noStrike" noProof="0">
                          <a:solidFill>
                            <a:schemeClr val="tx1"/>
                          </a:solidFill>
                          <a:latin typeface="+mn-lt"/>
                        </a:rPr>
                        <a:t>Picked information from Chronic Case study from Ugradar but not from Phase 4 trial (perhaps not picked up due to terminology used in that paper- can we "broaden" that?). The information from Ugradar was picked from the Discussion of the Phase 4 trial paper. Also picked text from discussion of another paper, and did not summarize data</a:t>
                      </a:r>
                      <a:endParaRPr lang="en-US" sz="1200" i="1">
                        <a:solidFill>
                          <a:schemeClr val="tx1"/>
                        </a:solidFill>
                        <a:latin typeface="+mn-lt"/>
                      </a:endParaRPr>
                    </a:p>
                  </a:txBody>
                  <a:tcPr marL="54864" marR="54864" marT="36576" marB="36576">
                    <a:lnL w="12700" cmpd="sng">
                      <a:noFill/>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171450" lvl="0" indent="-171450">
                        <a:buFont typeface="Arial" panose="020B0604020202020204" pitchFamily="34" charset="0"/>
                        <a:buChar char="•"/>
                      </a:pPr>
                      <a:r>
                        <a:rPr lang="en-US" sz="1200" b="0" i="0" u="none" strike="noStrike" noProof="0">
                          <a:solidFill>
                            <a:schemeClr val="tx1"/>
                          </a:solidFill>
                          <a:latin typeface="+mn-lt"/>
                        </a:rPr>
                        <a:t>One of the Phase 4 chunk appeared in sources; but didn’t find much details regarding the chronic disease; </a:t>
                      </a:r>
                    </a:p>
                    <a:p>
                      <a:pPr marL="171450" lvl="0" indent="-171450">
                        <a:buFont typeface="Arial" panose="020B0604020202020204" pitchFamily="34" charset="0"/>
                        <a:buChar char="•"/>
                      </a:pPr>
                      <a:r>
                        <a:rPr lang="en-US" sz="1200" b="0" i="0" u="none" strike="noStrike" noProof="0">
                          <a:solidFill>
                            <a:schemeClr val="tx1"/>
                          </a:solidFill>
                          <a:latin typeface="+mn-lt"/>
                        </a:rPr>
                        <a:t>Need specific content/document which need to be present in the response</a:t>
                      </a:r>
                      <a:endParaRPr lang="en-US" sz="1200">
                        <a:solidFill>
                          <a:schemeClr val="tx1"/>
                        </a:solidFill>
                        <a:latin typeface="+mn-lt"/>
                      </a:endParaRPr>
                    </a:p>
                  </a:txBody>
                  <a:tcPr marL="54864" marR="54864" marT="36576" marB="36576">
                    <a:lnL w="9525" cap="flat" cmpd="sng" algn="ctr">
                      <a:solidFill>
                        <a:schemeClr val="bg1">
                          <a:lumMod val="85000"/>
                        </a:schemeClr>
                      </a:solidFill>
                      <a:prstDash val="solid"/>
                      <a:round/>
                      <a:headEnd type="none" w="med" len="med"/>
                      <a:tailEnd type="none" w="med" len="med"/>
                    </a:lnL>
                    <a:lnR w="12700" cmpd="sng">
                      <a:noFill/>
                    </a:lnR>
                    <a:lnT w="9525" cap="flat" cmpd="sng" algn="ctr">
                      <a:solidFill>
                        <a:schemeClr val="bg1">
                          <a:lumMod val="85000"/>
                        </a:schemeClr>
                      </a:solid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669781895"/>
                  </a:ext>
                </a:extLst>
              </a:tr>
            </a:tbl>
          </a:graphicData>
        </a:graphic>
      </p:graphicFrame>
      <p:graphicFrame>
        <p:nvGraphicFramePr>
          <p:cNvPr id="13" name="Object 12">
            <a:extLst>
              <a:ext uri="{FF2B5EF4-FFF2-40B4-BE49-F238E27FC236}">
                <a16:creationId xmlns:a16="http://schemas.microsoft.com/office/drawing/2014/main" id="{4734AB12-8FF2-3439-EA3D-1A034375A02E}"/>
              </a:ext>
            </a:extLst>
          </p:cNvPr>
          <p:cNvGraphicFramePr>
            <a:graphicFrameLocks noChangeAspect="1"/>
          </p:cNvGraphicFramePr>
          <p:nvPr>
            <p:extLst>
              <p:ext uri="{D42A27DB-BD31-4B8C-83A1-F6EECF244321}">
                <p14:modId xmlns:p14="http://schemas.microsoft.com/office/powerpoint/2010/main" val="1264974387"/>
              </p:ext>
            </p:extLst>
          </p:nvPr>
        </p:nvGraphicFramePr>
        <p:xfrm>
          <a:off x="1023938" y="5981700"/>
          <a:ext cx="715962" cy="628650"/>
        </p:xfrm>
        <a:graphic>
          <a:graphicData uri="http://schemas.openxmlformats.org/presentationml/2006/ole">
            <mc:AlternateContent xmlns:mc="http://schemas.openxmlformats.org/markup-compatibility/2006">
              <mc:Choice xmlns:v="urn:schemas-microsoft-com:vml" Requires="v">
                <p:oleObj name="Document" showAsIcon="1" r:id="rId3" imgW="834480" imgH="732240" progId="Word.Document.12">
                  <p:embed/>
                </p:oleObj>
              </mc:Choice>
              <mc:Fallback>
                <p:oleObj name="Document" showAsIcon="1" r:id="rId3" imgW="834480" imgH="732240" progId="Word.Document.12">
                  <p:embed/>
                  <p:pic>
                    <p:nvPicPr>
                      <p:cNvPr id="13" name="Object 12">
                        <a:extLst>
                          <a:ext uri="{FF2B5EF4-FFF2-40B4-BE49-F238E27FC236}">
                            <a16:creationId xmlns:a16="http://schemas.microsoft.com/office/drawing/2014/main" id="{4734AB12-8FF2-3439-EA3D-1A034375A02E}"/>
                          </a:ext>
                        </a:extLst>
                      </p:cNvPr>
                      <p:cNvPicPr/>
                      <p:nvPr/>
                    </p:nvPicPr>
                    <p:blipFill>
                      <a:blip r:embed="rId4"/>
                      <a:stretch>
                        <a:fillRect/>
                      </a:stretch>
                    </p:blipFill>
                    <p:spPr>
                      <a:xfrm>
                        <a:off x="1023938" y="5981700"/>
                        <a:ext cx="715962" cy="628650"/>
                      </a:xfrm>
                      <a:prstGeom prst="rect">
                        <a:avLst/>
                      </a:prstGeom>
                    </p:spPr>
                  </p:pic>
                </p:oleObj>
              </mc:Fallback>
            </mc:AlternateContent>
          </a:graphicData>
        </a:graphic>
      </p:graphicFrame>
    </p:spTree>
    <p:custDataLst>
      <p:custData r:id="rId1"/>
    </p:custDataLst>
    <p:extLst>
      <p:ext uri="{BB962C8B-B14F-4D97-AF65-F5344CB8AC3E}">
        <p14:creationId xmlns:p14="http://schemas.microsoft.com/office/powerpoint/2010/main" val="203552976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578C2C66-C0F5-EFEE-1F4A-C9C6247EABC9}"/>
              </a:ext>
            </a:extLst>
          </p:cNvPr>
          <p:cNvSpPr>
            <a:spLocks noGrp="1"/>
          </p:cNvSpPr>
          <p:nvPr>
            <p:ph type="body" sz="quarter" idx="10"/>
          </p:nvPr>
        </p:nvSpPr>
        <p:spPr>
          <a:xfrm>
            <a:off x="609600" y="1371600"/>
            <a:ext cx="10972800" cy="4401205"/>
          </a:xfrm>
        </p:spPr>
        <p:txBody>
          <a:bodyPr wrap="square">
            <a:spAutoFit/>
          </a:bodyPr>
          <a:lstStyle/>
          <a:p>
            <a:r>
              <a:rPr lang="en-US"/>
              <a:t>User Feedbacks</a:t>
            </a:r>
          </a:p>
          <a:p>
            <a:r>
              <a:rPr lang="en-US" b="1"/>
              <a:t>Resolved Issues with Latest Architecture</a:t>
            </a:r>
          </a:p>
          <a:p>
            <a:pPr lvl="1"/>
            <a:r>
              <a:rPr lang="en-US"/>
              <a:t>Issues with Examples</a:t>
            </a:r>
          </a:p>
          <a:p>
            <a:pPr lvl="1"/>
            <a:r>
              <a:rPr lang="en-US"/>
              <a:t>New architecture resolved the issue</a:t>
            </a:r>
          </a:p>
          <a:p>
            <a:pPr lvl="1"/>
            <a:r>
              <a:rPr lang="en-US"/>
              <a:t>Response Improvisation Instances	</a:t>
            </a:r>
          </a:p>
          <a:p>
            <a:r>
              <a:rPr lang="en-US"/>
              <a:t>Issues which need to worked On </a:t>
            </a:r>
          </a:p>
          <a:p>
            <a:pPr lvl="1"/>
            <a:r>
              <a:rPr lang="en-US"/>
              <a:t>Issues with examples</a:t>
            </a:r>
          </a:p>
          <a:p>
            <a:pPr lvl="1"/>
            <a:r>
              <a:rPr lang="en-US"/>
              <a:t>Analysis &amp; Solution</a:t>
            </a:r>
          </a:p>
          <a:p>
            <a:r>
              <a:rPr lang="en-US"/>
              <a:t>Feedback - Need discussion with Medical Affairs Team</a:t>
            </a:r>
          </a:p>
        </p:txBody>
      </p:sp>
      <p:sp>
        <p:nvSpPr>
          <p:cNvPr id="4" name="Title 3">
            <a:extLst>
              <a:ext uri="{FF2B5EF4-FFF2-40B4-BE49-F238E27FC236}">
                <a16:creationId xmlns:a16="http://schemas.microsoft.com/office/drawing/2014/main" id="{ED736DB7-2D74-6B6B-FF7E-6F53B395DA40}"/>
              </a:ext>
            </a:extLst>
          </p:cNvPr>
          <p:cNvSpPr>
            <a:spLocks noGrp="1"/>
          </p:cNvSpPr>
          <p:nvPr>
            <p:ph type="title"/>
          </p:nvPr>
        </p:nvSpPr>
        <p:spPr>
          <a:xfrm>
            <a:off x="609600" y="104415"/>
            <a:ext cx="10972800" cy="906738"/>
          </a:xfrm>
        </p:spPr>
        <p:txBody>
          <a:bodyPr/>
          <a:lstStyle/>
          <a:p>
            <a:r>
              <a:rPr lang="en-US"/>
              <a:t>Agenda</a:t>
            </a:r>
          </a:p>
        </p:txBody>
      </p:sp>
      <p:sp>
        <p:nvSpPr>
          <p:cNvPr id="7" name="Text Placeholder 6">
            <a:extLst>
              <a:ext uri="{FF2B5EF4-FFF2-40B4-BE49-F238E27FC236}">
                <a16:creationId xmlns:a16="http://schemas.microsoft.com/office/drawing/2014/main" id="{9C92888C-CE4D-DE6A-86AD-2AE0BD6D1F1D}"/>
              </a:ext>
            </a:extLst>
          </p:cNvPr>
          <p:cNvSpPr>
            <a:spLocks noGrp="1"/>
          </p:cNvSpPr>
          <p:nvPr>
            <p:ph type="body" sz="quarter" idx="12"/>
          </p:nvPr>
        </p:nvSpPr>
        <p:spPr>
          <a:xfrm rot="10800000">
            <a:off x="445008" y="2079788"/>
            <a:ext cx="329184" cy="329184"/>
          </a:xfrm>
        </p:spPr>
        <p:txBody>
          <a:bodyPr/>
          <a:lstStyle/>
          <a:p>
            <a:endParaRPr lang="en-IN"/>
          </a:p>
        </p:txBody>
      </p:sp>
    </p:spTree>
    <p:custDataLst>
      <p:custData r:id="rId1"/>
    </p:custDataLst>
    <p:extLst>
      <p:ext uri="{BB962C8B-B14F-4D97-AF65-F5344CB8AC3E}">
        <p14:creationId xmlns:p14="http://schemas.microsoft.com/office/powerpoint/2010/main" val="267193053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Rounded Corners 11">
            <a:extLst>
              <a:ext uri="{FF2B5EF4-FFF2-40B4-BE49-F238E27FC236}">
                <a16:creationId xmlns:a16="http://schemas.microsoft.com/office/drawing/2014/main" id="{A256E871-D7A8-A170-0170-117BADAAC477}"/>
              </a:ext>
            </a:extLst>
          </p:cNvPr>
          <p:cNvSpPr/>
          <p:nvPr/>
        </p:nvSpPr>
        <p:spPr>
          <a:xfrm>
            <a:off x="609600" y="1293600"/>
            <a:ext cx="6172200" cy="1307164"/>
          </a:xfrm>
          <a:prstGeom prst="roundRect">
            <a:avLst>
              <a:gd name="adj" fmla="val 5246"/>
            </a:avLst>
          </a:prstGeom>
          <a:solidFill>
            <a:schemeClr val="bg1"/>
          </a:solidFill>
          <a:ln>
            <a:noFill/>
          </a:ln>
          <a:effectLst>
            <a:outerShdw blurRad="63500" algn="ctr" rotWithShape="0">
              <a:prstClr val="black">
                <a:alpha val="25000"/>
              </a:prstClr>
            </a:outerShdw>
          </a:effectLst>
        </p:spPr>
        <p:style>
          <a:lnRef idx="0">
            <a:scrgbClr r="0" g="0" b="0"/>
          </a:lnRef>
          <a:fillRef idx="0">
            <a:scrgbClr r="0" g="0" b="0"/>
          </a:fillRef>
          <a:effectRef idx="0">
            <a:scrgbClr r="0" g="0" b="0"/>
          </a:effectRef>
          <a:fontRef idx="minor">
            <a:schemeClr val="lt1"/>
          </a:fontRef>
        </p:style>
        <p:txBody>
          <a:bodyPr rtlCol="0" anchor="ctr"/>
          <a:lstStyle/>
          <a:p>
            <a:pPr algn="ctr"/>
            <a:endParaRPr lang="en-IN"/>
          </a:p>
        </p:txBody>
      </p:sp>
      <p:sp>
        <p:nvSpPr>
          <p:cNvPr id="13" name="Rectangle: Rounded Corners 12">
            <a:extLst>
              <a:ext uri="{FF2B5EF4-FFF2-40B4-BE49-F238E27FC236}">
                <a16:creationId xmlns:a16="http://schemas.microsoft.com/office/drawing/2014/main" id="{D47BCB1C-9D89-993E-1D07-B8FFBEA268D6}"/>
              </a:ext>
            </a:extLst>
          </p:cNvPr>
          <p:cNvSpPr/>
          <p:nvPr/>
        </p:nvSpPr>
        <p:spPr>
          <a:xfrm>
            <a:off x="7153274" y="1293600"/>
            <a:ext cx="4429125" cy="1307164"/>
          </a:xfrm>
          <a:prstGeom prst="roundRect">
            <a:avLst>
              <a:gd name="adj" fmla="val 5246"/>
            </a:avLst>
          </a:prstGeom>
          <a:solidFill>
            <a:schemeClr val="bg1"/>
          </a:solidFill>
          <a:ln>
            <a:noFill/>
          </a:ln>
          <a:effectLst>
            <a:outerShdw blurRad="63500" algn="ctr" rotWithShape="0">
              <a:prstClr val="black">
                <a:alpha val="25000"/>
              </a:prstClr>
            </a:outerShdw>
          </a:effectLst>
        </p:spPr>
        <p:style>
          <a:lnRef idx="0">
            <a:scrgbClr r="0" g="0" b="0"/>
          </a:lnRef>
          <a:fillRef idx="0">
            <a:scrgbClr r="0" g="0" b="0"/>
          </a:fillRef>
          <a:effectRef idx="0">
            <a:scrgbClr r="0" g="0" b="0"/>
          </a:effectRef>
          <a:fontRef idx="minor">
            <a:schemeClr val="lt1"/>
          </a:fontRef>
        </p:style>
        <p:txBody>
          <a:bodyPr rtlCol="0" anchor="ctr"/>
          <a:lstStyle/>
          <a:p>
            <a:pPr algn="ctr"/>
            <a:endParaRPr lang="en-IN"/>
          </a:p>
        </p:txBody>
      </p:sp>
      <p:sp>
        <p:nvSpPr>
          <p:cNvPr id="14" name="Rectangle: Rounded Corners 13">
            <a:extLst>
              <a:ext uri="{FF2B5EF4-FFF2-40B4-BE49-F238E27FC236}">
                <a16:creationId xmlns:a16="http://schemas.microsoft.com/office/drawing/2014/main" id="{48F4799C-A17F-9458-22BE-B04598FA8D51}"/>
              </a:ext>
            </a:extLst>
          </p:cNvPr>
          <p:cNvSpPr/>
          <p:nvPr/>
        </p:nvSpPr>
        <p:spPr>
          <a:xfrm>
            <a:off x="726110" y="1207724"/>
            <a:ext cx="1145552" cy="1478916"/>
          </a:xfrm>
          <a:prstGeom prst="roundRect">
            <a:avLst>
              <a:gd name="adj" fmla="val 5987"/>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en-US" sz="1600" b="1"/>
              <a:t>User Comment</a:t>
            </a:r>
          </a:p>
          <a:p>
            <a:pPr algn="ctr"/>
            <a:endParaRPr lang="en-US" sz="1600" b="1"/>
          </a:p>
          <a:p>
            <a:pPr algn="ctr"/>
            <a:endParaRPr lang="en-US" sz="1600" b="1"/>
          </a:p>
          <a:p>
            <a:pPr algn="ctr"/>
            <a:endParaRPr lang="en-US" sz="1600" b="1"/>
          </a:p>
        </p:txBody>
      </p:sp>
      <p:sp>
        <p:nvSpPr>
          <p:cNvPr id="15" name="Rectangle: Rounded Corners 14">
            <a:extLst>
              <a:ext uri="{FF2B5EF4-FFF2-40B4-BE49-F238E27FC236}">
                <a16:creationId xmlns:a16="http://schemas.microsoft.com/office/drawing/2014/main" id="{E5A1C067-6FD6-FC44-C68B-7765E814A06C}"/>
              </a:ext>
            </a:extLst>
          </p:cNvPr>
          <p:cNvSpPr/>
          <p:nvPr/>
        </p:nvSpPr>
        <p:spPr>
          <a:xfrm>
            <a:off x="7286930" y="1207724"/>
            <a:ext cx="1145552" cy="1478916"/>
          </a:xfrm>
          <a:prstGeom prst="roundRect">
            <a:avLst>
              <a:gd name="adj" fmla="val 5987"/>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en-US" sz="1600" b="1"/>
              <a:t>Problem Identified</a:t>
            </a:r>
          </a:p>
          <a:p>
            <a:pPr algn="ctr"/>
            <a:endParaRPr lang="en-US" sz="1600" b="1"/>
          </a:p>
          <a:p>
            <a:pPr algn="ctr"/>
            <a:endParaRPr lang="en-US" sz="1600" b="1"/>
          </a:p>
          <a:p>
            <a:pPr algn="ctr"/>
            <a:endParaRPr lang="en-US" sz="1600" b="1"/>
          </a:p>
        </p:txBody>
      </p:sp>
      <p:sp>
        <p:nvSpPr>
          <p:cNvPr id="2" name="Title 1">
            <a:extLst>
              <a:ext uri="{FF2B5EF4-FFF2-40B4-BE49-F238E27FC236}">
                <a16:creationId xmlns:a16="http://schemas.microsoft.com/office/drawing/2014/main" id="{3A827BD4-477E-0E53-B0AE-0620C17FBFAC}"/>
              </a:ext>
            </a:extLst>
          </p:cNvPr>
          <p:cNvSpPr>
            <a:spLocks noGrp="1"/>
          </p:cNvSpPr>
          <p:nvPr>
            <p:ph type="title"/>
          </p:nvPr>
        </p:nvSpPr>
        <p:spPr>
          <a:xfrm>
            <a:off x="609600" y="340360"/>
            <a:ext cx="10972800" cy="492443"/>
          </a:xfrm>
        </p:spPr>
        <p:txBody>
          <a:bodyPr wrap="square">
            <a:spAutoFit/>
          </a:bodyPr>
          <a:lstStyle/>
          <a:p>
            <a:r>
              <a:rPr lang="en-US"/>
              <a:t>Example 2</a:t>
            </a:r>
          </a:p>
        </p:txBody>
      </p:sp>
      <p:pic>
        <p:nvPicPr>
          <p:cNvPr id="6" name="Picture 5" descr="A screenshot of a medical test&#10;&#10;Description automatically generated">
            <a:extLst>
              <a:ext uri="{FF2B5EF4-FFF2-40B4-BE49-F238E27FC236}">
                <a16:creationId xmlns:a16="http://schemas.microsoft.com/office/drawing/2014/main" id="{6363C9B0-5E39-46E8-4048-A6E668FC4202}"/>
              </a:ext>
            </a:extLst>
          </p:cNvPr>
          <p:cNvPicPr>
            <a:picLocks noChangeAspect="1"/>
          </p:cNvPicPr>
          <p:nvPr/>
        </p:nvPicPr>
        <p:blipFill rotWithShape="1">
          <a:blip r:embed="rId3"/>
          <a:srcRect t="1611" b="6045"/>
          <a:stretch/>
        </p:blipFill>
        <p:spPr>
          <a:xfrm>
            <a:off x="2238349" y="2913979"/>
            <a:ext cx="7715303" cy="3511895"/>
          </a:xfrm>
          <a:prstGeom prst="roundRect">
            <a:avLst>
              <a:gd name="adj" fmla="val 3533"/>
            </a:avLst>
          </a:prstGeom>
          <a:solidFill>
            <a:schemeClr val="bg1"/>
          </a:solidFill>
          <a:ln>
            <a:noFill/>
          </a:ln>
          <a:effectLst>
            <a:outerShdw blurRad="63500" algn="ctr" rotWithShape="0">
              <a:prstClr val="black">
                <a:alpha val="40000"/>
              </a:prstClr>
            </a:outerShdw>
          </a:effectLst>
        </p:spPr>
      </p:pic>
      <p:sp>
        <p:nvSpPr>
          <p:cNvPr id="16" name="TextBox 15">
            <a:extLst>
              <a:ext uri="{FF2B5EF4-FFF2-40B4-BE49-F238E27FC236}">
                <a16:creationId xmlns:a16="http://schemas.microsoft.com/office/drawing/2014/main" id="{57070926-F84E-73B1-51A5-37D6192BC19B}"/>
              </a:ext>
            </a:extLst>
          </p:cNvPr>
          <p:cNvSpPr txBox="1"/>
          <p:nvPr/>
        </p:nvSpPr>
        <p:spPr>
          <a:xfrm>
            <a:off x="8511540" y="1611192"/>
            <a:ext cx="2979420" cy="671979"/>
          </a:xfrm>
          <a:prstGeom prst="rect">
            <a:avLst/>
          </a:prstGeom>
          <a:noFill/>
          <a:ln w="12700">
            <a:noFill/>
          </a:ln>
        </p:spPr>
        <p:txBody>
          <a:bodyPr wrap="square" lIns="0" tIns="0" rIns="0" bIns="0" rtlCol="0" anchor="ctr">
            <a:spAutoFit/>
          </a:bodyPr>
          <a:lstStyle>
            <a:defPPr>
              <a:defRPr lang="en-US"/>
            </a:defPPr>
            <a:lvl1pPr marL="3175">
              <a:spcBef>
                <a:spcPts val="100"/>
              </a:spcBef>
              <a:spcAft>
                <a:spcPts val="100"/>
              </a:spcAft>
              <a:buClr>
                <a:srgbClr val="303030">
                  <a:lumMod val="50000"/>
                  <a:lumOff val="50000"/>
                </a:srgbClr>
              </a:buClr>
              <a:defRPr sz="1400">
                <a:cs typeface="Calibri"/>
              </a:defRPr>
            </a:lvl1pPr>
          </a:lstStyle>
          <a:p>
            <a:r>
              <a:rPr lang="en-US"/>
              <a:t>Answer is incorrect - Asked for patient description but given treatment description</a:t>
            </a:r>
          </a:p>
        </p:txBody>
      </p:sp>
      <p:sp>
        <p:nvSpPr>
          <p:cNvPr id="17" name="TextBox 16">
            <a:extLst>
              <a:ext uri="{FF2B5EF4-FFF2-40B4-BE49-F238E27FC236}">
                <a16:creationId xmlns:a16="http://schemas.microsoft.com/office/drawing/2014/main" id="{A88339A7-69F6-B4CC-7B29-BE9383B598C2}"/>
              </a:ext>
            </a:extLst>
          </p:cNvPr>
          <p:cNvSpPr txBox="1"/>
          <p:nvPr/>
        </p:nvSpPr>
        <p:spPr>
          <a:xfrm>
            <a:off x="1932242" y="1731738"/>
            <a:ext cx="4758817" cy="430887"/>
          </a:xfrm>
          <a:prstGeom prst="rect">
            <a:avLst/>
          </a:prstGeom>
          <a:noFill/>
          <a:ln w="12700">
            <a:noFill/>
          </a:ln>
        </p:spPr>
        <p:txBody>
          <a:bodyPr wrap="square" lIns="0" tIns="0" rIns="0" bIns="0" anchor="ctr">
            <a:spAutoFit/>
          </a:bodyPr>
          <a:lstStyle>
            <a:defPPr>
              <a:defRPr lang="en-US"/>
            </a:defPPr>
            <a:lvl1pPr>
              <a:defRPr sz="1400" b="0" i="0" u="none" strike="noStrike">
                <a:effectLst/>
              </a:defRPr>
            </a:lvl1pPr>
          </a:lstStyle>
          <a:p>
            <a:r>
              <a:rPr lang="en-US"/>
              <a:t>Most of the answer describes treatment rather than the description of the patient</a:t>
            </a:r>
          </a:p>
        </p:txBody>
      </p:sp>
      <p:pic>
        <p:nvPicPr>
          <p:cNvPr id="18" name="Graphic 17">
            <a:extLst>
              <a:ext uri="{FF2B5EF4-FFF2-40B4-BE49-F238E27FC236}">
                <a16:creationId xmlns:a16="http://schemas.microsoft.com/office/drawing/2014/main" id="{D55A845B-23E9-71A1-FF35-F35D438FB2F7}"/>
              </a:ext>
            </a:extLst>
          </p:cNvPr>
          <p:cNvPicPr>
            <a:picLocks/>
          </p:cNvPicPr>
          <p:nvPr/>
        </p:nvPicPr>
        <p:blipFill>
          <a:blip r:embed="rId4">
            <a:extLst>
              <a:ext uri="{96DAC541-7B7A-43D3-8B79-37D633B846F1}">
                <asvg:svgBlip xmlns:asvg="http://schemas.microsoft.com/office/drawing/2016/SVG/main" r:embed="rId5"/>
              </a:ext>
            </a:extLst>
          </a:blip>
          <a:stretch>
            <a:fillRect/>
          </a:stretch>
        </p:blipFill>
        <p:spPr>
          <a:xfrm>
            <a:off x="940423" y="1885404"/>
            <a:ext cx="716928" cy="716926"/>
          </a:xfrm>
          <a:prstGeom prst="rect">
            <a:avLst/>
          </a:prstGeom>
        </p:spPr>
      </p:pic>
      <p:pic>
        <p:nvPicPr>
          <p:cNvPr id="19" name="Graphic 18">
            <a:extLst>
              <a:ext uri="{FF2B5EF4-FFF2-40B4-BE49-F238E27FC236}">
                <a16:creationId xmlns:a16="http://schemas.microsoft.com/office/drawing/2014/main" id="{8F1DED5F-C5CF-EF6F-4227-F0D2624390C1}"/>
              </a:ext>
            </a:extLst>
          </p:cNvPr>
          <p:cNvPicPr>
            <a:picLocks/>
          </p:cNvPicPr>
          <p:nvPr/>
        </p:nvPicPr>
        <p:blipFill>
          <a:blip r:embed="rId6">
            <a:extLst>
              <a:ext uri="{96DAC541-7B7A-43D3-8B79-37D633B846F1}">
                <asvg:svgBlip xmlns:asvg="http://schemas.microsoft.com/office/drawing/2016/SVG/main" r:embed="rId7"/>
              </a:ext>
            </a:extLst>
          </a:blip>
          <a:stretch>
            <a:fillRect/>
          </a:stretch>
        </p:blipFill>
        <p:spPr>
          <a:xfrm>
            <a:off x="7462463" y="1846625"/>
            <a:ext cx="794486" cy="794484"/>
          </a:xfrm>
          <a:prstGeom prst="rect">
            <a:avLst/>
          </a:prstGeom>
        </p:spPr>
      </p:pic>
    </p:spTree>
    <p:custDataLst>
      <p:custData r:id="rId1"/>
    </p:custDataLst>
    <p:extLst>
      <p:ext uri="{BB962C8B-B14F-4D97-AF65-F5344CB8AC3E}">
        <p14:creationId xmlns:p14="http://schemas.microsoft.com/office/powerpoint/2010/main" val="228431808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BAA4961-6E74-D5EE-FD3E-0D1B0DD5D22A}"/>
              </a:ext>
            </a:extLst>
          </p:cNvPr>
          <p:cNvSpPr>
            <a:spLocks noGrp="1"/>
          </p:cNvSpPr>
          <p:nvPr>
            <p:ph type="title"/>
          </p:nvPr>
        </p:nvSpPr>
        <p:spPr>
          <a:xfrm>
            <a:off x="609600" y="311785"/>
            <a:ext cx="10972800" cy="492443"/>
          </a:xfrm>
        </p:spPr>
        <p:txBody>
          <a:bodyPr wrap="square">
            <a:spAutoFit/>
          </a:bodyPr>
          <a:lstStyle/>
          <a:p>
            <a:r>
              <a:rPr lang="en-US"/>
              <a:t>Example 3</a:t>
            </a:r>
          </a:p>
        </p:txBody>
      </p:sp>
      <p:pic>
        <p:nvPicPr>
          <p:cNvPr id="8" name="Picture 7" descr="A screenshot of a computer screen&#10;&#10;Description automatically generated">
            <a:extLst>
              <a:ext uri="{FF2B5EF4-FFF2-40B4-BE49-F238E27FC236}">
                <a16:creationId xmlns:a16="http://schemas.microsoft.com/office/drawing/2014/main" id="{9BBE8C4E-8FF2-7CCA-3E40-B11D887D98EF}"/>
              </a:ext>
            </a:extLst>
          </p:cNvPr>
          <p:cNvPicPr>
            <a:picLocks noChangeAspect="1"/>
          </p:cNvPicPr>
          <p:nvPr/>
        </p:nvPicPr>
        <p:blipFill rotWithShape="1">
          <a:blip r:embed="rId3"/>
          <a:srcRect l="850" t="-446" r="111" b="446"/>
          <a:stretch/>
        </p:blipFill>
        <p:spPr>
          <a:xfrm>
            <a:off x="752856" y="2920838"/>
            <a:ext cx="10686288" cy="3099067"/>
          </a:xfrm>
          <a:prstGeom prst="roundRect">
            <a:avLst>
              <a:gd name="adj" fmla="val 3533"/>
            </a:avLst>
          </a:prstGeom>
          <a:solidFill>
            <a:schemeClr val="bg1"/>
          </a:solidFill>
          <a:ln>
            <a:noFill/>
          </a:ln>
          <a:effectLst>
            <a:outerShdw blurRad="63500" algn="ctr" rotWithShape="0">
              <a:prstClr val="black">
                <a:alpha val="40000"/>
              </a:prstClr>
            </a:outerShdw>
          </a:effectLst>
        </p:spPr>
      </p:pic>
      <p:sp>
        <p:nvSpPr>
          <p:cNvPr id="11" name="Rectangle: Rounded Corners 10">
            <a:extLst>
              <a:ext uri="{FF2B5EF4-FFF2-40B4-BE49-F238E27FC236}">
                <a16:creationId xmlns:a16="http://schemas.microsoft.com/office/drawing/2014/main" id="{BC8F8297-FC07-80AF-B331-8FD4BDF167D1}"/>
              </a:ext>
            </a:extLst>
          </p:cNvPr>
          <p:cNvSpPr/>
          <p:nvPr/>
        </p:nvSpPr>
        <p:spPr>
          <a:xfrm>
            <a:off x="609600" y="1293600"/>
            <a:ext cx="6172200" cy="1307164"/>
          </a:xfrm>
          <a:prstGeom prst="roundRect">
            <a:avLst>
              <a:gd name="adj" fmla="val 5246"/>
            </a:avLst>
          </a:prstGeom>
          <a:solidFill>
            <a:schemeClr val="bg1"/>
          </a:solidFill>
          <a:ln>
            <a:noFill/>
          </a:ln>
          <a:effectLst>
            <a:outerShdw blurRad="63500" algn="ctr" rotWithShape="0">
              <a:prstClr val="black">
                <a:alpha val="25000"/>
              </a:prstClr>
            </a:outerShdw>
          </a:effectLst>
        </p:spPr>
        <p:style>
          <a:lnRef idx="0">
            <a:scrgbClr r="0" g="0" b="0"/>
          </a:lnRef>
          <a:fillRef idx="0">
            <a:scrgbClr r="0" g="0" b="0"/>
          </a:fillRef>
          <a:effectRef idx="0">
            <a:scrgbClr r="0" g="0" b="0"/>
          </a:effectRef>
          <a:fontRef idx="minor">
            <a:schemeClr val="lt1"/>
          </a:fontRef>
        </p:style>
        <p:txBody>
          <a:bodyPr rtlCol="0" anchor="ctr"/>
          <a:lstStyle/>
          <a:p>
            <a:pPr algn="ctr"/>
            <a:endParaRPr lang="en-IN"/>
          </a:p>
        </p:txBody>
      </p:sp>
      <p:sp>
        <p:nvSpPr>
          <p:cNvPr id="12" name="Rectangle: Rounded Corners 11">
            <a:extLst>
              <a:ext uri="{FF2B5EF4-FFF2-40B4-BE49-F238E27FC236}">
                <a16:creationId xmlns:a16="http://schemas.microsoft.com/office/drawing/2014/main" id="{79396635-700F-ABA2-9DF4-06BE9D4202AB}"/>
              </a:ext>
            </a:extLst>
          </p:cNvPr>
          <p:cNvSpPr/>
          <p:nvPr/>
        </p:nvSpPr>
        <p:spPr>
          <a:xfrm>
            <a:off x="7153274" y="1293600"/>
            <a:ext cx="4429125" cy="1307164"/>
          </a:xfrm>
          <a:prstGeom prst="roundRect">
            <a:avLst>
              <a:gd name="adj" fmla="val 5246"/>
            </a:avLst>
          </a:prstGeom>
          <a:solidFill>
            <a:schemeClr val="bg1"/>
          </a:solidFill>
          <a:ln>
            <a:noFill/>
          </a:ln>
          <a:effectLst>
            <a:outerShdw blurRad="63500" algn="ctr" rotWithShape="0">
              <a:prstClr val="black">
                <a:alpha val="25000"/>
              </a:prstClr>
            </a:outerShdw>
          </a:effectLst>
        </p:spPr>
        <p:style>
          <a:lnRef idx="0">
            <a:scrgbClr r="0" g="0" b="0"/>
          </a:lnRef>
          <a:fillRef idx="0">
            <a:scrgbClr r="0" g="0" b="0"/>
          </a:fillRef>
          <a:effectRef idx="0">
            <a:scrgbClr r="0" g="0" b="0"/>
          </a:effectRef>
          <a:fontRef idx="minor">
            <a:schemeClr val="lt1"/>
          </a:fontRef>
        </p:style>
        <p:txBody>
          <a:bodyPr rtlCol="0" anchor="ctr"/>
          <a:lstStyle/>
          <a:p>
            <a:pPr algn="ctr"/>
            <a:endParaRPr lang="en-IN"/>
          </a:p>
        </p:txBody>
      </p:sp>
      <p:sp>
        <p:nvSpPr>
          <p:cNvPr id="13" name="Rectangle: Rounded Corners 12">
            <a:extLst>
              <a:ext uri="{FF2B5EF4-FFF2-40B4-BE49-F238E27FC236}">
                <a16:creationId xmlns:a16="http://schemas.microsoft.com/office/drawing/2014/main" id="{47F379BE-F449-8E2B-BA21-C08C839A74DC}"/>
              </a:ext>
            </a:extLst>
          </p:cNvPr>
          <p:cNvSpPr/>
          <p:nvPr/>
        </p:nvSpPr>
        <p:spPr>
          <a:xfrm>
            <a:off x="726110" y="1207724"/>
            <a:ext cx="1145552" cy="1478916"/>
          </a:xfrm>
          <a:prstGeom prst="roundRect">
            <a:avLst>
              <a:gd name="adj" fmla="val 5987"/>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en-US" sz="1600" b="1"/>
              <a:t>User Comment</a:t>
            </a:r>
          </a:p>
          <a:p>
            <a:pPr algn="ctr"/>
            <a:endParaRPr lang="en-US" sz="1600" b="1"/>
          </a:p>
          <a:p>
            <a:pPr algn="ctr"/>
            <a:endParaRPr lang="en-US" sz="1600" b="1"/>
          </a:p>
          <a:p>
            <a:pPr algn="ctr"/>
            <a:endParaRPr lang="en-US" sz="1600" b="1"/>
          </a:p>
        </p:txBody>
      </p:sp>
      <p:sp>
        <p:nvSpPr>
          <p:cNvPr id="14" name="Rectangle: Rounded Corners 13">
            <a:extLst>
              <a:ext uri="{FF2B5EF4-FFF2-40B4-BE49-F238E27FC236}">
                <a16:creationId xmlns:a16="http://schemas.microsoft.com/office/drawing/2014/main" id="{44BF1C09-6A10-FA60-5DF6-0A5163E024BA}"/>
              </a:ext>
            </a:extLst>
          </p:cNvPr>
          <p:cNvSpPr/>
          <p:nvPr/>
        </p:nvSpPr>
        <p:spPr>
          <a:xfrm>
            <a:off x="7286930" y="1207724"/>
            <a:ext cx="1145552" cy="1478916"/>
          </a:xfrm>
          <a:prstGeom prst="roundRect">
            <a:avLst>
              <a:gd name="adj" fmla="val 5987"/>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en-US" sz="1600" b="1"/>
              <a:t>Problem Identified</a:t>
            </a:r>
          </a:p>
          <a:p>
            <a:pPr algn="ctr"/>
            <a:endParaRPr lang="en-US" sz="1600" b="1"/>
          </a:p>
          <a:p>
            <a:pPr algn="ctr"/>
            <a:endParaRPr lang="en-US" sz="1600" b="1"/>
          </a:p>
          <a:p>
            <a:pPr algn="ctr"/>
            <a:endParaRPr lang="en-US" sz="1600" b="1"/>
          </a:p>
        </p:txBody>
      </p:sp>
      <p:sp>
        <p:nvSpPr>
          <p:cNvPr id="15" name="TextBox 14">
            <a:extLst>
              <a:ext uri="{FF2B5EF4-FFF2-40B4-BE49-F238E27FC236}">
                <a16:creationId xmlns:a16="http://schemas.microsoft.com/office/drawing/2014/main" id="{0F70E84F-AF60-B59C-1B08-1E4FE71D637A}"/>
              </a:ext>
            </a:extLst>
          </p:cNvPr>
          <p:cNvSpPr txBox="1"/>
          <p:nvPr/>
        </p:nvSpPr>
        <p:spPr>
          <a:xfrm>
            <a:off x="8511540" y="1839459"/>
            <a:ext cx="2979420" cy="215444"/>
          </a:xfrm>
          <a:prstGeom prst="rect">
            <a:avLst/>
          </a:prstGeom>
          <a:noFill/>
          <a:ln w="12700">
            <a:noFill/>
          </a:ln>
        </p:spPr>
        <p:txBody>
          <a:bodyPr wrap="square" lIns="0" tIns="0" rIns="0" bIns="0" anchor="ctr">
            <a:spAutoFit/>
          </a:bodyPr>
          <a:lstStyle>
            <a:defPPr>
              <a:defRPr lang="en-US"/>
            </a:defPPr>
            <a:lvl1pPr>
              <a:defRPr sz="1400" b="0" i="0" u="none" strike="noStrike">
                <a:effectLst/>
              </a:defRPr>
            </a:lvl1pPr>
          </a:lstStyle>
          <a:p>
            <a:r>
              <a:rPr lang="en-US"/>
              <a:t>Specificity is not there in answer</a:t>
            </a:r>
          </a:p>
        </p:txBody>
      </p:sp>
      <p:sp>
        <p:nvSpPr>
          <p:cNvPr id="16" name="TextBox 15">
            <a:extLst>
              <a:ext uri="{FF2B5EF4-FFF2-40B4-BE49-F238E27FC236}">
                <a16:creationId xmlns:a16="http://schemas.microsoft.com/office/drawing/2014/main" id="{02757074-28C7-305B-5565-37E6FFA2B97F}"/>
              </a:ext>
            </a:extLst>
          </p:cNvPr>
          <p:cNvSpPr txBox="1"/>
          <p:nvPr/>
        </p:nvSpPr>
        <p:spPr>
          <a:xfrm>
            <a:off x="1932242" y="1731738"/>
            <a:ext cx="4758817" cy="430887"/>
          </a:xfrm>
          <a:prstGeom prst="rect">
            <a:avLst/>
          </a:prstGeom>
          <a:noFill/>
          <a:ln w="12700">
            <a:noFill/>
          </a:ln>
        </p:spPr>
        <p:txBody>
          <a:bodyPr wrap="square" lIns="0" tIns="0" rIns="0" bIns="0" anchor="ctr">
            <a:spAutoFit/>
          </a:bodyPr>
          <a:lstStyle>
            <a:defPPr>
              <a:defRPr lang="en-US"/>
            </a:defPPr>
            <a:lvl1pPr>
              <a:defRPr sz="1400" b="0" i="0" u="none" strike="noStrike">
                <a:effectLst/>
              </a:defRPr>
            </a:lvl1pPr>
          </a:lstStyle>
          <a:p>
            <a:r>
              <a:rPr lang="en-US"/>
              <a:t>The question asked about patients that did not complete the treatment - the answer did not specify</a:t>
            </a:r>
          </a:p>
        </p:txBody>
      </p:sp>
      <p:pic>
        <p:nvPicPr>
          <p:cNvPr id="17" name="Graphic 16">
            <a:extLst>
              <a:ext uri="{FF2B5EF4-FFF2-40B4-BE49-F238E27FC236}">
                <a16:creationId xmlns:a16="http://schemas.microsoft.com/office/drawing/2014/main" id="{442940F7-3C93-37CA-ABEE-75B0E7F30593}"/>
              </a:ext>
            </a:extLst>
          </p:cNvPr>
          <p:cNvPicPr>
            <a:picLocks/>
          </p:cNvPicPr>
          <p:nvPr/>
        </p:nvPicPr>
        <p:blipFill>
          <a:blip r:embed="rId4">
            <a:extLst>
              <a:ext uri="{96DAC541-7B7A-43D3-8B79-37D633B846F1}">
                <asvg:svgBlip xmlns:asvg="http://schemas.microsoft.com/office/drawing/2016/SVG/main" r:embed="rId5"/>
              </a:ext>
            </a:extLst>
          </a:blip>
          <a:stretch>
            <a:fillRect/>
          </a:stretch>
        </p:blipFill>
        <p:spPr>
          <a:xfrm>
            <a:off x="940423" y="1885404"/>
            <a:ext cx="716928" cy="716926"/>
          </a:xfrm>
          <a:prstGeom prst="rect">
            <a:avLst/>
          </a:prstGeom>
        </p:spPr>
      </p:pic>
      <p:pic>
        <p:nvPicPr>
          <p:cNvPr id="18" name="Graphic 17">
            <a:extLst>
              <a:ext uri="{FF2B5EF4-FFF2-40B4-BE49-F238E27FC236}">
                <a16:creationId xmlns:a16="http://schemas.microsoft.com/office/drawing/2014/main" id="{C6500E00-F2C8-D992-58E9-9F60AF6ADCB0}"/>
              </a:ext>
            </a:extLst>
          </p:cNvPr>
          <p:cNvPicPr>
            <a:picLocks/>
          </p:cNvPicPr>
          <p:nvPr/>
        </p:nvPicPr>
        <p:blipFill>
          <a:blip r:embed="rId6">
            <a:extLst>
              <a:ext uri="{96DAC541-7B7A-43D3-8B79-37D633B846F1}">
                <asvg:svgBlip xmlns:asvg="http://schemas.microsoft.com/office/drawing/2016/SVG/main" r:embed="rId7"/>
              </a:ext>
            </a:extLst>
          </a:blip>
          <a:stretch>
            <a:fillRect/>
          </a:stretch>
        </p:blipFill>
        <p:spPr>
          <a:xfrm>
            <a:off x="7462463" y="1846625"/>
            <a:ext cx="794486" cy="794484"/>
          </a:xfrm>
          <a:prstGeom prst="rect">
            <a:avLst/>
          </a:prstGeom>
        </p:spPr>
      </p:pic>
    </p:spTree>
    <p:custDataLst>
      <p:custData r:id="rId1"/>
    </p:custDataLst>
    <p:extLst>
      <p:ext uri="{BB962C8B-B14F-4D97-AF65-F5344CB8AC3E}">
        <p14:creationId xmlns:p14="http://schemas.microsoft.com/office/powerpoint/2010/main" val="112132251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kGv4BFCori6VqMXUmuvfg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rinity Template 3.0">
  <a:themeElements>
    <a:clrScheme name="Trinity Theme Colors">
      <a:dk1>
        <a:srgbClr val="304659"/>
      </a:dk1>
      <a:lt1>
        <a:srgbClr val="FFFFFF"/>
      </a:lt1>
      <a:dk2>
        <a:srgbClr val="172B3C"/>
      </a:dk2>
      <a:lt2>
        <a:srgbClr val="E7E6E6"/>
      </a:lt2>
      <a:accent1>
        <a:srgbClr val="346393"/>
      </a:accent1>
      <a:accent2>
        <a:srgbClr val="546EB2"/>
      </a:accent2>
      <a:accent3>
        <a:srgbClr val="199B9B"/>
      </a:accent3>
      <a:accent4>
        <a:srgbClr val="A3CB5F"/>
      </a:accent4>
      <a:accent5>
        <a:srgbClr val="D8482B"/>
      </a:accent5>
      <a:accent6>
        <a:srgbClr val="8D1130"/>
      </a:accent6>
      <a:hlink>
        <a:srgbClr val="0563C1"/>
      </a:hlink>
      <a:folHlink>
        <a:srgbClr val="5C5DA7"/>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spPr>
      <a:bodyPr/>
      <a:lstStyle/>
      <a:style>
        <a:lnRef idx="0">
          <a:scrgbClr r="0" g="0" b="0"/>
        </a:lnRef>
        <a:fillRef idx="0">
          <a:scrgbClr r="0" g="0" b="0"/>
        </a:fillRef>
        <a:effectRef idx="0">
          <a:scrgbClr r="0" g="0" b="0"/>
        </a:effectRef>
        <a:fontRef idx="minor">
          <a:schemeClr val="lt1"/>
        </a:fontRef>
      </a:style>
    </a:spDef>
    <a:txDef>
      <a:spPr>
        <a:noFill/>
      </a:spPr>
      <a:bodyPr wrap="square" rtlCol="0">
        <a:noAutofit/>
      </a:bodyPr>
      <a:lstStyle>
        <a:defPPr marL="233363" indent="-230188">
          <a:spcBef>
            <a:spcPts val="600"/>
          </a:spcBef>
          <a:spcAft>
            <a:spcPts val="600"/>
          </a:spcAft>
          <a:buClr>
            <a:srgbClr val="303030">
              <a:lumMod val="50000"/>
              <a:lumOff val="50000"/>
            </a:srgbClr>
          </a:buClr>
          <a:buFont typeface="Arial" panose="020B0604020202020204" pitchFamily="34" charset="0"/>
          <a:buChar char="•"/>
          <a:defRPr sz="2000" dirty="0">
            <a:solidFill>
              <a:srgbClr val="002240"/>
            </a:solidFill>
            <a:cs typeface="Tahoma" pitchFamily="34" charset="0"/>
          </a:defRPr>
        </a:defPPr>
      </a:lstStyle>
    </a:txDef>
  </a:objectDefaults>
  <a:extraClrSchemeLst/>
  <a:extLst>
    <a:ext uri="{05A4C25C-085E-4340-85A3-A5531E510DB2}">
      <thm15:themeFamily xmlns:thm15="http://schemas.microsoft.com/office/thememl/2012/main" name="TRINITY Widescreen Template 4.0 FINAL.pptx  -  Read-Only" id="{B36BA5D7-AC80-4CF5-8C90-0D5A96D99484}" vid="{9DA2D05F-119E-4FC8-A4AD-60BE5A10AE37}"/>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webextensions/_rels/taskpanes.xml.rels><?xml version="1.0" encoding="UTF-8" standalone="yes"?>
<Relationships xmlns="http://schemas.openxmlformats.org/package/2006/relationships"><Relationship Id="rId1" Type="http://schemas.microsoft.com/office/2011/relationships/webextension" Target="webextension1.xml"/></Relationships>
</file>

<file path=ppt/webextensions/taskpanes.xml><?xml version="1.0" encoding="utf-8"?>
<wetp:taskpanes xmlns:wetp="http://schemas.microsoft.com/office/webextensions/taskpanes/2010/11">
  <wetp:taskpane dockstate="right" visibility="0" width="459" row="3">
    <wetp:webextensionref xmlns:r="http://schemas.openxmlformats.org/officeDocument/2006/relationships" r:id="rId1"/>
  </wetp:taskpane>
</wetp:taskpanes>
</file>

<file path=ppt/webextensions/webextension1.xml><?xml version="1.0" encoding="utf-8"?>
<we:webextension xmlns:we="http://schemas.microsoft.com/office/webextensions/webextension/2010/11" id="{7EA32CEA-7710-415C-8A76-46B3F1252A65}">
  <we:reference id="1f4df590-35fc-4b16-a239-39709f9d8a74" version="1.0.0.1" store="EXCatalog" storeType="EXCatalog"/>
  <we:alternateReferences>
    <we:reference id="WA104381063" version="1.0.0.1" store="en-US" storeType="OMEX"/>
  </we:alternateReferences>
  <we:properties/>
  <we:bindings/>
  <we:snapshot xmlns:r="http://schemas.openxmlformats.org/officeDocument/2006/relationships"/>
</we:webextension>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10.xml.rels><?xml version="1.0" encoding="UTF-8" standalone="yes"?>
<Relationships xmlns="http://schemas.openxmlformats.org/package/2006/relationships"><Relationship Id="rId1" Type="http://schemas.openxmlformats.org/officeDocument/2006/relationships/customXmlProps" Target="itemProps10.xml"/></Relationships>
</file>

<file path=customXml/_rels/item11.xml.rels><?xml version="1.0" encoding="UTF-8" standalone="yes"?>
<Relationships xmlns="http://schemas.openxmlformats.org/package/2006/relationships"><Relationship Id="rId1" Type="http://schemas.openxmlformats.org/officeDocument/2006/relationships/customXmlProps" Target="itemProps11.xml"/></Relationships>
</file>

<file path=customXml/_rels/item12.xml.rels><?xml version="1.0" encoding="UTF-8" standalone="yes"?>
<Relationships xmlns="http://schemas.openxmlformats.org/package/2006/relationships"><Relationship Id="rId1" Type="http://schemas.openxmlformats.org/officeDocument/2006/relationships/customXmlProps" Target="itemProps12.xml"/></Relationships>
</file>

<file path=customXml/_rels/item13.xml.rels><?xml version="1.0" encoding="UTF-8" standalone="yes"?>
<Relationships xmlns="http://schemas.openxmlformats.org/package/2006/relationships"><Relationship Id="rId1" Type="http://schemas.openxmlformats.org/officeDocument/2006/relationships/customXmlProps" Target="itemProps13.xml"/></Relationships>
</file>

<file path=customXml/_rels/item14.xml.rels><?xml version="1.0" encoding="UTF-8" standalone="yes"?>
<Relationships xmlns="http://schemas.openxmlformats.org/package/2006/relationships"><Relationship Id="rId1" Type="http://schemas.openxmlformats.org/officeDocument/2006/relationships/customXmlProps" Target="itemProps14.xml"/></Relationships>
</file>

<file path=customXml/_rels/item15.xml.rels><?xml version="1.0" encoding="UTF-8" standalone="yes"?>
<Relationships xmlns="http://schemas.openxmlformats.org/package/2006/relationships"><Relationship Id="rId1" Type="http://schemas.openxmlformats.org/officeDocument/2006/relationships/customXmlProps" Target="itemProps15.xml"/></Relationships>
</file>

<file path=customXml/_rels/item16.xml.rels><?xml version="1.0" encoding="UTF-8" standalone="yes"?>
<Relationships xmlns="http://schemas.openxmlformats.org/package/2006/relationships"><Relationship Id="rId1" Type="http://schemas.openxmlformats.org/officeDocument/2006/relationships/customXmlProps" Target="itemProps16.xml"/></Relationships>
</file>

<file path=customXml/_rels/item17.xml.rels><?xml version="1.0" encoding="UTF-8" standalone="yes"?>
<Relationships xmlns="http://schemas.openxmlformats.org/package/2006/relationships"><Relationship Id="rId1" Type="http://schemas.openxmlformats.org/officeDocument/2006/relationships/customXmlProps" Target="itemProps17.xml"/></Relationships>
</file>

<file path=customXml/_rels/item18.xml.rels><?xml version="1.0" encoding="UTF-8" standalone="yes"?>
<Relationships xmlns="http://schemas.openxmlformats.org/package/2006/relationships"><Relationship Id="rId1" Type="http://schemas.openxmlformats.org/officeDocument/2006/relationships/customXmlProps" Target="itemProps18.xml"/></Relationships>
</file>

<file path=customXml/_rels/item19.xml.rels><?xml version="1.0" encoding="UTF-8" standalone="yes"?>
<Relationships xmlns="http://schemas.openxmlformats.org/package/2006/relationships"><Relationship Id="rId1" Type="http://schemas.openxmlformats.org/officeDocument/2006/relationships/customXmlProps" Target="itemProps19.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20.xml.rels><?xml version="1.0" encoding="UTF-8" standalone="yes"?>
<Relationships xmlns="http://schemas.openxmlformats.org/package/2006/relationships"><Relationship Id="rId1" Type="http://schemas.openxmlformats.org/officeDocument/2006/relationships/customXmlProps" Target="itemProps20.xml"/></Relationships>
</file>

<file path=customXml/_rels/item21.xml.rels><?xml version="1.0" encoding="UTF-8" standalone="yes"?>
<Relationships xmlns="http://schemas.openxmlformats.org/package/2006/relationships"><Relationship Id="rId1" Type="http://schemas.openxmlformats.org/officeDocument/2006/relationships/customXmlProps" Target="itemProps21.xml"/></Relationships>
</file>

<file path=customXml/_rels/item22.xml.rels><?xml version="1.0" encoding="UTF-8" standalone="yes"?>
<Relationships xmlns="http://schemas.openxmlformats.org/package/2006/relationships"><Relationship Id="rId1" Type="http://schemas.openxmlformats.org/officeDocument/2006/relationships/customXmlProps" Target="itemProps22.xml"/></Relationships>
</file>

<file path=customXml/_rels/item23.xml.rels><?xml version="1.0" encoding="UTF-8" standalone="yes"?>
<Relationships xmlns="http://schemas.openxmlformats.org/package/2006/relationships"><Relationship Id="rId1" Type="http://schemas.openxmlformats.org/officeDocument/2006/relationships/customXmlProps" Target="itemProps23.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_rels/item7.xml.rels><?xml version="1.0" encoding="UTF-8" standalone="yes"?>
<Relationships xmlns="http://schemas.openxmlformats.org/package/2006/relationships"><Relationship Id="rId1" Type="http://schemas.openxmlformats.org/officeDocument/2006/relationships/customXmlProps" Target="itemProps7.xml"/></Relationships>
</file>

<file path=customXml/_rels/item8.xml.rels><?xml version="1.0" encoding="UTF-8" standalone="yes"?>
<Relationships xmlns="http://schemas.openxmlformats.org/package/2006/relationships"><Relationship Id="rId1" Type="http://schemas.openxmlformats.org/officeDocument/2006/relationships/customXmlProps" Target="itemProps8.xml"/></Relationships>
</file>

<file path=customXml/_rels/item9.xml.rels><?xml version="1.0" encoding="UTF-8" standalone="yes"?>
<Relationships xmlns="http://schemas.openxmlformats.org/package/2006/relationships"><Relationship Id="rId1" Type="http://schemas.openxmlformats.org/officeDocument/2006/relationships/customXmlProps" Target="itemProps9.xml"/></Relationships>
</file>

<file path=customXml/item1.xml><?xml version="1.0" encoding="utf-8"?>
<p:properties xmlns:p="http://schemas.microsoft.com/office/2006/metadata/properties" xmlns:xsi="http://www.w3.org/2001/XMLSchema-instance" xmlns:pc="http://schemas.microsoft.com/office/infopath/2007/PartnerControls">
  <documentManagement>
    <SharedWithUsers xmlns="670c260b-f9e1-4780-a401-60705af464a2">
      <UserInfo>
        <DisplayName>Nagasubramanya Nabha</DisplayName>
        <AccountId>23</AccountId>
        <AccountType/>
      </UserInfo>
      <UserInfo>
        <DisplayName>Pranav A Sogi</DisplayName>
        <AccountId>45</AccountId>
        <AccountType/>
      </UserInfo>
      <UserInfo>
        <DisplayName>Sai Arvind</DisplayName>
        <AccountId>29</AccountId>
        <AccountType/>
      </UserInfo>
    </SharedWithUsers>
  </documentManagement>
</p:properties>
</file>

<file path=customXml/item10.xml><?xml version="1.0" encoding="utf-8"?>
<DcR_SlideID>024364ff-c2c3-49f8-9bd2-5cb5d5e5bdfb</DcR_SlideID>
</file>

<file path=customXml/item11.xml><?xml version="1.0" encoding="utf-8"?>
<DcR_SlideID>4ab5cd2f-eca6-41bc-91ce-08c5e8b0541e</DcR_SlideID>
</file>

<file path=customXml/item12.xml><?xml version="1.0" encoding="utf-8"?>
<DcR_SlideID>d7958662-b5ff-47e7-8e2e-ab182b859426</DcR_SlideID>
</file>

<file path=customXml/item13.xml><?xml version="1.0" encoding="utf-8"?>
<DcR_SlideID>9777277b-b1ba-4e05-ac69-b3a2ee263087</DcR_SlideID>
</file>

<file path=customXml/item14.xml><?xml version="1.0" encoding="utf-8"?>
<DcR_SlideID>8cc10120-16fe-4ea9-99a3-3361c5550382</DcR_SlideID>
</file>

<file path=customXml/item15.xml><?xml version="1.0" encoding="utf-8"?>
<DcR_SlideID>baa340b5-b29d-459e-be8f-634600ebe95a</DcR_SlideID>
</file>

<file path=customXml/item16.xml><?xml version="1.0" encoding="utf-8"?>
<DcR_SlideID>d1f2d06b-5230-4457-9e96-eadf2898a64f</DcR_SlideID>
</file>

<file path=customXml/item17.xml><?xml version="1.0" encoding="utf-8"?>
<DcR_SlideID>024364ff-c2c3-49f8-9bd2-5cb5d5e5bdfb</DcR_SlideID>
</file>

<file path=customXml/item18.xml><?xml version="1.0" encoding="utf-8"?>
<DcR_SlideID>12423fd0-c497-44e6-a426-d0003d287aa4</DcR_SlideID>
</file>

<file path=customXml/item19.xml><?xml version="1.0" encoding="utf-8"?>
<DcR_SlideID>43f5f7e7-5e0e-4947-801c-2e5458e6ed36</DcR_SlideID>
</file>

<file path=customXml/item2.xml><?xml version="1.0" encoding="utf-8"?>
<ct:contentTypeSchema xmlns:ct="http://schemas.microsoft.com/office/2006/metadata/contentType" xmlns:ma="http://schemas.microsoft.com/office/2006/metadata/properties/metaAttributes" ct:_="" ma:_="" ma:contentTypeName="Document" ma:contentTypeID="0x010100D32E64D35E0C4A4BB2E745F504E4B508" ma:contentTypeVersion="10" ma:contentTypeDescription="Create a new document." ma:contentTypeScope="" ma:versionID="4f6cb8dead7a49b00e8fd909298f4131">
  <xsd:schema xmlns:xsd="http://www.w3.org/2001/XMLSchema" xmlns:xs="http://www.w3.org/2001/XMLSchema" xmlns:p="http://schemas.microsoft.com/office/2006/metadata/properties" xmlns:ns2="f795478a-bda2-4c15-b0c8-d8b4dcdbf862" xmlns:ns3="670c260b-f9e1-4780-a401-60705af464a2" targetNamespace="http://schemas.microsoft.com/office/2006/metadata/properties" ma:root="true" ma:fieldsID="65eb2f7132c76bf203c30d40c8b58bcb" ns2:_="" ns3:_="">
    <xsd:import namespace="f795478a-bda2-4c15-b0c8-d8b4dcdbf862"/>
    <xsd:import namespace="670c260b-f9e1-4780-a401-60705af464a2"/>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3:SharedWithUsers" minOccurs="0"/>
                <xsd:element ref="ns3:SharedWithDetails" minOccurs="0"/>
                <xsd:element ref="ns2:MediaServiceDateTaken" minOccurs="0"/>
                <xsd:element ref="ns2:MediaServiceGenerationTime" minOccurs="0"/>
                <xsd:element ref="ns2:MediaServiceEventHashCode"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795478a-bda2-4c15-b0c8-d8b4dcdbf862"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MediaServiceDateTaken" ma:index="14" nillable="true" ma:displayName="MediaServiceDateTaken" ma:hidden="true" ma:indexed="true" ma:internalName="MediaServiceDateTaken" ma:readOnly="true">
      <xsd:simpleType>
        <xsd:restriction base="dms:Text"/>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LengthInSeconds" ma:index="17" nillable="true" ma:displayName="MediaLengthInSeconds" ma:hidden="true"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670c260b-f9e1-4780-a401-60705af464a2"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0.xml><?xml version="1.0" encoding="utf-8"?>
<DcR_SlideID>61d01496-3e55-4512-ba87-3b92de4ae652</DcR_SlideID>
</file>

<file path=customXml/item21.xml><?xml version="1.0" encoding="utf-8"?>
<DcR_SlideID>3fd5fff2-9dca-4ec1-86e7-6453209589c0</DcR_SlideID>
</file>

<file path=customXml/item22.xml><?xml version="1.0" encoding="utf-8"?>
<DcR_SlideID>024364ff-c2c3-49f8-9bd2-5cb5d5e5bdfb</DcR_SlideID>
</file>

<file path=customXml/item23.xml><?xml version="1.0" encoding="utf-8"?>
<DcR_SlideID>31d5eb65-bd24-4b69-bcaf-8bbfb597b225</DcR_SlideID>
</file>

<file path=customXml/item3.xml><?xml version="1.0" encoding="utf-8"?>
<?mso-contentType ?>
<FormTemplates xmlns="http://schemas.microsoft.com/sharepoint/v3/contenttype/forms">
  <Display>DocumentLibraryForm</Display>
  <Edit>DocumentLibraryForm</Edit>
  <New>DocumentLibraryForm</New>
</FormTemplates>
</file>

<file path=customXml/item4.xml><?xml version="1.0" encoding="utf-8"?>
<DcR_SlideID>c1860dc7-d91e-4a0f-8611-b38dab660fff</DcR_SlideID>
</file>

<file path=customXml/item5.xml><?xml version="1.0" encoding="utf-8"?>
<DcR_SlideID>024364ff-c2c3-49f8-9bd2-5cb5d5e5bdfb</DcR_SlideID>
</file>

<file path=customXml/item6.xml><?xml version="1.0" encoding="utf-8"?>
<DcR_SlideID>cafe2a30-094a-4eed-a2ba-ffd9604d2814</DcR_SlideID>
</file>

<file path=customXml/item7.xml><?xml version="1.0" encoding="utf-8"?>
<DcR_SlideID>237cc3ad-d7c0-423a-a3ae-63d7a4839e92</DcR_SlideID>
</file>

<file path=customXml/item8.xml><?xml version="1.0" encoding="utf-8"?>
<DcR_SlideID>b7938b62-1585-44b1-8c62-d0aa5f389390</DcR_SlideID>
</file>

<file path=customXml/item9.xml><?xml version="1.0" encoding="utf-8"?>
<DcR_SlideID>8157a824-edc5-4280-91a9-a96ab3f50a3f</DcR_SlideID>
</file>

<file path=customXml/itemProps1.xml><?xml version="1.0" encoding="utf-8"?>
<ds:datastoreItem xmlns:ds="http://schemas.openxmlformats.org/officeDocument/2006/customXml" ds:itemID="{E3479072-6D27-4DDB-B339-7A6951CCB651}">
  <ds:schemaRefs>
    <ds:schemaRef ds:uri="f795478a-bda2-4c15-b0c8-d8b4dcdbf862"/>
    <ds:schemaRef ds:uri="http://schemas.openxmlformats.org/package/2006/metadata/core-properties"/>
    <ds:schemaRef ds:uri="http://schemas.microsoft.com/office/2006/metadata/properties"/>
    <ds:schemaRef ds:uri="http://purl.org/dc/terms/"/>
    <ds:schemaRef ds:uri="670c260b-f9e1-4780-a401-60705af464a2"/>
    <ds:schemaRef ds:uri="http://www.w3.org/XML/1998/namespace"/>
    <ds:schemaRef ds:uri="http://purl.org/dc/dcmitype/"/>
    <ds:schemaRef ds:uri="http://schemas.microsoft.com/office/2006/documentManagement/types"/>
    <ds:schemaRef ds:uri="http://schemas.microsoft.com/office/infopath/2007/PartnerControls"/>
    <ds:schemaRef ds:uri="http://purl.org/dc/elements/1.1/"/>
  </ds:schemaRefs>
</ds:datastoreItem>
</file>

<file path=customXml/itemProps10.xml><?xml version="1.0" encoding="utf-8"?>
<ds:datastoreItem xmlns:ds="http://schemas.openxmlformats.org/officeDocument/2006/customXml" ds:itemID="{374B48E1-96CD-4B4F-ACB1-B7817AF27BA7}">
  <ds:schemaRefs/>
</ds:datastoreItem>
</file>

<file path=customXml/itemProps11.xml><?xml version="1.0" encoding="utf-8"?>
<ds:datastoreItem xmlns:ds="http://schemas.openxmlformats.org/officeDocument/2006/customXml" ds:itemID="{4C4D156C-4D10-4F4E-887E-85794C791089}">
  <ds:schemaRefs/>
</ds:datastoreItem>
</file>

<file path=customXml/itemProps12.xml><?xml version="1.0" encoding="utf-8"?>
<ds:datastoreItem xmlns:ds="http://schemas.openxmlformats.org/officeDocument/2006/customXml" ds:itemID="{CCE9CF1E-E57A-4115-9C69-A9E47672C407}">
  <ds:schemaRefs/>
</ds:datastoreItem>
</file>

<file path=customXml/itemProps13.xml><?xml version="1.0" encoding="utf-8"?>
<ds:datastoreItem xmlns:ds="http://schemas.openxmlformats.org/officeDocument/2006/customXml" ds:itemID="{2B3D8BBC-A16F-4749-A70F-AA2FF47F9A92}">
  <ds:schemaRefs/>
</ds:datastoreItem>
</file>

<file path=customXml/itemProps14.xml><?xml version="1.0" encoding="utf-8"?>
<ds:datastoreItem xmlns:ds="http://schemas.openxmlformats.org/officeDocument/2006/customXml" ds:itemID="{8E456BF4-F437-4A8E-8F7D-40334E7FE121}">
  <ds:schemaRefs/>
</ds:datastoreItem>
</file>

<file path=customXml/itemProps15.xml><?xml version="1.0" encoding="utf-8"?>
<ds:datastoreItem xmlns:ds="http://schemas.openxmlformats.org/officeDocument/2006/customXml" ds:itemID="{6D4B9D29-A2B1-4E18-B94C-584B4C9445C2}">
  <ds:schemaRefs/>
</ds:datastoreItem>
</file>

<file path=customXml/itemProps16.xml><?xml version="1.0" encoding="utf-8"?>
<ds:datastoreItem xmlns:ds="http://schemas.openxmlformats.org/officeDocument/2006/customXml" ds:itemID="{8ED372A5-F688-4114-8B22-B5E6966384AD}">
  <ds:schemaRefs/>
</ds:datastoreItem>
</file>

<file path=customXml/itemProps17.xml><?xml version="1.0" encoding="utf-8"?>
<ds:datastoreItem xmlns:ds="http://schemas.openxmlformats.org/officeDocument/2006/customXml" ds:itemID="{0A981055-1BA2-4664-AD8E-52A0E4C74FDC}">
  <ds:schemaRefs/>
</ds:datastoreItem>
</file>

<file path=customXml/itemProps18.xml><?xml version="1.0" encoding="utf-8"?>
<ds:datastoreItem xmlns:ds="http://schemas.openxmlformats.org/officeDocument/2006/customXml" ds:itemID="{6C780D02-28E9-4678-82EC-035A2B86A7F1}">
  <ds:schemaRefs/>
</ds:datastoreItem>
</file>

<file path=customXml/itemProps19.xml><?xml version="1.0" encoding="utf-8"?>
<ds:datastoreItem xmlns:ds="http://schemas.openxmlformats.org/officeDocument/2006/customXml" ds:itemID="{DD97082D-A1C5-4279-83AC-E7E90A9135AF}">
  <ds:schemaRefs/>
</ds:datastoreItem>
</file>

<file path=customXml/itemProps2.xml><?xml version="1.0" encoding="utf-8"?>
<ds:datastoreItem xmlns:ds="http://schemas.openxmlformats.org/officeDocument/2006/customXml" ds:itemID="{3F6AC40E-7B20-41C2-8F7A-9F029C8AE9E0}">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795478a-bda2-4c15-b0c8-d8b4dcdbf862"/>
    <ds:schemaRef ds:uri="670c260b-f9e1-4780-a401-60705af464a2"/>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0.xml><?xml version="1.0" encoding="utf-8"?>
<ds:datastoreItem xmlns:ds="http://schemas.openxmlformats.org/officeDocument/2006/customXml" ds:itemID="{F439E3CD-EADD-459F-954A-C338BCC5141A}">
  <ds:schemaRefs/>
</ds:datastoreItem>
</file>

<file path=customXml/itemProps21.xml><?xml version="1.0" encoding="utf-8"?>
<ds:datastoreItem xmlns:ds="http://schemas.openxmlformats.org/officeDocument/2006/customXml" ds:itemID="{249B2D49-382C-422C-B791-10209C6440DD}">
  <ds:schemaRefs/>
</ds:datastoreItem>
</file>

<file path=customXml/itemProps22.xml><?xml version="1.0" encoding="utf-8"?>
<ds:datastoreItem xmlns:ds="http://schemas.openxmlformats.org/officeDocument/2006/customXml" ds:itemID="{E63CE8D6-6F2A-464E-8940-A2A638413A19}">
  <ds:schemaRefs/>
</ds:datastoreItem>
</file>

<file path=customXml/itemProps23.xml><?xml version="1.0" encoding="utf-8"?>
<ds:datastoreItem xmlns:ds="http://schemas.openxmlformats.org/officeDocument/2006/customXml" ds:itemID="{59DAF72D-D6EB-47C7-877F-B823B81C0253}">
  <ds:schemaRefs/>
</ds:datastoreItem>
</file>

<file path=customXml/itemProps3.xml><?xml version="1.0" encoding="utf-8"?>
<ds:datastoreItem xmlns:ds="http://schemas.openxmlformats.org/officeDocument/2006/customXml" ds:itemID="{C35F7C17-FFFD-4E6C-9E50-7F37E73C5B20}">
  <ds:schemaRefs>
    <ds:schemaRef ds:uri="http://schemas.microsoft.com/sharepoint/v3/contenttype/forms"/>
  </ds:schemaRefs>
</ds:datastoreItem>
</file>

<file path=customXml/itemProps4.xml><?xml version="1.0" encoding="utf-8"?>
<ds:datastoreItem xmlns:ds="http://schemas.openxmlformats.org/officeDocument/2006/customXml" ds:itemID="{8A4ADC85-255C-4E22-B220-C65E87C2A4C7}">
  <ds:schemaRefs/>
</ds:datastoreItem>
</file>

<file path=customXml/itemProps5.xml><?xml version="1.0" encoding="utf-8"?>
<ds:datastoreItem xmlns:ds="http://schemas.openxmlformats.org/officeDocument/2006/customXml" ds:itemID="{5B9B72E5-743F-49A4-900E-EC3EA289032F}">
  <ds:schemaRefs/>
</ds:datastoreItem>
</file>

<file path=customXml/itemProps6.xml><?xml version="1.0" encoding="utf-8"?>
<ds:datastoreItem xmlns:ds="http://schemas.openxmlformats.org/officeDocument/2006/customXml" ds:itemID="{EB7B0E4F-DCB4-4585-ADA6-EEFD02B89D06}">
  <ds:schemaRefs/>
</ds:datastoreItem>
</file>

<file path=customXml/itemProps7.xml><?xml version="1.0" encoding="utf-8"?>
<ds:datastoreItem xmlns:ds="http://schemas.openxmlformats.org/officeDocument/2006/customXml" ds:itemID="{1C527E84-B60C-49C2-B670-60D9A4B1C2E1}">
  <ds:schemaRefs/>
</ds:datastoreItem>
</file>

<file path=customXml/itemProps8.xml><?xml version="1.0" encoding="utf-8"?>
<ds:datastoreItem xmlns:ds="http://schemas.openxmlformats.org/officeDocument/2006/customXml" ds:itemID="{55BFFF89-F4DB-4072-B6FF-923D2F0330EC}">
  <ds:schemaRefs/>
</ds:datastoreItem>
</file>

<file path=customXml/itemProps9.xml><?xml version="1.0" encoding="utf-8"?>
<ds:datastoreItem xmlns:ds="http://schemas.openxmlformats.org/officeDocument/2006/customXml" ds:itemID="{B31E3F2F-8D0C-4DD4-8A48-EC8C47AA8E14}">
  <ds:schemaRefs/>
</ds:datastoreItem>
</file>

<file path=docProps/app.xml><?xml version="1.0" encoding="utf-8"?>
<Properties xmlns="http://schemas.openxmlformats.org/officeDocument/2006/extended-properties" xmlns:vt="http://schemas.openxmlformats.org/officeDocument/2006/docPropsVTypes">
  <TotalTime>3</TotalTime>
  <Words>1577</Words>
  <Application>Microsoft Office PowerPoint</Application>
  <PresentationFormat>Widescreen</PresentationFormat>
  <Paragraphs>224</Paragraphs>
  <Slides>19</Slides>
  <Notes>5</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2</vt:i4>
      </vt:variant>
      <vt:variant>
        <vt:lpstr>Slide Titles</vt:lpstr>
      </vt:variant>
      <vt:variant>
        <vt:i4>19</vt:i4>
      </vt:variant>
    </vt:vector>
  </HeadingPairs>
  <TitlesOfParts>
    <vt:vector size="27" baseType="lpstr">
      <vt:lpstr>Aptos</vt:lpstr>
      <vt:lpstr>Arial</vt:lpstr>
      <vt:lpstr>Calibri</vt:lpstr>
      <vt:lpstr>Courier New</vt:lpstr>
      <vt:lpstr>Tahoma</vt:lpstr>
      <vt:lpstr>Trinity Template 3.0</vt:lpstr>
      <vt:lpstr>think-cell Slide</vt:lpstr>
      <vt:lpstr>Microsoft Word Document</vt:lpstr>
      <vt:lpstr>Companion – TEPEZZA Feedback Root Cause Analysis (May’24)</vt:lpstr>
      <vt:lpstr>Agenda</vt:lpstr>
      <vt:lpstr>Feedbacks from TEPEZZA BU</vt:lpstr>
      <vt:lpstr>Resolved Issues with Latest Architecture – Example 1</vt:lpstr>
      <vt:lpstr>Response Improvisation Instances (1/4)</vt:lpstr>
      <vt:lpstr>Need discussion with Medial affairs for more clarity on Feedbacks</vt:lpstr>
      <vt:lpstr>Agenda</vt:lpstr>
      <vt:lpstr>Example 2</vt:lpstr>
      <vt:lpstr>Example 3</vt:lpstr>
      <vt:lpstr>New architecture resolved the issue</vt:lpstr>
      <vt:lpstr>Response Improvisation Instances (2/4)</vt:lpstr>
      <vt:lpstr>Response Improvisation Instances (3/4)</vt:lpstr>
      <vt:lpstr>Response Improvisation Instances (4/4)</vt:lpstr>
      <vt:lpstr>Agenda</vt:lpstr>
      <vt:lpstr>Issue which need to worked On– Example 1</vt:lpstr>
      <vt:lpstr>Example 2</vt:lpstr>
      <vt:lpstr>Example 3</vt:lpstr>
      <vt:lpstr>Root Cause Analysis &amp; Solution</vt:lpstr>
      <vt:lpstr>Agenda</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ompanion – Feedback Analysis</dc:title>
  <dc:creator>Mohammed Aamir Shuaib</dc:creator>
  <cp:lastModifiedBy>Aggarwal, Nikunj</cp:lastModifiedBy>
  <cp:revision>1</cp:revision>
  <dcterms:created xsi:type="dcterms:W3CDTF">2024-04-17T07:52:28Z</dcterms:created>
  <dcterms:modified xsi:type="dcterms:W3CDTF">2024-08-01T10:25:2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D32E64D35E0C4A4BB2E745F504E4B508</vt:lpwstr>
  </property>
  <property fmtid="{D5CDD505-2E9C-101B-9397-08002B2CF9AE}" pid="3" name="MSIP_Label_d8d793b9-73c2-43c2-b1d4-b4749f286de9_Enabled">
    <vt:lpwstr>true</vt:lpwstr>
  </property>
  <property fmtid="{D5CDD505-2E9C-101B-9397-08002B2CF9AE}" pid="4" name="MSIP_Label_d8d793b9-73c2-43c2-b1d4-b4749f286de9_SetDate">
    <vt:lpwstr>2024-06-25T13:44:03Z</vt:lpwstr>
  </property>
  <property fmtid="{D5CDD505-2E9C-101B-9397-08002B2CF9AE}" pid="5" name="MSIP_Label_d8d793b9-73c2-43c2-b1d4-b4749f286de9_Method">
    <vt:lpwstr>Privileged</vt:lpwstr>
  </property>
  <property fmtid="{D5CDD505-2E9C-101B-9397-08002B2CF9AE}" pid="6" name="MSIP_Label_d8d793b9-73c2-43c2-b1d4-b4749f286de9_Name">
    <vt:lpwstr>Public.</vt:lpwstr>
  </property>
  <property fmtid="{D5CDD505-2E9C-101B-9397-08002B2CF9AE}" pid="7" name="MSIP_Label_d8d793b9-73c2-43c2-b1d4-b4749f286de9_SiteId">
    <vt:lpwstr>4b4266a6-1368-41af-ad5a-59eb634f7ad8</vt:lpwstr>
  </property>
  <property fmtid="{D5CDD505-2E9C-101B-9397-08002B2CF9AE}" pid="8" name="MSIP_Label_d8d793b9-73c2-43c2-b1d4-b4749f286de9_ActionId">
    <vt:lpwstr>45ed3fec-2e57-43f5-8034-f385d63adad5</vt:lpwstr>
  </property>
  <property fmtid="{D5CDD505-2E9C-101B-9397-08002B2CF9AE}" pid="9" name="MSIP_Label_d8d793b9-73c2-43c2-b1d4-b4749f286de9_ContentBits">
    <vt:lpwstr>2</vt:lpwstr>
  </property>
  <property fmtid="{D5CDD505-2E9C-101B-9397-08002B2CF9AE}" pid="10" name="ClassificationContentMarkingFooterLocations">
    <vt:lpwstr>Trinity Template 3.0:7</vt:lpwstr>
  </property>
  <property fmtid="{D5CDD505-2E9C-101B-9397-08002B2CF9AE}" pid="11" name="ClassificationContentMarkingFooterText">
    <vt:lpwstr>Public</vt:lpwstr>
  </property>
</Properties>
</file>